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4.xml" ContentType="application/vnd.openxmlformats-officedocument.presentationml.notesSlide+xml"/>
  <Override PartName="/ppt/tags/tag123.xml" ContentType="application/vnd.openxmlformats-officedocument.presentationml.tags+xml"/>
  <Override PartName="/ppt/notesSlides/notesSlide15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6.xml" ContentType="application/vnd.openxmlformats-officedocument.presentationml.notesSlide+xml"/>
  <Override PartName="/ppt/tags/tag126.xml" ContentType="application/vnd.openxmlformats-officedocument.presentationml.tags+xml"/>
  <Override PartName="/ppt/notesSlides/notesSlide17.xml" ContentType="application/vnd.openxmlformats-officedocument.presentationml.notesSlide+xml"/>
  <Override PartName="/ppt/tags/tag127.xml" ContentType="application/vnd.openxmlformats-officedocument.presentationml.tags+xml"/>
  <Override PartName="/ppt/notesSlides/notesSlide18.xml" ContentType="application/vnd.openxmlformats-officedocument.presentationml.notesSlide+xml"/>
  <Override PartName="/ppt/tags/tag128.xml" ContentType="application/vnd.openxmlformats-officedocument.presentationml.tags+xml"/>
  <Override PartName="/ppt/notesSlides/notesSlide19.xml" ContentType="application/vnd.openxmlformats-officedocument.presentationml.notesSlide+xml"/>
  <Override PartName="/ppt/tags/tag129.xml" ContentType="application/vnd.openxmlformats-officedocument.presentationml.tags+xml"/>
  <Override PartName="/ppt/notesSlides/notesSlide20.xml" ContentType="application/vnd.openxmlformats-officedocument.presentationml.notesSlide+xml"/>
  <Override PartName="/ppt/tags/tag130.xml" ContentType="application/vnd.openxmlformats-officedocument.presentationml.tags+xml"/>
  <Override PartName="/ppt/notesSlides/notesSlide21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2.xml" ContentType="application/vnd.openxmlformats-officedocument.presentationml.notesSlide+xml"/>
  <Override PartName="/ppt/tags/tag133.xml" ContentType="application/vnd.openxmlformats-officedocument.presentationml.tags+xml"/>
  <Override PartName="/ppt/notesSlides/notesSlide23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4.xml" ContentType="application/vnd.openxmlformats-officedocument.presentationml.notesSlide+xml"/>
  <Override PartName="/ppt/tags/tag136.xml" ContentType="application/vnd.openxmlformats-officedocument.presentationml.tags+xml"/>
  <Override PartName="/ppt/notesSlides/notesSlide25.xml" ContentType="application/vnd.openxmlformats-officedocument.presentationml.notesSlide+xml"/>
  <Override PartName="/ppt/tags/tag137.xml" ContentType="application/vnd.openxmlformats-officedocument.presentationml.tags+xml"/>
  <Override PartName="/ppt/notesSlides/notesSlide26.xml" ContentType="application/vnd.openxmlformats-officedocument.presentationml.notesSlide+xml"/>
  <Override PartName="/ppt/tags/tag138.xml" ContentType="application/vnd.openxmlformats-officedocument.presentationml.tags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8" r:id="rId1"/>
    <p:sldMasterId id="2147483718" r:id="rId2"/>
    <p:sldMasterId id="2147483706" r:id="rId3"/>
    <p:sldMasterId id="2147483694" r:id="rId4"/>
    <p:sldMasterId id="2147483682" r:id="rId5"/>
  </p:sldMasterIdLst>
  <p:notesMasterIdLst>
    <p:notesMasterId r:id="rId45"/>
  </p:notesMasterIdLst>
  <p:sldIdLst>
    <p:sldId id="457" r:id="rId6"/>
    <p:sldId id="374" r:id="rId7"/>
    <p:sldId id="375" r:id="rId8"/>
    <p:sldId id="450" r:id="rId9"/>
    <p:sldId id="455" r:id="rId10"/>
    <p:sldId id="478" r:id="rId11"/>
    <p:sldId id="483" r:id="rId12"/>
    <p:sldId id="480" r:id="rId13"/>
    <p:sldId id="481" r:id="rId14"/>
    <p:sldId id="491" r:id="rId15"/>
    <p:sldId id="461" r:id="rId16"/>
    <p:sldId id="477" r:id="rId17"/>
    <p:sldId id="484" r:id="rId18"/>
    <p:sldId id="462" r:id="rId19"/>
    <p:sldId id="482" r:id="rId20"/>
    <p:sldId id="485" r:id="rId21"/>
    <p:sldId id="463" r:id="rId22"/>
    <p:sldId id="472" r:id="rId23"/>
    <p:sldId id="490" r:id="rId24"/>
    <p:sldId id="488" r:id="rId25"/>
    <p:sldId id="464" r:id="rId26"/>
    <p:sldId id="465" r:id="rId27"/>
    <p:sldId id="466" r:id="rId28"/>
    <p:sldId id="469" r:id="rId29"/>
    <p:sldId id="468" r:id="rId30"/>
    <p:sldId id="487" r:id="rId31"/>
    <p:sldId id="460" r:id="rId32"/>
    <p:sldId id="486" r:id="rId33"/>
    <p:sldId id="373" r:id="rId34"/>
    <p:sldId id="449" r:id="rId35"/>
    <p:sldId id="492" r:id="rId36"/>
    <p:sldId id="493" r:id="rId37"/>
    <p:sldId id="495" r:id="rId38"/>
    <p:sldId id="498" r:id="rId39"/>
    <p:sldId id="497" r:id="rId40"/>
    <p:sldId id="496" r:id="rId41"/>
    <p:sldId id="473" r:id="rId42"/>
    <p:sldId id="476" r:id="rId43"/>
    <p:sldId id="489" r:id="rId44"/>
  </p:sldIdLst>
  <p:sldSz cx="9144000" cy="5143500" type="screen16x9"/>
  <p:notesSz cx="6858000" cy="9144000"/>
  <p:embeddedFontLst>
    <p:embeddedFont>
      <p:font typeface="Alata" panose="020B0604020202020204" charset="0"/>
      <p:regular r:id="rId46"/>
    </p:embeddedFont>
    <p:embeddedFont>
      <p:font typeface="Cambria Math" panose="02040503050406030204" pitchFamily="18" charset="0"/>
      <p:regular r:id="rId47"/>
    </p:embeddedFont>
    <p:embeddedFont>
      <p:font typeface="Lato" panose="020B0604020202020204" charset="0"/>
      <p:regular r:id="rId48"/>
      <p:bold r:id="rId49"/>
      <p:italic r:id="rId50"/>
      <p:boldItalic r:id="rId51"/>
    </p:embeddedFont>
    <p:embeddedFont>
      <p:font typeface="Montserrat" panose="020B0604020202020204" charset="0"/>
      <p:regular r:id="rId52"/>
      <p:bold r:id="rId53"/>
      <p:italic r:id="rId54"/>
      <p:boldItalic r:id="rId55"/>
    </p:embeddedFont>
  </p:embeddedFontLst>
  <p:custDataLst>
    <p:tags r:id="rId5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reyan Datta Chakraborty" initials="SDC" lastIdx="4" clrIdx="0">
    <p:extLst>
      <p:ext uri="{19B8F6BF-5375-455C-9EA6-DF929625EA0E}">
        <p15:presenceInfo xmlns:p15="http://schemas.microsoft.com/office/powerpoint/2012/main" userId="S::shreyan.datta_chakraborty@okstate.edu::8e16d80f-77aa-4ba5-b0e9-232e8980a1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39CC1"/>
    <a:srgbClr val="FFE3EE"/>
    <a:srgbClr val="81DF85"/>
    <a:srgbClr val="278A35"/>
    <a:srgbClr val="510303"/>
    <a:srgbClr val="81B785"/>
    <a:srgbClr val="FFAACD"/>
    <a:srgbClr val="FF72AB"/>
    <a:srgbClr val="EC61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E8A8ED-EEDE-4A45-94A8-227C2893877F}" v="1259" dt="2024-02-08T05:46:15.744"/>
    <p1510:client id="{41F4B594-AF29-4A9F-A026-1FF36D047A55}" v="586" dt="2024-02-08T05:51:15.263"/>
    <p1510:client id="{518FD345-0902-6D45-A89B-290A7082D8F0}" v="147" dt="2024-02-08T05:48:52.685"/>
    <p1510:client id="{8E3D5D9D-CC05-4C7B-9A9C-2FFB7784C389}" v="25773" dt="2024-02-08T04:21:19.901"/>
    <p1510:client id="{EF1B1206-FDDC-46E4-A328-0322BAF93445}" v="5654" dt="2024-02-08T05:52:03.427"/>
  </p1510:revLst>
</p1510:revInfo>
</file>

<file path=ppt/tableStyles.xml><?xml version="1.0" encoding="utf-8"?>
<a:tblStyleLst xmlns:a="http://schemas.openxmlformats.org/drawingml/2006/main" def="{3C5361E7-DA70-4391-9E19-CDB0772468EE}">
  <a:tblStyle styleId="{3C5361E7-DA70-4391-9E19-CDB0772468E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63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8.fntdata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font" Target="fonts/font3.fntdata"/><Relationship Id="rId56" Type="http://schemas.openxmlformats.org/officeDocument/2006/relationships/tags" Target="tags/tag1.xml"/><Relationship Id="rId8" Type="http://schemas.openxmlformats.org/officeDocument/2006/relationships/slide" Target="slides/slide3.xml"/><Relationship Id="rId51" Type="http://schemas.openxmlformats.org/officeDocument/2006/relationships/font" Target="fonts/font6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font" Target="fonts/font1.fntdata"/><Relationship Id="rId59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9.fntdata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4.fntdata"/><Relationship Id="rId57" Type="http://schemas.openxmlformats.org/officeDocument/2006/relationships/commentAuthors" Target="commentAuthor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font" Target="fonts/font7.fntdata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y Chowdhury, Ritwik" userId="bfb84a7f-f393-43f0-840f-80c362df9247" providerId="ADAL" clId="{D98D1D94-E5EF-4A5F-8B22-D2A92A3A93DC}"/>
    <pc:docChg chg="undo redo custSel addSld delSld modSld sldOrd delMainMaster modMainMaster addSection modSection">
      <pc:chgData name="Roy Chowdhury, Ritwik" userId="bfb84a7f-f393-43f0-840f-80c362df9247" providerId="ADAL" clId="{D98D1D94-E5EF-4A5F-8B22-D2A92A3A93DC}" dt="2023-11-08T22:32:44.864" v="12484" actId="20577"/>
      <pc:docMkLst>
        <pc:docMk/>
      </pc:docMkLst>
      <pc:sldChg chg="modSp mod">
        <pc:chgData name="Roy Chowdhury, Ritwik" userId="bfb84a7f-f393-43f0-840f-80c362df9247" providerId="ADAL" clId="{D98D1D94-E5EF-4A5F-8B22-D2A92A3A93DC}" dt="2023-11-03T18:14:14.385" v="30" actId="14100"/>
        <pc:sldMkLst>
          <pc:docMk/>
          <pc:sldMk cId="0" sldId="256"/>
        </pc:sldMkLst>
        <pc:spChg chg="mod">
          <ac:chgData name="Roy Chowdhury, Ritwik" userId="bfb84a7f-f393-43f0-840f-80c362df9247" providerId="ADAL" clId="{D98D1D94-E5EF-4A5F-8B22-D2A92A3A93DC}" dt="2023-11-03T18:14:14.385" v="30" actId="14100"/>
          <ac:spMkLst>
            <pc:docMk/>
            <pc:sldMk cId="0" sldId="256"/>
            <ac:spMk id="395" creationId="{00000000-0000-0000-0000-000000000000}"/>
          </ac:spMkLst>
        </pc:spChg>
      </pc:sldChg>
      <pc:sldChg chg="del">
        <pc:chgData name="Roy Chowdhury, Ritwik" userId="bfb84a7f-f393-43f0-840f-80c362df9247" providerId="ADAL" clId="{D98D1D94-E5EF-4A5F-8B22-D2A92A3A93DC}" dt="2023-11-07T09:32:42.775" v="7265" actId="2696"/>
        <pc:sldMkLst>
          <pc:docMk/>
          <pc:sldMk cId="0" sldId="258"/>
        </pc:sldMkLst>
      </pc:sldChg>
      <pc:sldChg chg="del">
        <pc:chgData name="Roy Chowdhury, Ritwik" userId="bfb84a7f-f393-43f0-840f-80c362df9247" providerId="ADAL" clId="{D98D1D94-E5EF-4A5F-8B22-D2A92A3A93DC}" dt="2023-11-07T09:32:47.390" v="7266" actId="2696"/>
        <pc:sldMkLst>
          <pc:docMk/>
          <pc:sldMk cId="0" sldId="259"/>
        </pc:sldMkLst>
      </pc:sldChg>
      <pc:sldChg chg="del">
        <pc:chgData name="Roy Chowdhury, Ritwik" userId="bfb84a7f-f393-43f0-840f-80c362df9247" providerId="ADAL" clId="{D98D1D94-E5EF-4A5F-8B22-D2A92A3A93DC}" dt="2023-11-07T09:32:50.500" v="7267" actId="2696"/>
        <pc:sldMkLst>
          <pc:docMk/>
          <pc:sldMk cId="0" sldId="260"/>
        </pc:sldMkLst>
      </pc:sldChg>
      <pc:sldChg chg="del">
        <pc:chgData name="Roy Chowdhury, Ritwik" userId="bfb84a7f-f393-43f0-840f-80c362df9247" providerId="ADAL" clId="{D98D1D94-E5EF-4A5F-8B22-D2A92A3A93DC}" dt="2023-11-07T09:32:54.251" v="7268" actId="2696"/>
        <pc:sldMkLst>
          <pc:docMk/>
          <pc:sldMk cId="0" sldId="261"/>
        </pc:sldMkLst>
      </pc:sldChg>
      <pc:sldChg chg="del">
        <pc:chgData name="Roy Chowdhury, Ritwik" userId="bfb84a7f-f393-43f0-840f-80c362df9247" providerId="ADAL" clId="{D98D1D94-E5EF-4A5F-8B22-D2A92A3A93DC}" dt="2023-11-07T09:32:58.026" v="7269" actId="2696"/>
        <pc:sldMkLst>
          <pc:docMk/>
          <pc:sldMk cId="0" sldId="262"/>
        </pc:sldMkLst>
      </pc:sldChg>
      <pc:sldChg chg="del">
        <pc:chgData name="Roy Chowdhury, Ritwik" userId="bfb84a7f-f393-43f0-840f-80c362df9247" providerId="ADAL" clId="{D98D1D94-E5EF-4A5F-8B22-D2A92A3A93DC}" dt="2023-11-07T09:31:43.286" v="7262" actId="2696"/>
        <pc:sldMkLst>
          <pc:docMk/>
          <pc:sldMk cId="1977195009" sldId="263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64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65"/>
        </pc:sldMkLst>
      </pc:sldChg>
      <pc:sldChg chg="ord">
        <pc:chgData name="Roy Chowdhury, Ritwik" userId="bfb84a7f-f393-43f0-840f-80c362df9247" providerId="ADAL" clId="{D98D1D94-E5EF-4A5F-8B22-D2A92A3A93DC}" dt="2023-11-03T18:57:29.686" v="348"/>
        <pc:sldMkLst>
          <pc:docMk/>
          <pc:sldMk cId="90826900" sldId="266"/>
        </pc:sldMkLst>
      </pc:sldChg>
      <pc:sldChg chg="addSp delSp modSp del mod">
        <pc:chgData name="Roy Chowdhury, Ritwik" userId="bfb84a7f-f393-43f0-840f-80c362df9247" providerId="ADAL" clId="{D98D1D94-E5EF-4A5F-8B22-D2A92A3A93DC}" dt="2023-11-05T01:12:36.428" v="2190" actId="47"/>
        <pc:sldMkLst>
          <pc:docMk/>
          <pc:sldMk cId="2102992376" sldId="267"/>
        </pc:sldMkLst>
        <pc:spChg chg="add del mod">
          <ac:chgData name="Roy Chowdhury, Ritwik" userId="bfb84a7f-f393-43f0-840f-80c362df9247" providerId="ADAL" clId="{D98D1D94-E5EF-4A5F-8B22-D2A92A3A93DC}" dt="2023-11-05T01:12:17.571" v="2186" actId="478"/>
          <ac:spMkLst>
            <pc:docMk/>
            <pc:sldMk cId="2102992376" sldId="267"/>
            <ac:spMk id="3" creationId="{C583BDFE-CAC7-868C-7F51-F680028FB8B8}"/>
          </ac:spMkLst>
        </pc:spChg>
        <pc:spChg chg="del">
          <ac:chgData name="Roy Chowdhury, Ritwik" userId="bfb84a7f-f393-43f0-840f-80c362df9247" providerId="ADAL" clId="{D98D1D94-E5EF-4A5F-8B22-D2A92A3A93DC}" dt="2023-11-05T01:12:13.866" v="2185" actId="478"/>
          <ac:spMkLst>
            <pc:docMk/>
            <pc:sldMk cId="2102992376" sldId="267"/>
            <ac:spMk id="901" creationId="{00000000-0000-0000-0000-000000000000}"/>
          </ac:spMkLst>
        </pc:spChg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68"/>
        </pc:sldMkLst>
      </pc:sldChg>
      <pc:sldChg chg="addSp delSp del mod">
        <pc:chgData name="Roy Chowdhury, Ritwik" userId="bfb84a7f-f393-43f0-840f-80c362df9247" providerId="ADAL" clId="{D98D1D94-E5EF-4A5F-8B22-D2A92A3A93DC}" dt="2023-11-07T09:31:29.160" v="7259" actId="2696"/>
        <pc:sldMkLst>
          <pc:docMk/>
          <pc:sldMk cId="3418042157" sldId="269"/>
        </pc:sldMkLst>
        <pc:picChg chg="add del">
          <ac:chgData name="Roy Chowdhury, Ritwik" userId="bfb84a7f-f393-43f0-840f-80c362df9247" providerId="ADAL" clId="{D98D1D94-E5EF-4A5F-8B22-D2A92A3A93DC}" dt="2023-11-05T20:41:41.581" v="4941" actId="22"/>
          <ac:picMkLst>
            <pc:docMk/>
            <pc:sldMk cId="3418042157" sldId="269"/>
            <ac:picMk id="3" creationId="{1FBAC03C-D9AF-409F-D2CD-0F97C94F3934}"/>
          </ac:picMkLst>
        </pc:picChg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0"/>
        </pc:sldMkLst>
      </pc:sldChg>
      <pc:sldChg chg="del">
        <pc:chgData name="Roy Chowdhury, Ritwik" userId="bfb84a7f-f393-43f0-840f-80c362df9247" providerId="ADAL" clId="{D98D1D94-E5EF-4A5F-8B22-D2A92A3A93DC}" dt="2023-11-05T06:38:47.345" v="4362" actId="2696"/>
        <pc:sldMkLst>
          <pc:docMk/>
          <pc:sldMk cId="3895679521" sldId="271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2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3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5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6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7"/>
        </pc:sldMkLst>
      </pc:sldChg>
      <pc:sldChg chg="del">
        <pc:chgData name="Roy Chowdhury, Ritwik" userId="bfb84a7f-f393-43f0-840f-80c362df9247" providerId="ADAL" clId="{D98D1D94-E5EF-4A5F-8B22-D2A92A3A93DC}" dt="2023-11-07T09:33:17.399" v="7270" actId="2696"/>
        <pc:sldMkLst>
          <pc:docMk/>
          <pc:sldMk cId="0" sldId="278"/>
        </pc:sldMkLst>
      </pc:sldChg>
      <pc:sldChg chg="del">
        <pc:chgData name="Roy Chowdhury, Ritwik" userId="bfb84a7f-f393-43f0-840f-80c362df9247" providerId="ADAL" clId="{D98D1D94-E5EF-4A5F-8B22-D2A92A3A93DC}" dt="2023-11-07T09:32:35.268" v="7264" actId="2696"/>
        <pc:sldMkLst>
          <pc:docMk/>
          <pc:sldMk cId="3394454064" sldId="285"/>
        </pc:sldMkLst>
      </pc:sldChg>
      <pc:sldChg chg="del">
        <pc:chgData name="Roy Chowdhury, Ritwik" userId="bfb84a7f-f393-43f0-840f-80c362df9247" providerId="ADAL" clId="{D98D1D94-E5EF-4A5F-8B22-D2A92A3A93DC}" dt="2023-11-03T18:53:37.083" v="324" actId="2696"/>
        <pc:sldMkLst>
          <pc:docMk/>
          <pc:sldMk cId="0" sldId="301"/>
        </pc:sldMkLst>
      </pc:sldChg>
      <pc:sldChg chg="delSp del mod">
        <pc:chgData name="Roy Chowdhury, Ritwik" userId="bfb84a7f-f393-43f0-840f-80c362df9247" providerId="ADAL" clId="{D98D1D94-E5EF-4A5F-8B22-D2A92A3A93DC}" dt="2023-11-03T18:18:11.435" v="52" actId="2696"/>
        <pc:sldMkLst>
          <pc:docMk/>
          <pc:sldMk cId="4133559181" sldId="303"/>
        </pc:sldMkLst>
        <pc:spChg chg="del">
          <ac:chgData name="Roy Chowdhury, Ritwik" userId="bfb84a7f-f393-43f0-840f-80c362df9247" providerId="ADAL" clId="{D98D1D94-E5EF-4A5F-8B22-D2A92A3A93DC}" dt="2023-11-03T18:16:51.718" v="41" actId="478"/>
          <ac:spMkLst>
            <pc:docMk/>
            <pc:sldMk cId="4133559181" sldId="303"/>
            <ac:spMk id="84" creationId="{78C2600A-3C37-D0F2-0209-143FF6454453}"/>
          </ac:spMkLst>
        </pc:spChg>
      </pc:sldChg>
      <pc:sldChg chg="addSp delSp modSp add del mod ord">
        <pc:chgData name="Roy Chowdhury, Ritwik" userId="bfb84a7f-f393-43f0-840f-80c362df9247" providerId="ADAL" clId="{D98D1D94-E5EF-4A5F-8B22-D2A92A3A93DC}" dt="2023-11-04T01:38:33.738" v="616" actId="2696"/>
        <pc:sldMkLst>
          <pc:docMk/>
          <pc:sldMk cId="3904227886" sldId="304"/>
        </pc:sldMkLst>
        <pc:spChg chg="add del mod">
          <ac:chgData name="Roy Chowdhury, Ritwik" userId="bfb84a7f-f393-43f0-840f-80c362df9247" providerId="ADAL" clId="{D98D1D94-E5EF-4A5F-8B22-D2A92A3A93DC}" dt="2023-11-03T18:17:11.616" v="46" actId="478"/>
          <ac:spMkLst>
            <pc:docMk/>
            <pc:sldMk cId="3904227886" sldId="304"/>
            <ac:spMk id="3" creationId="{A3060B13-DE77-E007-C2C1-4992E146295C}"/>
          </ac:spMkLst>
        </pc:spChg>
        <pc:spChg chg="add del mod">
          <ac:chgData name="Roy Chowdhury, Ritwik" userId="bfb84a7f-f393-43f0-840f-80c362df9247" providerId="ADAL" clId="{D98D1D94-E5EF-4A5F-8B22-D2A92A3A93DC}" dt="2023-11-03T18:17:15.394" v="48" actId="478"/>
          <ac:spMkLst>
            <pc:docMk/>
            <pc:sldMk cId="3904227886" sldId="304"/>
            <ac:spMk id="5" creationId="{7FF91B10-23C7-946B-A4B8-455229E3513A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7" creationId="{66949061-7485-ADDB-DE0B-87E72E372BE9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9" creationId="{AB5A3575-603E-D582-3C2B-7896038B2F4D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10" creationId="{37972D3A-99A1-C4F2-8864-089A86EFED21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12" creationId="{39577BE9-FBE8-4704-EFE6-30C62325E61E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15" creationId="{FF1F1A62-D587-6B47-AA16-1D40AB1D97DD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22" creationId="{BEF3030F-D08C-8B53-CCD3-D784A7B703C1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23" creationId="{92F9D762-03F4-0F4D-0743-999DC782584F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24" creationId="{7D9A357B-FA86-13C2-5491-89E3AFD5B362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26" creationId="{A5EBD5D6-2F03-610F-98E2-02E2497486A5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2" creationId="{7B13E803-A910-34EC-37E1-1D22CF1027B4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4" creationId="{DB5A9C12-7CE9-8714-BCD2-E4E0C907A013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5" creationId="{E0D3DA66-60AD-A2C5-1536-75C0C05F33F5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6" creationId="{BBFBF196-A90A-5E8D-2628-72FDC559E142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7" creationId="{8B964B70-3FB0-5694-91FC-A7A21B003208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8" creationId="{DCAC0530-DA99-E3F2-1CE4-DE28D8860D73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39" creationId="{FB96E07E-2D47-01CF-F22A-E113BD12AA19}"/>
          </ac:spMkLst>
        </pc:spChg>
        <pc:spChg chg="mod">
          <ac:chgData name="Roy Chowdhury, Ritwik" userId="bfb84a7f-f393-43f0-840f-80c362df9247" providerId="ADAL" clId="{D98D1D94-E5EF-4A5F-8B22-D2A92A3A93DC}" dt="2023-11-03T18:17:21.356" v="49"/>
          <ac:spMkLst>
            <pc:docMk/>
            <pc:sldMk cId="3904227886" sldId="304"/>
            <ac:spMk id="40" creationId="{AB177A0E-8184-EAFF-6F00-49354FF76ABA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1" creationId="{7E9C9337-418B-A2D5-7AD4-B6EC2921EE9C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3" creationId="{F0D1E3D1-B4CC-76F9-0A15-BE8D5C5F27CE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4" creationId="{ABC645EC-A62E-7266-81B4-642E0552A858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5" creationId="{9C46C3AA-49BB-5F6C-DCE6-4B7C5661842F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6" creationId="{19376047-A490-091E-5C29-A15E14D9E515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7" creationId="{E55890B2-51E8-BA74-6A89-DDE086A5DFEE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8" creationId="{A125DC18-7E7C-F95F-C3B3-EE54C40C3766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49" creationId="{7839B85A-497A-5AF6-AA68-E5F8CF2CE195}"/>
          </ac:spMkLst>
        </pc:spChg>
        <pc:spChg chg="add del mod">
          <ac:chgData name="Roy Chowdhury, Ritwik" userId="bfb84a7f-f393-43f0-840f-80c362df9247" providerId="ADAL" clId="{D98D1D94-E5EF-4A5F-8B22-D2A92A3A93DC}" dt="2023-11-03T18:17:24.729" v="50"/>
          <ac:spMkLst>
            <pc:docMk/>
            <pc:sldMk cId="3904227886" sldId="304"/>
            <ac:spMk id="50" creationId="{FC834079-6813-C5E8-7587-5C77401E65CC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54" creationId="{3744AF5D-775E-B9B2-AAA6-9B14FB6065A0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56" creationId="{54DA1F78-3BD2-CBB2-BBD6-CC19D432786F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57" creationId="{F5A66FFF-4C3C-2A32-380F-5409428CA3CD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59" creationId="{6A89342F-2A89-F174-174F-D01639F0BD2F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62" creationId="{F47EF0B4-487C-5780-2558-E8A60F6A0C14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389" creationId="{56CDA131-3F13-E19F-0911-AC3AEF284E25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390" creationId="{9193E68A-3FCD-B774-8727-DCB7CD99370A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391" creationId="{623B80D1-8043-8CC5-BF7D-4FE2389A3D77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393" creationId="{651986DC-FA5E-6C39-8563-14799C26FF3A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399" creationId="{4947D957-4C98-6184-40C0-7CBC623127DF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1" creationId="{02EF414E-F26A-4E2E-594A-5AB158110D57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2" creationId="{28DAC406-076A-17E3-4DAE-7DCA3D15B91A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3" creationId="{444FA103-68D6-382C-2E78-FF1ED563ABCB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4" creationId="{58A78823-A7F2-2574-F229-967F07DA5650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5" creationId="{32DE95A2-F955-BC37-34E9-D963FF46F211}"/>
          </ac:spMkLst>
        </pc:spChg>
        <pc:spChg chg="del">
          <ac:chgData name="Roy Chowdhury, Ritwik" userId="bfb84a7f-f393-43f0-840f-80c362df9247" providerId="ADAL" clId="{D98D1D94-E5EF-4A5F-8B22-D2A92A3A93DC}" dt="2023-11-03T18:17:13.569" v="47" actId="478"/>
          <ac:spMkLst>
            <pc:docMk/>
            <pc:sldMk cId="3904227886" sldId="304"/>
            <ac:spMk id="406" creationId="{00000000-0000-0000-0000-000000000000}"/>
          </ac:spMkLst>
        </pc:spChg>
        <pc:spChg chg="del">
          <ac:chgData name="Roy Chowdhury, Ritwik" userId="bfb84a7f-f393-43f0-840f-80c362df9247" providerId="ADAL" clId="{D98D1D94-E5EF-4A5F-8B22-D2A92A3A93DC}" dt="2023-11-03T18:17:10.304" v="45" actId="478"/>
          <ac:spMkLst>
            <pc:docMk/>
            <pc:sldMk cId="3904227886" sldId="304"/>
            <ac:spMk id="407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8" creationId="{557B12CD-D635-8C18-49F3-FB0F7F866A64}"/>
          </ac:spMkLst>
        </pc:spChg>
        <pc:spChg chg="mod">
          <ac:chgData name="Roy Chowdhury, Ritwik" userId="bfb84a7f-f393-43f0-840f-80c362df9247" providerId="ADAL" clId="{D98D1D94-E5EF-4A5F-8B22-D2A92A3A93DC}" dt="2023-11-03T18:17:27.392" v="51"/>
          <ac:spMkLst>
            <pc:docMk/>
            <pc:sldMk cId="3904227886" sldId="304"/>
            <ac:spMk id="409" creationId="{6AB3580C-7D9D-0E4C-A861-ABB07978AD39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0" creationId="{7180C1D8-9F98-821D-9661-8B1E3730FA7F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2" creationId="{B1073371-E840-4CA6-C886-B292380AAF91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3" creationId="{0A14DB2B-1A29-DEA6-35F9-3E546154038F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4" creationId="{7D30A2A5-8135-89E3-F960-094EDFE1B364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5" creationId="{C4E74A69-9857-9B30-D212-9B36AF4DB22F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6" creationId="{7DAFF601-A6B5-6BDF-6A51-F4C5BA8F940F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7" creationId="{B1E6CEC6-9D3A-17A0-315E-8F8CCD173C9C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8" creationId="{A35AE98E-91F2-BEDC-4BE8-41CD3927C0EE}"/>
          </ac:spMkLst>
        </pc:spChg>
        <pc:spChg chg="add del mod">
          <ac:chgData name="Roy Chowdhury, Ritwik" userId="bfb84a7f-f393-43f0-840f-80c362df9247" providerId="ADAL" clId="{D98D1D94-E5EF-4A5F-8B22-D2A92A3A93DC}" dt="2023-11-03T18:18:33.783" v="57" actId="478"/>
          <ac:spMkLst>
            <pc:docMk/>
            <pc:sldMk cId="3904227886" sldId="304"/>
            <ac:spMk id="419" creationId="{456D9896-FD48-E031-3E94-86DEE3A56D36}"/>
          </ac:spMkLst>
        </pc:spChg>
        <pc:spChg chg="add del mod">
          <ac:chgData name="Roy Chowdhury, Ritwik" userId="bfb84a7f-f393-43f0-840f-80c362df9247" providerId="ADAL" clId="{D98D1D94-E5EF-4A5F-8B22-D2A92A3A93DC}" dt="2023-11-03T18:35:51.530" v="248" actId="478"/>
          <ac:spMkLst>
            <pc:docMk/>
            <pc:sldMk cId="3904227886" sldId="304"/>
            <ac:spMk id="422" creationId="{4AECBF77-60C8-FE2F-20BE-9C888A509250}"/>
          </ac:spMkLst>
        </pc:spChg>
        <pc:spChg chg="add del mod">
          <ac:chgData name="Roy Chowdhury, Ritwik" userId="bfb84a7f-f393-43f0-840f-80c362df9247" providerId="ADAL" clId="{D98D1D94-E5EF-4A5F-8B22-D2A92A3A93DC}" dt="2023-11-03T18:31:20.224" v="169" actId="478"/>
          <ac:spMkLst>
            <pc:docMk/>
            <pc:sldMk cId="3904227886" sldId="304"/>
            <ac:spMk id="423" creationId="{149440DB-2FD6-9E9B-226F-91E10854C85D}"/>
          </ac:spMkLst>
        </pc:spChg>
        <pc:spChg chg="add del mod">
          <ac:chgData name="Roy Chowdhury, Ritwik" userId="bfb84a7f-f393-43f0-840f-80c362df9247" providerId="ADAL" clId="{D98D1D94-E5EF-4A5F-8B22-D2A92A3A93DC}" dt="2023-11-03T18:31:25.450" v="173" actId="478"/>
          <ac:spMkLst>
            <pc:docMk/>
            <pc:sldMk cId="3904227886" sldId="304"/>
            <ac:spMk id="424" creationId="{960B564F-14D0-D72F-DEF4-0568091A334A}"/>
          </ac:spMkLst>
        </pc:spChg>
        <pc:spChg chg="add del mod">
          <ac:chgData name="Roy Chowdhury, Ritwik" userId="bfb84a7f-f393-43f0-840f-80c362df9247" providerId="ADAL" clId="{D98D1D94-E5EF-4A5F-8B22-D2A92A3A93DC}" dt="2023-11-03T18:31:30.857" v="177" actId="478"/>
          <ac:spMkLst>
            <pc:docMk/>
            <pc:sldMk cId="3904227886" sldId="304"/>
            <ac:spMk id="425" creationId="{F9FCFBD5-9FEE-905A-1D0B-B209A0B37010}"/>
          </ac:spMkLst>
        </pc:spChg>
        <pc:spChg chg="mod topLvl">
          <ac:chgData name="Roy Chowdhury, Ritwik" userId="bfb84a7f-f393-43f0-840f-80c362df9247" providerId="ADAL" clId="{D98D1D94-E5EF-4A5F-8B22-D2A92A3A93DC}" dt="2023-11-03T18:24:09.659" v="108" actId="1076"/>
          <ac:spMkLst>
            <pc:docMk/>
            <pc:sldMk cId="3904227886" sldId="304"/>
            <ac:spMk id="427" creationId="{ACCBAE4B-6158-2FA7-A096-91B6E9728965}"/>
          </ac:spMkLst>
        </pc:spChg>
        <pc:spChg chg="mod topLvl">
          <ac:chgData name="Roy Chowdhury, Ritwik" userId="bfb84a7f-f393-43f0-840f-80c362df9247" providerId="ADAL" clId="{D98D1D94-E5EF-4A5F-8B22-D2A92A3A93DC}" dt="2023-11-03T18:24:23.985" v="110" actId="14100"/>
          <ac:spMkLst>
            <pc:docMk/>
            <pc:sldMk cId="3904227886" sldId="304"/>
            <ac:spMk id="433" creationId="{4DD0EA55-226D-C5C2-0445-4E8EC91322C9}"/>
          </ac:spMkLst>
        </pc:spChg>
        <pc:spChg chg="del mod topLvl">
          <ac:chgData name="Roy Chowdhury, Ritwik" userId="bfb84a7f-f393-43f0-840f-80c362df9247" providerId="ADAL" clId="{D98D1D94-E5EF-4A5F-8B22-D2A92A3A93DC}" dt="2023-11-03T18:22:26.050" v="92" actId="478"/>
          <ac:spMkLst>
            <pc:docMk/>
            <pc:sldMk cId="3904227886" sldId="304"/>
            <ac:spMk id="434" creationId="{E60868A7-CAEB-34F8-A443-EF7FC31EA7F5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36" creationId="{12E9C6C2-AF37-D957-662C-422FA2B9668B}"/>
          </ac:spMkLst>
        </pc:spChg>
        <pc:spChg chg="mod">
          <ac:chgData name="Roy Chowdhury, Ritwik" userId="bfb84a7f-f393-43f0-840f-80c362df9247" providerId="ADAL" clId="{D98D1D94-E5EF-4A5F-8B22-D2A92A3A93DC}" dt="2023-11-03T18:27:51.987" v="143" actId="1076"/>
          <ac:spMkLst>
            <pc:docMk/>
            <pc:sldMk cId="3904227886" sldId="304"/>
            <ac:spMk id="438" creationId="{1AAAAB27-7821-2BEB-C5DE-C54705EE64E6}"/>
          </ac:spMkLst>
        </pc:spChg>
        <pc:spChg chg="mod">
          <ac:chgData name="Roy Chowdhury, Ritwik" userId="bfb84a7f-f393-43f0-840f-80c362df9247" providerId="ADAL" clId="{D98D1D94-E5EF-4A5F-8B22-D2A92A3A93DC}" dt="2023-11-03T18:28:38.303" v="149" actId="1076"/>
          <ac:spMkLst>
            <pc:docMk/>
            <pc:sldMk cId="3904227886" sldId="304"/>
            <ac:spMk id="439" creationId="{484C2201-8322-B9EA-4FCA-76FA1EFFE09D}"/>
          </ac:spMkLst>
        </pc:spChg>
        <pc:spChg chg="mod">
          <ac:chgData name="Roy Chowdhury, Ritwik" userId="bfb84a7f-f393-43f0-840f-80c362df9247" providerId="ADAL" clId="{D98D1D94-E5EF-4A5F-8B22-D2A92A3A93DC}" dt="2023-11-03T18:29:01.331" v="154" actId="1076"/>
          <ac:spMkLst>
            <pc:docMk/>
            <pc:sldMk cId="3904227886" sldId="304"/>
            <ac:spMk id="440" creationId="{EC5E42F1-5496-7AD2-1197-77ED18AF1572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47" creationId="{81604103-407B-B4D9-16FF-9C33AB4F8731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48" creationId="{1E5B9D43-156F-DF9B-F2A5-42BC3890280C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49" creationId="{BF30A98D-CBAE-1E2A-7122-9A897B587B5E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0" creationId="{B3DBBCD5-4EC9-3B63-C251-AAAD0AF42F0D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2" creationId="{81358E12-AD60-BCB4-ED91-2C34CC41EB1F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3" creationId="{5CF1A474-C156-22E3-EA9C-DAEEEA6B7030}"/>
          </ac:spMkLst>
        </pc:spChg>
        <pc:spChg chg="add del mod">
          <ac:chgData name="Roy Chowdhury, Ritwik" userId="bfb84a7f-f393-43f0-840f-80c362df9247" providerId="ADAL" clId="{D98D1D94-E5EF-4A5F-8B22-D2A92A3A93DC}" dt="2023-11-03T18:55:46.978" v="328" actId="478"/>
          <ac:spMkLst>
            <pc:docMk/>
            <pc:sldMk cId="3904227886" sldId="304"/>
            <ac:spMk id="454" creationId="{130B9FA9-3215-41F8-9730-D66FF78F5500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5" creationId="{00D77F26-CFFB-C5D4-BF2E-C1BCCEC6A394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6" creationId="{B8332A99-FECF-91F2-87E3-E64A4B21A145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57" creationId="{13CE3DD1-D969-2058-EB9A-D053C04921B2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64" creationId="{D489C6E7-AAD7-10A9-EE68-218C778E067D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66" creationId="{B622E691-372E-551E-2C07-2AD0E28DF2B9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67" creationId="{08202A21-6166-3B4E-5E0C-97F65EA95719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68" creationId="{8D7281D8-3B60-9891-2DA7-B8D0B3FDE8C9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69" creationId="{1A4D78E2-0C14-C197-D1C8-DE78C6706B9E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70" creationId="{B6EFA74B-8FD6-EC27-04AE-16DD555AC099}"/>
          </ac:spMkLst>
        </pc:spChg>
        <pc:spChg chg="add del mod">
          <ac:chgData name="Roy Chowdhury, Ritwik" userId="bfb84a7f-f393-43f0-840f-80c362df9247" providerId="ADAL" clId="{D98D1D94-E5EF-4A5F-8B22-D2A92A3A93DC}" dt="2023-11-03T18:55:49.504" v="329" actId="478"/>
          <ac:spMkLst>
            <pc:docMk/>
            <pc:sldMk cId="3904227886" sldId="304"/>
            <ac:spMk id="471" creationId="{7670B84A-D1F3-91CA-862E-AAEADF627994}"/>
          </ac:spMkLst>
        </pc:spChg>
        <pc:spChg chg="mod">
          <ac:chgData name="Roy Chowdhury, Ritwik" userId="bfb84a7f-f393-43f0-840f-80c362df9247" providerId="ADAL" clId="{D98D1D94-E5EF-4A5F-8B22-D2A92A3A93DC}" dt="2023-11-03T18:22:47.201" v="95" actId="206"/>
          <ac:spMkLst>
            <pc:docMk/>
            <pc:sldMk cId="3904227886" sldId="304"/>
            <ac:spMk id="472" creationId="{F410F8F6-5C43-D9D9-2FF7-1148B4D0201C}"/>
          </ac:spMkLst>
        </pc:spChg>
        <pc:spChg chg="add del mod">
          <ac:chgData name="Roy Chowdhury, Ritwik" userId="bfb84a7f-f393-43f0-840f-80c362df9247" providerId="ADAL" clId="{D98D1D94-E5EF-4A5F-8B22-D2A92A3A93DC}" dt="2023-11-03T18:31:21.497" v="170" actId="478"/>
          <ac:spMkLst>
            <pc:docMk/>
            <pc:sldMk cId="3904227886" sldId="304"/>
            <ac:spMk id="478" creationId="{CB8F8AB1-D22B-76E6-B122-0AE820DDEE58}"/>
          </ac:spMkLst>
        </pc:spChg>
        <pc:spChg chg="add del mod">
          <ac:chgData name="Roy Chowdhury, Ritwik" userId="bfb84a7f-f393-43f0-840f-80c362df9247" providerId="ADAL" clId="{D98D1D94-E5EF-4A5F-8B22-D2A92A3A93DC}" dt="2023-11-03T18:31:23.348" v="172" actId="478"/>
          <ac:spMkLst>
            <pc:docMk/>
            <pc:sldMk cId="3904227886" sldId="304"/>
            <ac:spMk id="480" creationId="{85B459A8-545D-C50D-1976-F84A66156CF0}"/>
          </ac:spMkLst>
        </pc:spChg>
        <pc:spChg chg="add del mod">
          <ac:chgData name="Roy Chowdhury, Ritwik" userId="bfb84a7f-f393-43f0-840f-80c362df9247" providerId="ADAL" clId="{D98D1D94-E5EF-4A5F-8B22-D2A92A3A93DC}" dt="2023-11-03T18:31:29.409" v="176" actId="478"/>
          <ac:spMkLst>
            <pc:docMk/>
            <pc:sldMk cId="3904227886" sldId="304"/>
            <ac:spMk id="482" creationId="{AE5C8D28-2AFD-05C4-53F8-09CAA8B00A06}"/>
          </ac:spMkLst>
        </pc:spChg>
        <pc:spChg chg="add del mod">
          <ac:chgData name="Roy Chowdhury, Ritwik" userId="bfb84a7f-f393-43f0-840f-80c362df9247" providerId="ADAL" clId="{D98D1D94-E5EF-4A5F-8B22-D2A92A3A93DC}" dt="2023-11-03T18:37:55.402" v="286" actId="478"/>
          <ac:spMkLst>
            <pc:docMk/>
            <pc:sldMk cId="3904227886" sldId="304"/>
            <ac:spMk id="483" creationId="{9064A1CC-0218-C4F6-65C2-A882E79D8A40}"/>
          </ac:spMkLst>
        </pc:spChg>
        <pc:spChg chg="add mod">
          <ac:chgData name="Roy Chowdhury, Ritwik" userId="bfb84a7f-f393-43f0-840f-80c362df9247" providerId="ADAL" clId="{D98D1D94-E5EF-4A5F-8B22-D2A92A3A93DC}" dt="2023-11-03T18:38:01.539" v="290" actId="20577"/>
          <ac:spMkLst>
            <pc:docMk/>
            <pc:sldMk cId="3904227886" sldId="304"/>
            <ac:spMk id="484" creationId="{B713F50D-ED0A-A3F4-1BE9-C60C93C59B7F}"/>
          </ac:spMkLst>
        </pc:spChg>
        <pc:grpChg chg="add del mod">
          <ac:chgData name="Roy Chowdhury, Ritwik" userId="bfb84a7f-f393-43f0-840f-80c362df9247" providerId="ADAL" clId="{D98D1D94-E5EF-4A5F-8B22-D2A92A3A93DC}" dt="2023-11-03T18:17:24.729" v="50"/>
          <ac:grpSpMkLst>
            <pc:docMk/>
            <pc:sldMk cId="3904227886" sldId="304"/>
            <ac:grpSpMk id="11" creationId="{268F0EA8-92A5-DE75-9D59-1F06139BF97A}"/>
          </ac:grpSpMkLst>
        </pc:grpChg>
        <pc:grpChg chg="mod">
          <ac:chgData name="Roy Chowdhury, Ritwik" userId="bfb84a7f-f393-43f0-840f-80c362df9247" providerId="ADAL" clId="{D98D1D94-E5EF-4A5F-8B22-D2A92A3A93DC}" dt="2023-11-03T18:17:21.356" v="49"/>
          <ac:grpSpMkLst>
            <pc:docMk/>
            <pc:sldMk cId="3904227886" sldId="304"/>
            <ac:grpSpMk id="13" creationId="{1BF18265-762E-337E-F446-BE0F61668566}"/>
          </ac:grpSpMkLst>
        </pc:grpChg>
        <pc:grpChg chg="mod">
          <ac:chgData name="Roy Chowdhury, Ritwik" userId="bfb84a7f-f393-43f0-840f-80c362df9247" providerId="ADAL" clId="{D98D1D94-E5EF-4A5F-8B22-D2A92A3A93DC}" dt="2023-11-03T18:17:21.356" v="49"/>
          <ac:grpSpMkLst>
            <pc:docMk/>
            <pc:sldMk cId="3904227886" sldId="304"/>
            <ac:grpSpMk id="16" creationId="{F67AB4A5-F092-2C70-41A5-8703074EBD33}"/>
          </ac:grpSpMkLst>
        </pc:grpChg>
        <pc:grpChg chg="mod">
          <ac:chgData name="Roy Chowdhury, Ritwik" userId="bfb84a7f-f393-43f0-840f-80c362df9247" providerId="ADAL" clId="{D98D1D94-E5EF-4A5F-8B22-D2A92A3A93DC}" dt="2023-11-03T18:17:21.356" v="49"/>
          <ac:grpSpMkLst>
            <pc:docMk/>
            <pc:sldMk cId="3904227886" sldId="304"/>
            <ac:grpSpMk id="27" creationId="{2ED1E858-FA38-009C-3A56-ADE0F6C562A9}"/>
          </ac:grpSpMkLst>
        </pc:grpChg>
        <pc:grpChg chg="mod">
          <ac:chgData name="Roy Chowdhury, Ritwik" userId="bfb84a7f-f393-43f0-840f-80c362df9247" providerId="ADAL" clId="{D98D1D94-E5EF-4A5F-8B22-D2A92A3A93DC}" dt="2023-11-03T18:17:21.356" v="49"/>
          <ac:grpSpMkLst>
            <pc:docMk/>
            <pc:sldMk cId="3904227886" sldId="304"/>
            <ac:grpSpMk id="33" creationId="{5BF49307-3C00-5DA0-E7DA-9EFCF2B0FB7E}"/>
          </ac:grpSpMkLst>
        </pc:grpChg>
        <pc:grpChg chg="add del mod">
          <ac:chgData name="Roy Chowdhury, Ritwik" userId="bfb84a7f-f393-43f0-840f-80c362df9247" providerId="ADAL" clId="{D98D1D94-E5EF-4A5F-8B22-D2A92A3A93DC}" dt="2023-11-03T18:18:33.783" v="57" actId="478"/>
          <ac:grpSpMkLst>
            <pc:docMk/>
            <pc:sldMk cId="3904227886" sldId="304"/>
            <ac:grpSpMk id="58" creationId="{47FD50CF-FFAB-733C-4F94-DB85FDE3B85F}"/>
          </ac:grpSpMkLst>
        </pc:grpChg>
        <pc:grpChg chg="mod">
          <ac:chgData name="Roy Chowdhury, Ritwik" userId="bfb84a7f-f393-43f0-840f-80c362df9247" providerId="ADAL" clId="{D98D1D94-E5EF-4A5F-8B22-D2A92A3A93DC}" dt="2023-11-03T18:17:27.392" v="51"/>
          <ac:grpSpMkLst>
            <pc:docMk/>
            <pc:sldMk cId="3904227886" sldId="304"/>
            <ac:grpSpMk id="60" creationId="{49B89360-C369-1C83-D929-0C22748173E0}"/>
          </ac:grpSpMkLst>
        </pc:grpChg>
        <pc:grpChg chg="mod">
          <ac:chgData name="Roy Chowdhury, Ritwik" userId="bfb84a7f-f393-43f0-840f-80c362df9247" providerId="ADAL" clId="{D98D1D94-E5EF-4A5F-8B22-D2A92A3A93DC}" dt="2023-11-03T18:17:27.392" v="51"/>
          <ac:grpSpMkLst>
            <pc:docMk/>
            <pc:sldMk cId="3904227886" sldId="304"/>
            <ac:grpSpMk id="63" creationId="{A418CA13-A3BB-0966-4681-4849BB6A870B}"/>
          </ac:grpSpMkLst>
        </pc:grpChg>
        <pc:grpChg chg="mod">
          <ac:chgData name="Roy Chowdhury, Ritwik" userId="bfb84a7f-f393-43f0-840f-80c362df9247" providerId="ADAL" clId="{D98D1D94-E5EF-4A5F-8B22-D2A92A3A93DC}" dt="2023-11-03T18:17:27.392" v="51"/>
          <ac:grpSpMkLst>
            <pc:docMk/>
            <pc:sldMk cId="3904227886" sldId="304"/>
            <ac:grpSpMk id="394" creationId="{35FC698A-13B9-5462-CD6B-B7BCCBD2F62F}"/>
          </ac:grpSpMkLst>
        </pc:grpChg>
        <pc:grpChg chg="mod">
          <ac:chgData name="Roy Chowdhury, Ritwik" userId="bfb84a7f-f393-43f0-840f-80c362df9247" providerId="ADAL" clId="{D98D1D94-E5EF-4A5F-8B22-D2A92A3A93DC}" dt="2023-11-03T18:17:27.392" v="51"/>
          <ac:grpSpMkLst>
            <pc:docMk/>
            <pc:sldMk cId="3904227886" sldId="304"/>
            <ac:grpSpMk id="400" creationId="{5C827133-BA51-09D6-82B2-E9AF49B9853B}"/>
          </ac:grpSpMkLst>
        </pc:grpChg>
        <pc:grpChg chg="add del mod">
          <ac:chgData name="Roy Chowdhury, Ritwik" userId="bfb84a7f-f393-43f0-840f-80c362df9247" providerId="ADAL" clId="{D98D1D94-E5EF-4A5F-8B22-D2A92A3A93DC}" dt="2023-11-03T18:19:42.504" v="65" actId="165"/>
          <ac:grpSpMkLst>
            <pc:docMk/>
            <pc:sldMk cId="3904227886" sldId="304"/>
            <ac:grpSpMk id="426" creationId="{1CC6704F-7125-51ED-06F8-9EA098BBCC1A}"/>
          </ac:grpSpMkLst>
        </pc:grpChg>
        <pc:grpChg chg="mod topLvl">
          <ac:chgData name="Roy Chowdhury, Ritwik" userId="bfb84a7f-f393-43f0-840f-80c362df9247" providerId="ADAL" clId="{D98D1D94-E5EF-4A5F-8B22-D2A92A3A93DC}" dt="2023-11-03T18:56:31.275" v="342" actId="1076"/>
          <ac:grpSpMkLst>
            <pc:docMk/>
            <pc:sldMk cId="3904227886" sldId="304"/>
            <ac:grpSpMk id="428" creationId="{2C152EC9-0D4E-B986-BE11-6F44B085850E}"/>
          </ac:grpSpMkLst>
        </pc:grpChg>
        <pc:grpChg chg="mod">
          <ac:chgData name="Roy Chowdhury, Ritwik" userId="bfb84a7f-f393-43f0-840f-80c362df9247" providerId="ADAL" clId="{D98D1D94-E5EF-4A5F-8B22-D2A92A3A93DC}" dt="2023-11-03T18:22:47.201" v="95" actId="206"/>
          <ac:grpSpMkLst>
            <pc:docMk/>
            <pc:sldMk cId="3904227886" sldId="304"/>
            <ac:grpSpMk id="437" creationId="{87F00C46-202C-EDF1-117B-2FFDD61C5D97}"/>
          </ac:grpSpMkLst>
        </pc:grpChg>
        <pc:grpChg chg="mod">
          <ac:chgData name="Roy Chowdhury, Ritwik" userId="bfb84a7f-f393-43f0-840f-80c362df9247" providerId="ADAL" clId="{D98D1D94-E5EF-4A5F-8B22-D2A92A3A93DC}" dt="2023-11-03T18:22:47.201" v="95" actId="206"/>
          <ac:grpSpMkLst>
            <pc:docMk/>
            <pc:sldMk cId="3904227886" sldId="304"/>
            <ac:grpSpMk id="458" creationId="{4B287431-2A37-B246-C82D-906A8CC5BC75}"/>
          </ac:grpSpMkLst>
        </pc:grpChg>
        <pc:grpChg chg="mod">
          <ac:chgData name="Roy Chowdhury, Ritwik" userId="bfb84a7f-f393-43f0-840f-80c362df9247" providerId="ADAL" clId="{D98D1D94-E5EF-4A5F-8B22-D2A92A3A93DC}" dt="2023-11-03T18:22:47.201" v="95" actId="206"/>
          <ac:grpSpMkLst>
            <pc:docMk/>
            <pc:sldMk cId="3904227886" sldId="304"/>
            <ac:grpSpMk id="465" creationId="{3A918266-4106-A8D4-092C-195ED5494C3A}"/>
          </ac:grpSpMkLst>
        </pc:grpChg>
        <pc:grpChg chg="add del mod">
          <ac:chgData name="Roy Chowdhury, Ritwik" userId="bfb84a7f-f393-43f0-840f-80c362df9247" providerId="ADAL" clId="{D98D1D94-E5EF-4A5F-8B22-D2A92A3A93DC}" dt="2023-11-03T18:31:15.766" v="167" actId="478"/>
          <ac:grpSpMkLst>
            <pc:docMk/>
            <pc:sldMk cId="3904227886" sldId="304"/>
            <ac:grpSpMk id="475" creationId="{8A32AFBF-10C1-CC2D-944A-B935F567FE58}"/>
          </ac:grpSpMkLst>
        </pc:grpChg>
        <pc:picChg chg="mod">
          <ac:chgData name="Roy Chowdhury, Ritwik" userId="bfb84a7f-f393-43f0-840f-80c362df9247" providerId="ADAL" clId="{D98D1D94-E5EF-4A5F-8B22-D2A92A3A93DC}" dt="2023-11-03T18:17:21.356" v="49"/>
          <ac:picMkLst>
            <pc:docMk/>
            <pc:sldMk cId="3904227886" sldId="304"/>
            <ac:picMk id="25" creationId="{16C78A74-99EE-65A9-A038-73B1D5B43209}"/>
          </ac:picMkLst>
        </pc:picChg>
        <pc:picChg chg="mod">
          <ac:chgData name="Roy Chowdhury, Ritwik" userId="bfb84a7f-f393-43f0-840f-80c362df9247" providerId="ADAL" clId="{D98D1D94-E5EF-4A5F-8B22-D2A92A3A93DC}" dt="2023-11-03T18:17:21.356" v="49"/>
          <ac:picMkLst>
            <pc:docMk/>
            <pc:sldMk cId="3904227886" sldId="304"/>
            <ac:picMk id="28" creationId="{A1CAE293-5C1E-FB2E-1A89-1184A79BE682}"/>
          </ac:picMkLst>
        </pc:picChg>
        <pc:picChg chg="mod">
          <ac:chgData name="Roy Chowdhury, Ritwik" userId="bfb84a7f-f393-43f0-840f-80c362df9247" providerId="ADAL" clId="{D98D1D94-E5EF-4A5F-8B22-D2A92A3A93DC}" dt="2023-11-03T18:17:21.356" v="49"/>
          <ac:picMkLst>
            <pc:docMk/>
            <pc:sldMk cId="3904227886" sldId="304"/>
            <ac:picMk id="29" creationId="{4C709296-290A-5A03-6571-0388C009F8BA}"/>
          </ac:picMkLst>
        </pc:picChg>
        <pc:picChg chg="mod">
          <ac:chgData name="Roy Chowdhury, Ritwik" userId="bfb84a7f-f393-43f0-840f-80c362df9247" providerId="ADAL" clId="{D98D1D94-E5EF-4A5F-8B22-D2A92A3A93DC}" dt="2023-11-03T18:17:21.356" v="49"/>
          <ac:picMkLst>
            <pc:docMk/>
            <pc:sldMk cId="3904227886" sldId="304"/>
            <ac:picMk id="30" creationId="{869DEE78-6F57-3A62-7891-FB250A425585}"/>
          </ac:picMkLst>
        </pc:picChg>
        <pc:picChg chg="mod">
          <ac:chgData name="Roy Chowdhury, Ritwik" userId="bfb84a7f-f393-43f0-840f-80c362df9247" providerId="ADAL" clId="{D98D1D94-E5EF-4A5F-8B22-D2A92A3A93DC}" dt="2023-11-03T18:17:21.356" v="49"/>
          <ac:picMkLst>
            <pc:docMk/>
            <pc:sldMk cId="3904227886" sldId="304"/>
            <ac:picMk id="31" creationId="{55D4E6FA-CDCB-A771-AC29-1C57EEC2CA2D}"/>
          </ac:picMkLst>
        </pc:picChg>
        <pc:picChg chg="add del mod">
          <ac:chgData name="Roy Chowdhury, Ritwik" userId="bfb84a7f-f393-43f0-840f-80c362df9247" providerId="ADAL" clId="{D98D1D94-E5EF-4A5F-8B22-D2A92A3A93DC}" dt="2023-11-03T18:17:24.729" v="50"/>
          <ac:picMkLst>
            <pc:docMk/>
            <pc:sldMk cId="3904227886" sldId="304"/>
            <ac:picMk id="51" creationId="{04297649-D5B0-28AA-7062-7AEAF05DC139}"/>
          </ac:picMkLst>
        </pc:picChg>
        <pc:picChg chg="mod">
          <ac:chgData name="Roy Chowdhury, Ritwik" userId="bfb84a7f-f393-43f0-840f-80c362df9247" providerId="ADAL" clId="{D98D1D94-E5EF-4A5F-8B22-D2A92A3A93DC}" dt="2023-11-03T18:17:27.392" v="51"/>
          <ac:picMkLst>
            <pc:docMk/>
            <pc:sldMk cId="3904227886" sldId="304"/>
            <ac:picMk id="392" creationId="{B1942977-5012-2F23-B246-BBD3BE3A0D03}"/>
          </ac:picMkLst>
        </pc:picChg>
        <pc:picChg chg="mod">
          <ac:chgData name="Roy Chowdhury, Ritwik" userId="bfb84a7f-f393-43f0-840f-80c362df9247" providerId="ADAL" clId="{D98D1D94-E5EF-4A5F-8B22-D2A92A3A93DC}" dt="2023-11-03T18:17:27.392" v="51"/>
          <ac:picMkLst>
            <pc:docMk/>
            <pc:sldMk cId="3904227886" sldId="304"/>
            <ac:picMk id="395" creationId="{F1B8C87A-BBEF-97CD-B8C4-BBEF8A80F5D7}"/>
          </ac:picMkLst>
        </pc:picChg>
        <pc:picChg chg="mod">
          <ac:chgData name="Roy Chowdhury, Ritwik" userId="bfb84a7f-f393-43f0-840f-80c362df9247" providerId="ADAL" clId="{D98D1D94-E5EF-4A5F-8B22-D2A92A3A93DC}" dt="2023-11-03T18:17:27.392" v="51"/>
          <ac:picMkLst>
            <pc:docMk/>
            <pc:sldMk cId="3904227886" sldId="304"/>
            <ac:picMk id="396" creationId="{680A4251-0155-7E77-C752-942959C51DB0}"/>
          </ac:picMkLst>
        </pc:picChg>
        <pc:picChg chg="mod">
          <ac:chgData name="Roy Chowdhury, Ritwik" userId="bfb84a7f-f393-43f0-840f-80c362df9247" providerId="ADAL" clId="{D98D1D94-E5EF-4A5F-8B22-D2A92A3A93DC}" dt="2023-11-03T18:17:27.392" v="51"/>
          <ac:picMkLst>
            <pc:docMk/>
            <pc:sldMk cId="3904227886" sldId="304"/>
            <ac:picMk id="397" creationId="{00014D23-A778-02B6-C507-237665BBDC6C}"/>
          </ac:picMkLst>
        </pc:picChg>
        <pc:picChg chg="mod">
          <ac:chgData name="Roy Chowdhury, Ritwik" userId="bfb84a7f-f393-43f0-840f-80c362df9247" providerId="ADAL" clId="{D98D1D94-E5EF-4A5F-8B22-D2A92A3A93DC}" dt="2023-11-03T18:17:27.392" v="51"/>
          <ac:picMkLst>
            <pc:docMk/>
            <pc:sldMk cId="3904227886" sldId="304"/>
            <ac:picMk id="398" creationId="{22847196-65FC-190A-7E30-70ABDF01172D}"/>
          </ac:picMkLst>
        </pc:picChg>
        <pc:picChg chg="add del mod">
          <ac:chgData name="Roy Chowdhury, Ritwik" userId="bfb84a7f-f393-43f0-840f-80c362df9247" providerId="ADAL" clId="{D98D1D94-E5EF-4A5F-8B22-D2A92A3A93DC}" dt="2023-11-03T18:18:33.783" v="57" actId="478"/>
          <ac:picMkLst>
            <pc:docMk/>
            <pc:sldMk cId="3904227886" sldId="304"/>
            <ac:picMk id="420" creationId="{E7702C8D-E815-F264-51C7-93C0C1B9650A}"/>
          </ac:picMkLst>
        </pc:picChg>
        <pc:picChg chg="mod">
          <ac:chgData name="Roy Chowdhury, Ritwik" userId="bfb84a7f-f393-43f0-840f-80c362df9247" providerId="ADAL" clId="{D98D1D94-E5EF-4A5F-8B22-D2A92A3A93DC}" dt="2023-11-03T18:22:47.201" v="95" actId="206"/>
          <ac:picMkLst>
            <pc:docMk/>
            <pc:sldMk cId="3904227886" sldId="304"/>
            <ac:picMk id="451" creationId="{1262260D-ABEF-DAF7-9476-CD32DDEDE396}"/>
          </ac:picMkLst>
        </pc:picChg>
        <pc:picChg chg="mod">
          <ac:chgData name="Roy Chowdhury, Ritwik" userId="bfb84a7f-f393-43f0-840f-80c362df9247" providerId="ADAL" clId="{D98D1D94-E5EF-4A5F-8B22-D2A92A3A93DC}" dt="2023-11-03T18:22:47.201" v="95" actId="206"/>
          <ac:picMkLst>
            <pc:docMk/>
            <pc:sldMk cId="3904227886" sldId="304"/>
            <ac:picMk id="459" creationId="{C951DB81-4450-3EB6-436F-A70ADE9A4DEA}"/>
          </ac:picMkLst>
        </pc:picChg>
        <pc:picChg chg="mod">
          <ac:chgData name="Roy Chowdhury, Ritwik" userId="bfb84a7f-f393-43f0-840f-80c362df9247" providerId="ADAL" clId="{D98D1D94-E5EF-4A5F-8B22-D2A92A3A93DC}" dt="2023-11-03T18:22:47.201" v="95" actId="206"/>
          <ac:picMkLst>
            <pc:docMk/>
            <pc:sldMk cId="3904227886" sldId="304"/>
            <ac:picMk id="460" creationId="{70C5B48C-826F-6EF8-38E4-D073FCAF8A8D}"/>
          </ac:picMkLst>
        </pc:picChg>
        <pc:picChg chg="mod">
          <ac:chgData name="Roy Chowdhury, Ritwik" userId="bfb84a7f-f393-43f0-840f-80c362df9247" providerId="ADAL" clId="{D98D1D94-E5EF-4A5F-8B22-D2A92A3A93DC}" dt="2023-11-03T18:22:47.201" v="95" actId="206"/>
          <ac:picMkLst>
            <pc:docMk/>
            <pc:sldMk cId="3904227886" sldId="304"/>
            <ac:picMk id="461" creationId="{738DA000-053F-7F70-17C4-432A1F11CA92}"/>
          </ac:picMkLst>
        </pc:picChg>
        <pc:picChg chg="del mod">
          <ac:chgData name="Roy Chowdhury, Ritwik" userId="bfb84a7f-f393-43f0-840f-80c362df9247" providerId="ADAL" clId="{D98D1D94-E5EF-4A5F-8B22-D2A92A3A93DC}" dt="2023-11-03T18:56:03.909" v="330" actId="478"/>
          <ac:picMkLst>
            <pc:docMk/>
            <pc:sldMk cId="3904227886" sldId="304"/>
            <ac:picMk id="462" creationId="{586F270A-C96D-BD2E-3940-2132A426C548}"/>
          </ac:picMkLst>
        </pc:picChg>
        <pc:picChg chg="mod">
          <ac:chgData name="Roy Chowdhury, Ritwik" userId="bfb84a7f-f393-43f0-840f-80c362df9247" providerId="ADAL" clId="{D98D1D94-E5EF-4A5F-8B22-D2A92A3A93DC}" dt="2023-11-03T18:22:47.201" v="95" actId="206"/>
          <ac:picMkLst>
            <pc:docMk/>
            <pc:sldMk cId="3904227886" sldId="304"/>
            <ac:picMk id="463" creationId="{FC8FAEF3-4A7B-0463-FD1F-304741D3C1D1}"/>
          </ac:picMkLst>
        </pc:picChg>
        <pc:picChg chg="add mod">
          <ac:chgData name="Roy Chowdhury, Ritwik" userId="bfb84a7f-f393-43f0-840f-80c362df9247" providerId="ADAL" clId="{D98D1D94-E5EF-4A5F-8B22-D2A92A3A93DC}" dt="2023-11-03T18:56:38.048" v="344" actId="207"/>
          <ac:picMkLst>
            <pc:docMk/>
            <pc:sldMk cId="3904227886" sldId="304"/>
            <ac:picMk id="486" creationId="{8EC40B36-10F1-0D1D-5732-C21E87F85C9D}"/>
          </ac:picMkLst>
        </pc:picChg>
        <pc:cxnChg chg="add del mod">
          <ac:chgData name="Roy Chowdhury, Ritwik" userId="bfb84a7f-f393-43f0-840f-80c362df9247" providerId="ADAL" clId="{D98D1D94-E5EF-4A5F-8B22-D2A92A3A93DC}" dt="2023-11-03T18:17:24.729" v="50"/>
          <ac:cxnSpMkLst>
            <pc:docMk/>
            <pc:sldMk cId="3904227886" sldId="304"/>
            <ac:cxnSpMk id="6" creationId="{0029ADAB-DD34-C0F9-8EBA-3E3E0D3CFA97}"/>
          </ac:cxnSpMkLst>
        </pc:cxnChg>
        <pc:cxnChg chg="add del mod">
          <ac:chgData name="Roy Chowdhury, Ritwik" userId="bfb84a7f-f393-43f0-840f-80c362df9247" providerId="ADAL" clId="{D98D1D94-E5EF-4A5F-8B22-D2A92A3A93DC}" dt="2023-11-03T18:17:24.729" v="50"/>
          <ac:cxnSpMkLst>
            <pc:docMk/>
            <pc:sldMk cId="3904227886" sldId="304"/>
            <ac:cxnSpMk id="8" creationId="{4B3C1176-D7DD-946E-C64D-A512E5237F5A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14" creationId="{B536B76D-B5EA-DD59-1460-AE3ACAC5825D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17" creationId="{F1C766FC-79FD-6F50-2706-F0E1EFEC5E67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18" creationId="{98ACA28D-77F8-6703-7741-E2C4187C6B68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19" creationId="{18587962-5D12-8A79-ED5E-B64ADEFD3EA6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20" creationId="{7CA16F1E-0BB8-F77E-5DAF-E55F9262B2EC}"/>
          </ac:cxnSpMkLst>
        </pc:cxnChg>
        <pc:cxnChg chg="mod">
          <ac:chgData name="Roy Chowdhury, Ritwik" userId="bfb84a7f-f393-43f0-840f-80c362df9247" providerId="ADAL" clId="{D98D1D94-E5EF-4A5F-8B22-D2A92A3A93DC}" dt="2023-11-03T18:17:21.356" v="49"/>
          <ac:cxnSpMkLst>
            <pc:docMk/>
            <pc:sldMk cId="3904227886" sldId="304"/>
            <ac:cxnSpMk id="21" creationId="{8ACFC225-069B-B6ED-21BE-5256F9EDB469}"/>
          </ac:cxnSpMkLst>
        </pc:cxnChg>
        <pc:cxnChg chg="add del mod">
          <ac:chgData name="Roy Chowdhury, Ritwik" userId="bfb84a7f-f393-43f0-840f-80c362df9247" providerId="ADAL" clId="{D98D1D94-E5EF-4A5F-8B22-D2A92A3A93DC}" dt="2023-11-03T18:17:24.729" v="50"/>
          <ac:cxnSpMkLst>
            <pc:docMk/>
            <pc:sldMk cId="3904227886" sldId="304"/>
            <ac:cxnSpMk id="42" creationId="{DECD5156-E3BE-14D0-D9F0-A8A240303235}"/>
          </ac:cxnSpMkLst>
        </pc:cxnChg>
        <pc:cxnChg chg="add del mod">
          <ac:chgData name="Roy Chowdhury, Ritwik" userId="bfb84a7f-f393-43f0-840f-80c362df9247" providerId="ADAL" clId="{D98D1D94-E5EF-4A5F-8B22-D2A92A3A93DC}" dt="2023-11-03T18:17:24.729" v="50"/>
          <ac:cxnSpMkLst>
            <pc:docMk/>
            <pc:sldMk cId="3904227886" sldId="304"/>
            <ac:cxnSpMk id="52" creationId="{FDA6E60A-BA19-C716-6FBC-7BEC1CB617DD}"/>
          </ac:cxnSpMkLst>
        </pc:cxnChg>
        <pc:cxnChg chg="add del mod">
          <ac:chgData name="Roy Chowdhury, Ritwik" userId="bfb84a7f-f393-43f0-840f-80c362df9247" providerId="ADAL" clId="{D98D1D94-E5EF-4A5F-8B22-D2A92A3A93DC}" dt="2023-11-03T18:18:33.783" v="57" actId="478"/>
          <ac:cxnSpMkLst>
            <pc:docMk/>
            <pc:sldMk cId="3904227886" sldId="304"/>
            <ac:cxnSpMk id="53" creationId="{8A855790-FD86-71CD-5825-7246E2B275DA}"/>
          </ac:cxnSpMkLst>
        </pc:cxnChg>
        <pc:cxnChg chg="add del mod">
          <ac:chgData name="Roy Chowdhury, Ritwik" userId="bfb84a7f-f393-43f0-840f-80c362df9247" providerId="ADAL" clId="{D98D1D94-E5EF-4A5F-8B22-D2A92A3A93DC}" dt="2023-11-03T18:18:33.783" v="57" actId="478"/>
          <ac:cxnSpMkLst>
            <pc:docMk/>
            <pc:sldMk cId="3904227886" sldId="304"/>
            <ac:cxnSpMk id="55" creationId="{D801386B-643B-8839-BA24-CEEA6FD0965A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61" creationId="{4484CA2A-BBFA-C3E8-B66A-6A5CCA856B84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384" creationId="{0D3F973F-49AE-AA9F-F8F2-F9BF82F1AB1D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385" creationId="{4C6E2896-9FB4-6277-9DD8-08F8A100CCA8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386" creationId="{40B57E1A-05B7-1495-5038-6505EC55CE5E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387" creationId="{EA16A6BC-54B9-694E-76AB-70FE4A94BC7D}"/>
          </ac:cxnSpMkLst>
        </pc:cxnChg>
        <pc:cxnChg chg="mod">
          <ac:chgData name="Roy Chowdhury, Ritwik" userId="bfb84a7f-f393-43f0-840f-80c362df9247" providerId="ADAL" clId="{D98D1D94-E5EF-4A5F-8B22-D2A92A3A93DC}" dt="2023-11-03T18:17:27.392" v="51"/>
          <ac:cxnSpMkLst>
            <pc:docMk/>
            <pc:sldMk cId="3904227886" sldId="304"/>
            <ac:cxnSpMk id="388" creationId="{2DB7664F-CE7B-77C7-F103-221ACA3D77EF}"/>
          </ac:cxnSpMkLst>
        </pc:cxnChg>
        <pc:cxnChg chg="add del mod">
          <ac:chgData name="Roy Chowdhury, Ritwik" userId="bfb84a7f-f393-43f0-840f-80c362df9247" providerId="ADAL" clId="{D98D1D94-E5EF-4A5F-8B22-D2A92A3A93DC}" dt="2023-11-03T18:18:33.783" v="57" actId="478"/>
          <ac:cxnSpMkLst>
            <pc:docMk/>
            <pc:sldMk cId="3904227886" sldId="304"/>
            <ac:cxnSpMk id="411" creationId="{8E5FBDE7-09F8-2E33-01FD-92DC2A2FEB6F}"/>
          </ac:cxnSpMkLst>
        </pc:cxnChg>
        <pc:cxnChg chg="add del mod">
          <ac:chgData name="Roy Chowdhury, Ritwik" userId="bfb84a7f-f393-43f0-840f-80c362df9247" providerId="ADAL" clId="{D98D1D94-E5EF-4A5F-8B22-D2A92A3A93DC}" dt="2023-11-03T18:18:33.783" v="57" actId="478"/>
          <ac:cxnSpMkLst>
            <pc:docMk/>
            <pc:sldMk cId="3904227886" sldId="304"/>
            <ac:cxnSpMk id="421" creationId="{0AA23B6F-3758-2A09-0511-22CAF4E21E2E}"/>
          </ac:cxnSpMkLst>
        </pc:cxnChg>
        <pc:cxnChg chg="del mod">
          <ac:chgData name="Roy Chowdhury, Ritwik" userId="bfb84a7f-f393-43f0-840f-80c362df9247" providerId="ADAL" clId="{D98D1D94-E5EF-4A5F-8B22-D2A92A3A93DC}" dt="2023-11-03T18:18:59.049" v="60" actId="478"/>
          <ac:cxnSpMkLst>
            <pc:docMk/>
            <pc:sldMk cId="3904227886" sldId="304"/>
            <ac:cxnSpMk id="429" creationId="{1727790C-E668-55BC-C0EC-431E99B3D092}"/>
          </ac:cxnSpMkLst>
        </pc:cxnChg>
        <pc:cxnChg chg="del mod">
          <ac:chgData name="Roy Chowdhury, Ritwik" userId="bfb84a7f-f393-43f0-840f-80c362df9247" providerId="ADAL" clId="{D98D1D94-E5EF-4A5F-8B22-D2A92A3A93DC}" dt="2023-11-03T18:19:01.411" v="61" actId="478"/>
          <ac:cxnSpMkLst>
            <pc:docMk/>
            <pc:sldMk cId="3904227886" sldId="304"/>
            <ac:cxnSpMk id="430" creationId="{0FF723C4-5199-912E-4259-ACA68155C251}"/>
          </ac:cxnSpMkLst>
        </pc:cxnChg>
        <pc:cxnChg chg="del mod">
          <ac:chgData name="Roy Chowdhury, Ritwik" userId="bfb84a7f-f393-43f0-840f-80c362df9247" providerId="ADAL" clId="{D98D1D94-E5EF-4A5F-8B22-D2A92A3A93DC}" dt="2023-11-03T18:18:55.083" v="59" actId="478"/>
          <ac:cxnSpMkLst>
            <pc:docMk/>
            <pc:sldMk cId="3904227886" sldId="304"/>
            <ac:cxnSpMk id="431" creationId="{1646EDA6-079F-192F-1FC6-3C3BA79B393A}"/>
          </ac:cxnSpMkLst>
        </pc:cxnChg>
        <pc:cxnChg chg="del mod topLvl">
          <ac:chgData name="Roy Chowdhury, Ritwik" userId="bfb84a7f-f393-43f0-840f-80c362df9247" providerId="ADAL" clId="{D98D1D94-E5EF-4A5F-8B22-D2A92A3A93DC}" dt="2023-11-03T18:20:58.042" v="80" actId="478"/>
          <ac:cxnSpMkLst>
            <pc:docMk/>
            <pc:sldMk cId="3904227886" sldId="304"/>
            <ac:cxnSpMk id="432" creationId="{65C79983-0389-EEB2-2BCF-4D9FBFD4353B}"/>
          </ac:cxnSpMkLst>
        </pc:cxnChg>
        <pc:cxnChg chg="del mod topLvl">
          <ac:chgData name="Roy Chowdhury, Ritwik" userId="bfb84a7f-f393-43f0-840f-80c362df9247" providerId="ADAL" clId="{D98D1D94-E5EF-4A5F-8B22-D2A92A3A93DC}" dt="2023-11-03T18:31:16.990" v="168" actId="478"/>
          <ac:cxnSpMkLst>
            <pc:docMk/>
            <pc:sldMk cId="3904227886" sldId="304"/>
            <ac:cxnSpMk id="435" creationId="{4730823D-42D1-CFDD-15BE-4FDE66848197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1" creationId="{7C5EF178-1677-A134-1A78-9D955C0A087C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2" creationId="{376492FC-5957-454C-DD5B-CAEDDB3B033E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3" creationId="{FD37DF63-F8FC-BD75-410C-9A220A99146E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4" creationId="{E8335308-AE80-1993-F4C4-6BFB2C362E9B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5" creationId="{4EAF7784-CBFB-BEA2-A30F-C7FDE8D36DF6}"/>
          </ac:cxnSpMkLst>
        </pc:cxnChg>
        <pc:cxnChg chg="mod">
          <ac:chgData name="Roy Chowdhury, Ritwik" userId="bfb84a7f-f393-43f0-840f-80c362df9247" providerId="ADAL" clId="{D98D1D94-E5EF-4A5F-8B22-D2A92A3A93DC}" dt="2023-11-03T18:22:47.201" v="95" actId="206"/>
          <ac:cxnSpMkLst>
            <pc:docMk/>
            <pc:sldMk cId="3904227886" sldId="304"/>
            <ac:cxnSpMk id="446" creationId="{25B0FE2E-7CEE-2F26-4994-C20DC22A5916}"/>
          </ac:cxnSpMkLst>
        </pc:cxnChg>
        <pc:cxnChg chg="add del mod">
          <ac:chgData name="Roy Chowdhury, Ritwik" userId="bfb84a7f-f393-43f0-840f-80c362df9247" providerId="ADAL" clId="{D98D1D94-E5EF-4A5F-8B22-D2A92A3A93DC}" dt="2023-11-03T18:31:22.265" v="171" actId="478"/>
          <ac:cxnSpMkLst>
            <pc:docMk/>
            <pc:sldMk cId="3904227886" sldId="304"/>
            <ac:cxnSpMk id="476" creationId="{64AEB822-099A-570D-48D9-91F696790A41}"/>
          </ac:cxnSpMkLst>
        </pc:cxnChg>
        <pc:cxnChg chg="add del mod">
          <ac:chgData name="Roy Chowdhury, Ritwik" userId="bfb84a7f-f393-43f0-840f-80c362df9247" providerId="ADAL" clId="{D98D1D94-E5EF-4A5F-8B22-D2A92A3A93DC}" dt="2023-11-03T18:31:27.082" v="174" actId="478"/>
          <ac:cxnSpMkLst>
            <pc:docMk/>
            <pc:sldMk cId="3904227886" sldId="304"/>
            <ac:cxnSpMk id="479" creationId="{2427C19F-3B02-7746-A7BA-CC3B2617E9EF}"/>
          </ac:cxnSpMkLst>
        </pc:cxnChg>
        <pc:cxnChg chg="add del mod">
          <ac:chgData name="Roy Chowdhury, Ritwik" userId="bfb84a7f-f393-43f0-840f-80c362df9247" providerId="ADAL" clId="{D98D1D94-E5EF-4A5F-8B22-D2A92A3A93DC}" dt="2023-11-03T18:31:32.267" v="178" actId="478"/>
          <ac:cxnSpMkLst>
            <pc:docMk/>
            <pc:sldMk cId="3904227886" sldId="304"/>
            <ac:cxnSpMk id="481" creationId="{D29B9386-EFAB-E5B0-AC62-4B723945F9CB}"/>
          </ac:cxnSpMkLst>
        </pc:cxnChg>
      </pc:sldChg>
      <pc:sldChg chg="modSp add del mod">
        <pc:chgData name="Roy Chowdhury, Ritwik" userId="bfb84a7f-f393-43f0-840f-80c362df9247" providerId="ADAL" clId="{D98D1D94-E5EF-4A5F-8B22-D2A92A3A93DC}" dt="2023-11-03T18:31:00.217" v="165" actId="2696"/>
        <pc:sldMkLst>
          <pc:docMk/>
          <pc:sldMk cId="174050519" sldId="305"/>
        </pc:sldMkLst>
        <pc:spChg chg="mod">
          <ac:chgData name="Roy Chowdhury, Ritwik" userId="bfb84a7f-f393-43f0-840f-80c362df9247" providerId="ADAL" clId="{D98D1D94-E5EF-4A5F-8B22-D2A92A3A93DC}" dt="2023-11-03T18:18:21.047" v="56" actId="14100"/>
          <ac:spMkLst>
            <pc:docMk/>
            <pc:sldMk cId="174050519" sldId="305"/>
            <ac:spMk id="25" creationId="{1C8B149D-A394-FEF3-AAA4-33172C676786}"/>
          </ac:spMkLst>
        </pc:spChg>
      </pc:sldChg>
      <pc:sldChg chg="addSp delSp modSp add mod">
        <pc:chgData name="Roy Chowdhury, Ritwik" userId="bfb84a7f-f393-43f0-840f-80c362df9247" providerId="ADAL" clId="{D98D1D94-E5EF-4A5F-8B22-D2A92A3A93DC}" dt="2023-11-07T00:00:04.078" v="6447" actId="20577"/>
        <pc:sldMkLst>
          <pc:docMk/>
          <pc:sldMk cId="2852402234" sldId="305"/>
        </pc:sldMkLst>
        <pc:spChg chg="add mod">
          <ac:chgData name="Roy Chowdhury, Ritwik" userId="bfb84a7f-f393-43f0-840f-80c362df9247" providerId="ADAL" clId="{D98D1D94-E5EF-4A5F-8B22-D2A92A3A93DC}" dt="2023-11-07T00:00:04.078" v="6447" actId="20577"/>
          <ac:spMkLst>
            <pc:docMk/>
            <pc:sldMk cId="2852402234" sldId="305"/>
            <ac:spMk id="5" creationId="{65EE5DE2-25A8-9FF2-D893-AA0287323D2F}"/>
          </ac:spMkLst>
        </pc:spChg>
        <pc:spChg chg="del mod">
          <ac:chgData name="Roy Chowdhury, Ritwik" userId="bfb84a7f-f393-43f0-840f-80c362df9247" providerId="ADAL" clId="{D98D1D94-E5EF-4A5F-8B22-D2A92A3A93DC}" dt="2023-11-05T01:04:02.962" v="2182" actId="478"/>
          <ac:spMkLst>
            <pc:docMk/>
            <pc:sldMk cId="2852402234" sldId="305"/>
            <ac:spMk id="422" creationId="{4AECBF77-60C8-FE2F-20BE-9C888A509250}"/>
          </ac:spMkLst>
        </pc:spChg>
        <pc:spChg chg="del mod">
          <ac:chgData name="Roy Chowdhury, Ritwik" userId="bfb84a7f-f393-43f0-840f-80c362df9247" providerId="ADAL" clId="{D98D1D94-E5EF-4A5F-8B22-D2A92A3A93DC}" dt="2023-11-04T01:38:49.179" v="621" actId="478"/>
          <ac:spMkLst>
            <pc:docMk/>
            <pc:sldMk cId="2852402234" sldId="305"/>
            <ac:spMk id="423" creationId="{149440DB-2FD6-9E9B-226F-91E10854C85D}"/>
          </ac:spMkLst>
        </pc:spChg>
        <pc:spChg chg="del mod">
          <ac:chgData name="Roy Chowdhury, Ritwik" userId="bfb84a7f-f393-43f0-840f-80c362df9247" providerId="ADAL" clId="{D98D1D94-E5EF-4A5F-8B22-D2A92A3A93DC}" dt="2023-11-04T01:38:58.275" v="625" actId="478"/>
          <ac:spMkLst>
            <pc:docMk/>
            <pc:sldMk cId="2852402234" sldId="305"/>
            <ac:spMk id="424" creationId="{960B564F-14D0-D72F-DEF4-0568091A334A}"/>
          </ac:spMkLst>
        </pc:spChg>
        <pc:spChg chg="del mod">
          <ac:chgData name="Roy Chowdhury, Ritwik" userId="bfb84a7f-f393-43f0-840f-80c362df9247" providerId="ADAL" clId="{D98D1D94-E5EF-4A5F-8B22-D2A92A3A93DC}" dt="2023-11-04T01:39:07.863" v="628" actId="478"/>
          <ac:spMkLst>
            <pc:docMk/>
            <pc:sldMk cId="2852402234" sldId="305"/>
            <ac:spMk id="425" creationId="{F9FCFBD5-9FEE-905A-1D0B-B209A0B37010}"/>
          </ac:spMkLst>
        </pc:spChg>
        <pc:spChg chg="del">
          <ac:chgData name="Roy Chowdhury, Ritwik" userId="bfb84a7f-f393-43f0-840f-80c362df9247" providerId="ADAL" clId="{D98D1D94-E5EF-4A5F-8B22-D2A92A3A93DC}" dt="2023-11-04T01:38:44.162" v="618" actId="478"/>
          <ac:spMkLst>
            <pc:docMk/>
            <pc:sldMk cId="2852402234" sldId="305"/>
            <ac:spMk id="427" creationId="{ACCBAE4B-6158-2FA7-A096-91B6E9728965}"/>
          </ac:spMkLst>
        </pc:spChg>
        <pc:spChg chg="del">
          <ac:chgData name="Roy Chowdhury, Ritwik" userId="bfb84a7f-f393-43f0-840f-80c362df9247" providerId="ADAL" clId="{D98D1D94-E5EF-4A5F-8B22-D2A92A3A93DC}" dt="2023-11-04T01:38:45.839" v="619" actId="478"/>
          <ac:spMkLst>
            <pc:docMk/>
            <pc:sldMk cId="2852402234" sldId="305"/>
            <ac:spMk id="433" creationId="{4DD0EA55-226D-C5C2-0445-4E8EC91322C9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36" creationId="{12E9C6C2-AF37-D957-662C-422FA2B9668B}"/>
          </ac:spMkLst>
        </pc:spChg>
        <pc:spChg chg="mod">
          <ac:chgData name="Roy Chowdhury, Ritwik" userId="bfb84a7f-f393-43f0-840f-80c362df9247" providerId="ADAL" clId="{D98D1D94-E5EF-4A5F-8B22-D2A92A3A93DC}" dt="2023-11-06T22:50:26.950" v="6373" actId="207"/>
          <ac:spMkLst>
            <pc:docMk/>
            <pc:sldMk cId="2852402234" sldId="305"/>
            <ac:spMk id="438" creationId="{1AAAAB27-7821-2BEB-C5DE-C54705EE64E6}"/>
          </ac:spMkLst>
        </pc:spChg>
        <pc:spChg chg="mod">
          <ac:chgData name="Roy Chowdhury, Ritwik" userId="bfb84a7f-f393-43f0-840f-80c362df9247" providerId="ADAL" clId="{D98D1D94-E5EF-4A5F-8B22-D2A92A3A93DC}" dt="2023-11-06T22:50:24.615" v="6372" actId="207"/>
          <ac:spMkLst>
            <pc:docMk/>
            <pc:sldMk cId="2852402234" sldId="305"/>
            <ac:spMk id="439" creationId="{484C2201-8322-B9EA-4FCA-76FA1EFFE09D}"/>
          </ac:spMkLst>
        </pc:spChg>
        <pc:spChg chg="mod">
          <ac:chgData name="Roy Chowdhury, Ritwik" userId="bfb84a7f-f393-43f0-840f-80c362df9247" providerId="ADAL" clId="{D98D1D94-E5EF-4A5F-8B22-D2A92A3A93DC}" dt="2023-11-06T22:50:29.406" v="6374" actId="207"/>
          <ac:spMkLst>
            <pc:docMk/>
            <pc:sldMk cId="2852402234" sldId="305"/>
            <ac:spMk id="440" creationId="{EC5E42F1-5496-7AD2-1197-77ED18AF1572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47" creationId="{81604103-407B-B4D9-16FF-9C33AB4F8731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48" creationId="{1E5B9D43-156F-DF9B-F2A5-42BC3890280C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49" creationId="{BF30A98D-CBAE-1E2A-7122-9A897B587B5E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50" creationId="{B3DBBCD5-4EC9-3B63-C251-AAAD0AF42F0D}"/>
          </ac:spMkLst>
        </pc:spChg>
        <pc:spChg chg="mod">
          <ac:chgData name="Roy Chowdhury, Ritwik" userId="bfb84a7f-f393-43f0-840f-80c362df9247" providerId="ADAL" clId="{D98D1D94-E5EF-4A5F-8B22-D2A92A3A93DC}" dt="2023-11-06T22:50:44.798" v="6375" actId="207"/>
          <ac:spMkLst>
            <pc:docMk/>
            <pc:sldMk cId="2852402234" sldId="305"/>
            <ac:spMk id="452" creationId="{81358E12-AD60-BCB4-ED91-2C34CC41EB1F}"/>
          </ac:spMkLst>
        </pc:spChg>
        <pc:spChg chg="mod">
          <ac:chgData name="Roy Chowdhury, Ritwik" userId="bfb84a7f-f393-43f0-840f-80c362df9247" providerId="ADAL" clId="{D98D1D94-E5EF-4A5F-8B22-D2A92A3A93DC}" dt="2023-11-06T22:55:01.287" v="6378" actId="207"/>
          <ac:spMkLst>
            <pc:docMk/>
            <pc:sldMk cId="2852402234" sldId="305"/>
            <ac:spMk id="466" creationId="{B622E691-372E-551E-2C07-2AD0E28DF2B9}"/>
          </ac:spMkLst>
        </pc:spChg>
        <pc:spChg chg="mod">
          <ac:chgData name="Roy Chowdhury, Ritwik" userId="bfb84a7f-f393-43f0-840f-80c362df9247" providerId="ADAL" clId="{D98D1D94-E5EF-4A5F-8B22-D2A92A3A93DC}" dt="2023-11-06T22:58:39.815" v="6383" actId="14861"/>
          <ac:spMkLst>
            <pc:docMk/>
            <pc:sldMk cId="2852402234" sldId="305"/>
            <ac:spMk id="467" creationId="{08202A21-6166-3B4E-5E0C-97F65EA95719}"/>
          </ac:spMkLst>
        </pc:spChg>
        <pc:spChg chg="mod">
          <ac:chgData name="Roy Chowdhury, Ritwik" userId="bfb84a7f-f393-43f0-840f-80c362df9247" providerId="ADAL" clId="{D98D1D94-E5EF-4A5F-8B22-D2A92A3A93DC}" dt="2023-11-06T22:59:06.106" v="6384" actId="14861"/>
          <ac:spMkLst>
            <pc:docMk/>
            <pc:sldMk cId="2852402234" sldId="305"/>
            <ac:spMk id="468" creationId="{8D7281D8-3B60-9891-2DA7-B8D0B3FDE8C9}"/>
          </ac:spMkLst>
        </pc:spChg>
        <pc:spChg chg="mod">
          <ac:chgData name="Roy Chowdhury, Ritwik" userId="bfb84a7f-f393-43f0-840f-80c362df9247" providerId="ADAL" clId="{D98D1D94-E5EF-4A5F-8B22-D2A92A3A93DC}" dt="2023-11-06T22:59:06.106" v="6384" actId="14861"/>
          <ac:spMkLst>
            <pc:docMk/>
            <pc:sldMk cId="2852402234" sldId="305"/>
            <ac:spMk id="469" creationId="{1A4D78E2-0C14-C197-D1C8-DE78C6706B9E}"/>
          </ac:spMkLst>
        </pc:spChg>
        <pc:spChg chg="mod">
          <ac:chgData name="Roy Chowdhury, Ritwik" userId="bfb84a7f-f393-43f0-840f-80c362df9247" providerId="ADAL" clId="{D98D1D94-E5EF-4A5F-8B22-D2A92A3A93DC}" dt="2023-11-06T22:59:06.106" v="6384" actId="14861"/>
          <ac:spMkLst>
            <pc:docMk/>
            <pc:sldMk cId="2852402234" sldId="305"/>
            <ac:spMk id="470" creationId="{B6EFA74B-8FD6-EC27-04AE-16DD555AC099}"/>
          </ac:spMkLst>
        </pc:spChg>
        <pc:spChg chg="mod">
          <ac:chgData name="Roy Chowdhury, Ritwik" userId="bfb84a7f-f393-43f0-840f-80c362df9247" providerId="ADAL" clId="{D98D1D94-E5EF-4A5F-8B22-D2A92A3A93DC}" dt="2023-11-06T22:59:06.106" v="6384" actId="14861"/>
          <ac:spMkLst>
            <pc:docMk/>
            <pc:sldMk cId="2852402234" sldId="305"/>
            <ac:spMk id="471" creationId="{7670B84A-D1F3-91CA-862E-AAEADF627994}"/>
          </ac:spMkLst>
        </pc:spChg>
        <pc:spChg chg="mod">
          <ac:chgData name="Roy Chowdhury, Ritwik" userId="bfb84a7f-f393-43f0-840f-80c362df9247" providerId="ADAL" clId="{D98D1D94-E5EF-4A5F-8B22-D2A92A3A93DC}" dt="2023-11-06T22:59:06.106" v="6384" actId="14861"/>
          <ac:spMkLst>
            <pc:docMk/>
            <pc:sldMk cId="2852402234" sldId="305"/>
            <ac:spMk id="472" creationId="{F410F8F6-5C43-D9D9-2FF7-1148B4D0201C}"/>
          </ac:spMkLst>
        </pc:spChg>
        <pc:spChg chg="del mod">
          <ac:chgData name="Roy Chowdhury, Ritwik" userId="bfb84a7f-f393-43f0-840f-80c362df9247" providerId="ADAL" clId="{D98D1D94-E5EF-4A5F-8B22-D2A92A3A93DC}" dt="2023-11-04T01:38:51.139" v="622" actId="478"/>
          <ac:spMkLst>
            <pc:docMk/>
            <pc:sldMk cId="2852402234" sldId="305"/>
            <ac:spMk id="478" creationId="{CB8F8AB1-D22B-76E6-B122-0AE820DDEE58}"/>
          </ac:spMkLst>
        </pc:spChg>
        <pc:spChg chg="del mod">
          <ac:chgData name="Roy Chowdhury, Ritwik" userId="bfb84a7f-f393-43f0-840f-80c362df9247" providerId="ADAL" clId="{D98D1D94-E5EF-4A5F-8B22-D2A92A3A93DC}" dt="2023-11-04T01:39:02.019" v="626" actId="478"/>
          <ac:spMkLst>
            <pc:docMk/>
            <pc:sldMk cId="2852402234" sldId="305"/>
            <ac:spMk id="480" creationId="{85B459A8-545D-C50D-1976-F84A66156CF0}"/>
          </ac:spMkLst>
        </pc:spChg>
        <pc:spChg chg="del mod">
          <ac:chgData name="Roy Chowdhury, Ritwik" userId="bfb84a7f-f393-43f0-840f-80c362df9247" providerId="ADAL" clId="{D98D1D94-E5EF-4A5F-8B22-D2A92A3A93DC}" dt="2023-11-04T01:39:06.019" v="627" actId="478"/>
          <ac:spMkLst>
            <pc:docMk/>
            <pc:sldMk cId="2852402234" sldId="305"/>
            <ac:spMk id="482" creationId="{AE5C8D28-2AFD-05C4-53F8-09CAA8B00A06}"/>
          </ac:spMkLst>
        </pc:spChg>
        <pc:grpChg chg="add del mod">
          <ac:chgData name="Roy Chowdhury, Ritwik" userId="bfb84a7f-f393-43f0-840f-80c362df9247" providerId="ADAL" clId="{D98D1D94-E5EF-4A5F-8B22-D2A92A3A93DC}" dt="2023-11-04T01:39:10.191" v="629" actId="478"/>
          <ac:grpSpMkLst>
            <pc:docMk/>
            <pc:sldMk cId="2852402234" sldId="305"/>
            <ac:grpSpMk id="3" creationId="{5B44041F-3E1C-E4AC-A295-D263EC6AEDF0}"/>
          </ac:grpSpMkLst>
        </pc:grpChg>
        <pc:grpChg chg="add mod">
          <ac:chgData name="Roy Chowdhury, Ritwik" userId="bfb84a7f-f393-43f0-840f-80c362df9247" providerId="ADAL" clId="{D98D1D94-E5EF-4A5F-8B22-D2A92A3A93DC}" dt="2023-11-06T22:49:36.218" v="6365" actId="1076"/>
          <ac:grpSpMkLst>
            <pc:docMk/>
            <pc:sldMk cId="2852402234" sldId="305"/>
            <ac:grpSpMk id="4" creationId="{DAABF02C-9D92-C8B9-5D81-9FF95110E941}"/>
          </ac:grpSpMkLst>
        </pc:grpChg>
        <pc:grpChg chg="mod">
          <ac:chgData name="Roy Chowdhury, Ritwik" userId="bfb84a7f-f393-43f0-840f-80c362df9247" providerId="ADAL" clId="{D98D1D94-E5EF-4A5F-8B22-D2A92A3A93DC}" dt="2023-11-04T01:38:01.851" v="611" actId="164"/>
          <ac:grpSpMkLst>
            <pc:docMk/>
            <pc:sldMk cId="2852402234" sldId="305"/>
            <ac:grpSpMk id="428" creationId="{2C152EC9-0D4E-B986-BE11-6F44B085850E}"/>
          </ac:grpSpMkLst>
        </pc:grpChg>
        <pc:grpChg chg="del mod">
          <ac:chgData name="Roy Chowdhury, Ritwik" userId="bfb84a7f-f393-43f0-840f-80c362df9247" providerId="ADAL" clId="{D98D1D94-E5EF-4A5F-8B22-D2A92A3A93DC}" dt="2023-11-04T01:38:44.162" v="618" actId="478"/>
          <ac:grpSpMkLst>
            <pc:docMk/>
            <pc:sldMk cId="2852402234" sldId="305"/>
            <ac:grpSpMk id="475" creationId="{8A32AFBF-10C1-CC2D-944A-B935F567FE58}"/>
          </ac:grpSpMkLst>
        </pc:grpChg>
        <pc:picChg chg="add 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2" creationId="{F04F6B89-CD0A-DF62-CA13-4155C40C6DF1}"/>
          </ac:picMkLst>
        </pc:picChg>
        <pc:picChg chg="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451" creationId="{1262260D-ABEF-DAF7-9476-CD32DDEDE396}"/>
          </ac:picMkLst>
        </pc:picChg>
        <pc:picChg chg="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459" creationId="{C951DB81-4450-3EB6-436F-A70ADE9A4DEA}"/>
          </ac:picMkLst>
        </pc:picChg>
        <pc:picChg chg="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460" creationId="{70C5B48C-826F-6EF8-38E4-D073FCAF8A8D}"/>
          </ac:picMkLst>
        </pc:picChg>
        <pc:picChg chg="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461" creationId="{738DA000-053F-7F70-17C4-432A1F11CA92}"/>
          </ac:picMkLst>
        </pc:picChg>
        <pc:picChg chg="del">
          <ac:chgData name="Roy Chowdhury, Ritwik" userId="bfb84a7f-f393-43f0-840f-80c362df9247" providerId="ADAL" clId="{D98D1D94-E5EF-4A5F-8B22-D2A92A3A93DC}" dt="2023-11-03T18:56:56.825" v="345" actId="478"/>
          <ac:picMkLst>
            <pc:docMk/>
            <pc:sldMk cId="2852402234" sldId="305"/>
            <ac:picMk id="462" creationId="{586F270A-C96D-BD2E-3940-2132A426C548}"/>
          </ac:picMkLst>
        </pc:picChg>
        <pc:picChg chg="mod">
          <ac:chgData name="Roy Chowdhury, Ritwik" userId="bfb84a7f-f393-43f0-840f-80c362df9247" providerId="ADAL" clId="{D98D1D94-E5EF-4A5F-8B22-D2A92A3A93DC}" dt="2023-11-06T22:55:32.064" v="6379" actId="14861"/>
          <ac:picMkLst>
            <pc:docMk/>
            <pc:sldMk cId="2852402234" sldId="305"/>
            <ac:picMk id="463" creationId="{FC8FAEF3-4A7B-0463-FD1F-304741D3C1D1}"/>
          </ac:picMkLst>
        </pc:picChg>
        <pc:cxnChg chg="del mod">
          <ac:chgData name="Roy Chowdhury, Ritwik" userId="bfb84a7f-f393-43f0-840f-80c362df9247" providerId="ADAL" clId="{D98D1D94-E5EF-4A5F-8B22-D2A92A3A93DC}" dt="2023-11-04T01:38:47.259" v="620" actId="478"/>
          <ac:cxnSpMkLst>
            <pc:docMk/>
            <pc:sldMk cId="2852402234" sldId="305"/>
            <ac:cxnSpMk id="435" creationId="{4730823D-42D1-CFDD-15BE-4FDE66848197}"/>
          </ac:cxnSpMkLst>
        </pc:cxnChg>
        <pc:cxnChg chg="del mod">
          <ac:chgData name="Roy Chowdhury, Ritwik" userId="bfb84a7f-f393-43f0-840f-80c362df9247" providerId="ADAL" clId="{D98D1D94-E5EF-4A5F-8B22-D2A92A3A93DC}" dt="2023-11-04T01:38:52.533" v="623" actId="478"/>
          <ac:cxnSpMkLst>
            <pc:docMk/>
            <pc:sldMk cId="2852402234" sldId="305"/>
            <ac:cxnSpMk id="476" creationId="{64AEB822-099A-570D-48D9-91F696790A41}"/>
          </ac:cxnSpMkLst>
        </pc:cxnChg>
        <pc:cxnChg chg="del mod">
          <ac:chgData name="Roy Chowdhury, Ritwik" userId="bfb84a7f-f393-43f0-840f-80c362df9247" providerId="ADAL" clId="{D98D1D94-E5EF-4A5F-8B22-D2A92A3A93DC}" dt="2023-11-04T01:38:54.708" v="624" actId="478"/>
          <ac:cxnSpMkLst>
            <pc:docMk/>
            <pc:sldMk cId="2852402234" sldId="305"/>
            <ac:cxnSpMk id="479" creationId="{2427C19F-3B02-7746-A7BA-CC3B2617E9EF}"/>
          </ac:cxnSpMkLst>
        </pc:cxnChg>
        <pc:cxnChg chg="del mod">
          <ac:chgData name="Roy Chowdhury, Ritwik" userId="bfb84a7f-f393-43f0-840f-80c362df9247" providerId="ADAL" clId="{D98D1D94-E5EF-4A5F-8B22-D2A92A3A93DC}" dt="2023-11-04T01:39:10.191" v="629" actId="478"/>
          <ac:cxnSpMkLst>
            <pc:docMk/>
            <pc:sldMk cId="2852402234" sldId="305"/>
            <ac:cxnSpMk id="481" creationId="{D29B9386-EFAB-E5B0-AC62-4B723945F9CB}"/>
          </ac:cxnSpMkLst>
        </pc:cxnChg>
      </pc:sldChg>
      <pc:sldChg chg="addSp delSp modSp add mod ord modShow">
        <pc:chgData name="Roy Chowdhury, Ritwik" userId="bfb84a7f-f393-43f0-840f-80c362df9247" providerId="ADAL" clId="{D98D1D94-E5EF-4A5F-8B22-D2A92A3A93DC}" dt="2023-11-07T23:10:07.436" v="8740" actId="729"/>
        <pc:sldMkLst>
          <pc:docMk/>
          <pc:sldMk cId="2679979960" sldId="306"/>
        </pc:sldMkLst>
        <pc:spChg chg="mod">
          <ac:chgData name="Roy Chowdhury, Ritwik" userId="bfb84a7f-f393-43f0-840f-80c362df9247" providerId="ADAL" clId="{D98D1D94-E5EF-4A5F-8B22-D2A92A3A93DC}" dt="2023-11-05T00:57:50.719" v="2080" actId="122"/>
          <ac:spMkLst>
            <pc:docMk/>
            <pc:sldMk cId="2679979960" sldId="306"/>
            <ac:spMk id="422" creationId="{4AECBF77-60C8-FE2F-20BE-9C888A509250}"/>
          </ac:spMkLst>
        </pc:spChg>
        <pc:spChg chg="mod">
          <ac:chgData name="Roy Chowdhury, Ritwik" userId="bfb84a7f-f393-43f0-840f-80c362df9247" providerId="ADAL" clId="{D98D1D94-E5EF-4A5F-8B22-D2A92A3A93DC}" dt="2023-11-04T01:37:18.579" v="610" actId="1076"/>
          <ac:spMkLst>
            <pc:docMk/>
            <pc:sldMk cId="2679979960" sldId="306"/>
            <ac:spMk id="423" creationId="{149440DB-2FD6-9E9B-226F-91E10854C85D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24" creationId="{960B564F-14D0-D72F-DEF4-0568091A334A}"/>
          </ac:spMkLst>
        </pc:spChg>
        <pc:spChg chg="mod">
          <ac:chgData name="Roy Chowdhury, Ritwik" userId="bfb84a7f-f393-43f0-840f-80c362df9247" providerId="ADAL" clId="{D98D1D94-E5EF-4A5F-8B22-D2A92A3A93DC}" dt="2023-11-04T03:33:13.456" v="1738" actId="14100"/>
          <ac:spMkLst>
            <pc:docMk/>
            <pc:sldMk cId="2679979960" sldId="306"/>
            <ac:spMk id="425" creationId="{F9FCFBD5-9FEE-905A-1D0B-B209A0B37010}"/>
          </ac:spMkLst>
        </pc:spChg>
        <pc:spChg chg="mod">
          <ac:chgData name="Roy Chowdhury, Ritwik" userId="bfb84a7f-f393-43f0-840f-80c362df9247" providerId="ADAL" clId="{D98D1D94-E5EF-4A5F-8B22-D2A92A3A93DC}" dt="2023-11-04T01:37:13.738" v="609" actId="1076"/>
          <ac:spMkLst>
            <pc:docMk/>
            <pc:sldMk cId="2679979960" sldId="306"/>
            <ac:spMk id="427" creationId="{ACCBAE4B-6158-2FA7-A096-91B6E9728965}"/>
          </ac:spMkLst>
        </pc:spChg>
        <pc:spChg chg="mod">
          <ac:chgData name="Roy Chowdhury, Ritwik" userId="bfb84a7f-f393-43f0-840f-80c362df9247" providerId="ADAL" clId="{D98D1D94-E5EF-4A5F-8B22-D2A92A3A93DC}" dt="2023-11-05T05:09:24.176" v="3984" actId="1582"/>
          <ac:spMkLst>
            <pc:docMk/>
            <pc:sldMk cId="2679979960" sldId="306"/>
            <ac:spMk id="433" creationId="{4DD0EA55-226D-C5C2-0445-4E8EC91322C9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36" creationId="{12E9C6C2-AF37-D957-662C-422FA2B9668B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38" creationId="{1AAAAB27-7821-2BEB-C5DE-C54705EE64E6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39" creationId="{484C2201-8322-B9EA-4FCA-76FA1EFFE09D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40" creationId="{EC5E42F1-5496-7AD2-1197-77ED18AF1572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47" creationId="{81604103-407B-B4D9-16FF-9C33AB4F8731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48" creationId="{1E5B9D43-156F-DF9B-F2A5-42BC3890280C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49" creationId="{BF30A98D-CBAE-1E2A-7122-9A897B587B5E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0" creationId="{B3DBBCD5-4EC9-3B63-C251-AAAD0AF42F0D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2" creationId="{81358E12-AD60-BCB4-ED91-2C34CC41EB1F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3" creationId="{5CF1A474-C156-22E3-EA9C-DAEEEA6B7030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4" creationId="{130B9FA9-3215-41F8-9730-D66FF78F5500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5" creationId="{00D77F26-CFFB-C5D4-BF2E-C1BCCEC6A394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6" creationId="{B8332A99-FECF-91F2-87E3-E64A4B21A145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57" creationId="{13CE3DD1-D969-2058-EB9A-D053C04921B2}"/>
          </ac:spMkLst>
        </pc:spChg>
        <pc:spChg chg="add del mod">
          <ac:chgData name="Roy Chowdhury, Ritwik" userId="bfb84a7f-f393-43f0-840f-80c362df9247" providerId="ADAL" clId="{D98D1D94-E5EF-4A5F-8B22-D2A92A3A93DC}" dt="2023-11-07T22:50:56.458" v="8670" actId="478"/>
          <ac:spMkLst>
            <pc:docMk/>
            <pc:sldMk cId="2679979960" sldId="306"/>
            <ac:spMk id="464" creationId="{D489C6E7-AAD7-10A9-EE68-218C778E067D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66" creationId="{B622E691-372E-551E-2C07-2AD0E28DF2B9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67" creationId="{08202A21-6166-3B4E-5E0C-97F65EA95719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68" creationId="{8D7281D8-3B60-9891-2DA7-B8D0B3FDE8C9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69" creationId="{1A4D78E2-0C14-C197-D1C8-DE78C6706B9E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70" creationId="{B6EFA74B-8FD6-EC27-04AE-16DD555AC099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71" creationId="{7670B84A-D1F3-91CA-862E-AAEADF627994}"/>
          </ac:spMkLst>
        </pc:spChg>
        <pc:spChg chg="mod">
          <ac:chgData name="Roy Chowdhury, Ritwik" userId="bfb84a7f-f393-43f0-840f-80c362df9247" providerId="ADAL" clId="{D98D1D94-E5EF-4A5F-8B22-D2A92A3A93DC}" dt="2023-11-04T01:36:23.733" v="601" actId="165"/>
          <ac:spMkLst>
            <pc:docMk/>
            <pc:sldMk cId="2679979960" sldId="306"/>
            <ac:spMk id="472" creationId="{F410F8F6-5C43-D9D9-2FF7-1148B4D0201C}"/>
          </ac:spMkLst>
        </pc:spChg>
        <pc:spChg chg="mod">
          <ac:chgData name="Roy Chowdhury, Ritwik" userId="bfb84a7f-f393-43f0-840f-80c362df9247" providerId="ADAL" clId="{D98D1D94-E5EF-4A5F-8B22-D2A92A3A93DC}" dt="2023-11-05T05:09:24.176" v="3984" actId="1582"/>
          <ac:spMkLst>
            <pc:docMk/>
            <pc:sldMk cId="2679979960" sldId="306"/>
            <ac:spMk id="478" creationId="{CB8F8AB1-D22B-76E6-B122-0AE820DDEE58}"/>
          </ac:spMkLst>
        </pc:spChg>
        <pc:spChg chg="mod">
          <ac:chgData name="Roy Chowdhury, Ritwik" userId="bfb84a7f-f393-43f0-840f-80c362df9247" providerId="ADAL" clId="{D98D1D94-E5EF-4A5F-8B22-D2A92A3A93DC}" dt="2023-11-05T05:09:24.176" v="3984" actId="1582"/>
          <ac:spMkLst>
            <pc:docMk/>
            <pc:sldMk cId="2679979960" sldId="306"/>
            <ac:spMk id="480" creationId="{85B459A8-545D-C50D-1976-F84A66156CF0}"/>
          </ac:spMkLst>
        </pc:spChg>
        <pc:spChg chg="mod">
          <ac:chgData name="Roy Chowdhury, Ritwik" userId="bfb84a7f-f393-43f0-840f-80c362df9247" providerId="ADAL" clId="{D98D1D94-E5EF-4A5F-8B22-D2A92A3A93DC}" dt="2023-11-05T05:09:24.176" v="3984" actId="1582"/>
          <ac:spMkLst>
            <pc:docMk/>
            <pc:sldMk cId="2679979960" sldId="306"/>
            <ac:spMk id="482" creationId="{AE5C8D28-2AFD-05C4-53F8-09CAA8B00A06}"/>
          </ac:spMkLst>
        </pc:spChg>
        <pc:grpChg chg="add 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4" creationId="{E0D95831-7692-B2DB-B391-1995176D6FF5}"/>
          </ac:grpSpMkLst>
        </pc:grpChg>
        <pc:grpChg chg="add 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5" creationId="{D9D3E715-DA1B-C100-C21E-22D434C78FBD}"/>
          </ac:grpSpMkLst>
        </pc:grpChg>
        <pc:grpChg chg="add 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6" creationId="{52E44102-7CB3-EAA3-E895-E747231EAFA8}"/>
          </ac:grpSpMkLst>
        </pc:grpChg>
        <pc:grpChg chg="add mod topLvl">
          <ac:chgData name="Roy Chowdhury, Ritwik" userId="bfb84a7f-f393-43f0-840f-80c362df9247" providerId="ADAL" clId="{D98D1D94-E5EF-4A5F-8B22-D2A92A3A93DC}" dt="2023-11-04T01:36:31.787" v="602" actId="338"/>
          <ac:grpSpMkLst>
            <pc:docMk/>
            <pc:sldMk cId="2679979960" sldId="306"/>
            <ac:grpSpMk id="7" creationId="{C9072F9C-500B-8E76-16E3-C2129D6D41E0}"/>
          </ac:grpSpMkLst>
        </pc:grpChg>
        <pc:grpChg chg="add del 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8" creationId="{DA30201B-3174-8765-C4EF-14915591B56C}"/>
          </ac:grpSpMkLst>
        </pc:grpChg>
        <pc:grpChg chg="add mod">
          <ac:chgData name="Roy Chowdhury, Ritwik" userId="bfb84a7f-f393-43f0-840f-80c362df9247" providerId="ADAL" clId="{D98D1D94-E5EF-4A5F-8B22-D2A92A3A93DC}" dt="2023-11-04T01:36:31.787" v="602" actId="338"/>
          <ac:grpSpMkLst>
            <pc:docMk/>
            <pc:sldMk cId="2679979960" sldId="306"/>
            <ac:grpSpMk id="9" creationId="{885D8987-C5E3-9F89-36C0-644961712F55}"/>
          </ac:grpSpMkLst>
        </pc:grpChg>
        <pc:grpChg chg="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428" creationId="{2C152EC9-0D4E-B986-BE11-6F44B085850E}"/>
          </ac:grpSpMkLst>
        </pc:grpChg>
        <pc:grpChg chg="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437" creationId="{87F00C46-202C-EDF1-117B-2FFDD61C5D97}"/>
          </ac:grpSpMkLst>
        </pc:grpChg>
        <pc:grpChg chg="add del mod">
          <ac:chgData name="Roy Chowdhury, Ritwik" userId="bfb84a7f-f393-43f0-840f-80c362df9247" providerId="ADAL" clId="{D98D1D94-E5EF-4A5F-8B22-D2A92A3A93DC}" dt="2023-11-07T22:50:56.458" v="8670" actId="478"/>
          <ac:grpSpMkLst>
            <pc:docMk/>
            <pc:sldMk cId="2679979960" sldId="306"/>
            <ac:grpSpMk id="458" creationId="{4B287431-2A37-B246-C82D-906A8CC5BC75}"/>
          </ac:grpSpMkLst>
        </pc:grpChg>
        <pc:grpChg chg="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465" creationId="{3A918266-4106-A8D4-092C-195ED5494C3A}"/>
          </ac:grpSpMkLst>
        </pc:grpChg>
        <pc:grpChg chg="mod">
          <ac:chgData name="Roy Chowdhury, Ritwik" userId="bfb84a7f-f393-43f0-840f-80c362df9247" providerId="ADAL" clId="{D98D1D94-E5EF-4A5F-8B22-D2A92A3A93DC}" dt="2023-11-04T01:36:23.733" v="601" actId="165"/>
          <ac:grpSpMkLst>
            <pc:docMk/>
            <pc:sldMk cId="2679979960" sldId="306"/>
            <ac:grpSpMk id="475" creationId="{8A32AFBF-10C1-CC2D-944A-B935F567FE58}"/>
          </ac:grpSpMkLst>
        </pc:grpChg>
        <pc:picChg chg="add mod">
          <ac:chgData name="Roy Chowdhury, Ritwik" userId="bfb84a7f-f393-43f0-840f-80c362df9247" providerId="ADAL" clId="{D98D1D94-E5EF-4A5F-8B22-D2A92A3A93DC}" dt="2023-11-04T01:35:05.928" v="597" actId="1076"/>
          <ac:picMkLst>
            <pc:docMk/>
            <pc:sldMk cId="2679979960" sldId="306"/>
            <ac:picMk id="3" creationId="{D08BC696-063D-FF90-CE1D-8C32A26000C7}"/>
          </ac:picMkLst>
        </pc:picChg>
        <pc:picChg chg="mod">
          <ac:chgData name="Roy Chowdhury, Ritwik" userId="bfb84a7f-f393-43f0-840f-80c362df9247" providerId="ADAL" clId="{D98D1D94-E5EF-4A5F-8B22-D2A92A3A93DC}" dt="2023-11-04T01:36:23.733" v="601" actId="165"/>
          <ac:picMkLst>
            <pc:docMk/>
            <pc:sldMk cId="2679979960" sldId="306"/>
            <ac:picMk id="451" creationId="{1262260D-ABEF-DAF7-9476-CD32DDEDE396}"/>
          </ac:picMkLst>
        </pc:picChg>
        <pc:picChg chg="mod">
          <ac:chgData name="Roy Chowdhury, Ritwik" userId="bfb84a7f-f393-43f0-840f-80c362df9247" providerId="ADAL" clId="{D98D1D94-E5EF-4A5F-8B22-D2A92A3A93DC}" dt="2023-11-04T01:36:23.733" v="601" actId="165"/>
          <ac:picMkLst>
            <pc:docMk/>
            <pc:sldMk cId="2679979960" sldId="306"/>
            <ac:picMk id="459" creationId="{C951DB81-4450-3EB6-436F-A70ADE9A4DEA}"/>
          </ac:picMkLst>
        </pc:picChg>
        <pc:picChg chg="mod">
          <ac:chgData name="Roy Chowdhury, Ritwik" userId="bfb84a7f-f393-43f0-840f-80c362df9247" providerId="ADAL" clId="{D98D1D94-E5EF-4A5F-8B22-D2A92A3A93DC}" dt="2023-11-04T01:36:23.733" v="601" actId="165"/>
          <ac:picMkLst>
            <pc:docMk/>
            <pc:sldMk cId="2679979960" sldId="306"/>
            <ac:picMk id="460" creationId="{70C5B48C-826F-6EF8-38E4-D073FCAF8A8D}"/>
          </ac:picMkLst>
        </pc:picChg>
        <pc:picChg chg="mod">
          <ac:chgData name="Roy Chowdhury, Ritwik" userId="bfb84a7f-f393-43f0-840f-80c362df9247" providerId="ADAL" clId="{D98D1D94-E5EF-4A5F-8B22-D2A92A3A93DC}" dt="2023-11-04T01:36:23.733" v="601" actId="165"/>
          <ac:picMkLst>
            <pc:docMk/>
            <pc:sldMk cId="2679979960" sldId="306"/>
            <ac:picMk id="461" creationId="{738DA000-053F-7F70-17C4-432A1F11CA92}"/>
          </ac:picMkLst>
        </pc:picChg>
        <pc:picChg chg="mod">
          <ac:chgData name="Roy Chowdhury, Ritwik" userId="bfb84a7f-f393-43f0-840f-80c362df9247" providerId="ADAL" clId="{D98D1D94-E5EF-4A5F-8B22-D2A92A3A93DC}" dt="2023-11-04T01:36:23.733" v="601" actId="165"/>
          <ac:picMkLst>
            <pc:docMk/>
            <pc:sldMk cId="2679979960" sldId="306"/>
            <ac:picMk id="462" creationId="{586F270A-C96D-BD2E-3940-2132A426C548}"/>
          </ac:picMkLst>
        </pc:picChg>
        <pc:picChg chg="del">
          <ac:chgData name="Roy Chowdhury, Ritwik" userId="bfb84a7f-f393-43f0-840f-80c362df9247" providerId="ADAL" clId="{D98D1D94-E5EF-4A5F-8B22-D2A92A3A93DC}" dt="2023-11-03T18:57:38.448" v="349" actId="478"/>
          <ac:picMkLst>
            <pc:docMk/>
            <pc:sldMk cId="2679979960" sldId="306"/>
            <ac:picMk id="463" creationId="{FC8FAEF3-4A7B-0463-FD1F-304741D3C1D1}"/>
          </ac:picMkLst>
        </pc:picChg>
        <pc:cxnChg chg="mod topLvl">
          <ac:chgData name="Roy Chowdhury, Ritwik" userId="bfb84a7f-f393-43f0-840f-80c362df9247" providerId="ADAL" clId="{D98D1D94-E5EF-4A5F-8B22-D2A92A3A93DC}" dt="2023-11-04T01:36:31.787" v="602" actId="338"/>
          <ac:cxnSpMkLst>
            <pc:docMk/>
            <pc:sldMk cId="2679979960" sldId="306"/>
            <ac:cxnSpMk id="435" creationId="{4730823D-42D1-CFDD-15BE-4FDE66848197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1" creationId="{7C5EF178-1677-A134-1A78-9D955C0A087C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2" creationId="{376492FC-5957-454C-DD5B-CAEDDB3B033E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3" creationId="{FD37DF63-F8FC-BD75-410C-9A220A99146E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4" creationId="{E8335308-AE80-1993-F4C4-6BFB2C362E9B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5" creationId="{4EAF7784-CBFB-BEA2-A30F-C7FDE8D36DF6}"/>
          </ac:cxnSpMkLst>
        </pc:cxnChg>
        <pc:cxnChg chg="mod">
          <ac:chgData name="Roy Chowdhury, Ritwik" userId="bfb84a7f-f393-43f0-840f-80c362df9247" providerId="ADAL" clId="{D98D1D94-E5EF-4A5F-8B22-D2A92A3A93DC}" dt="2023-11-04T01:36:23.733" v="601" actId="165"/>
          <ac:cxnSpMkLst>
            <pc:docMk/>
            <pc:sldMk cId="2679979960" sldId="306"/>
            <ac:cxnSpMk id="446" creationId="{25B0FE2E-7CEE-2F26-4994-C20DC22A5916}"/>
          </ac:cxnSpMkLst>
        </pc:cxnChg>
        <pc:cxnChg chg="mod">
          <ac:chgData name="Roy Chowdhury, Ritwik" userId="bfb84a7f-f393-43f0-840f-80c362df9247" providerId="ADAL" clId="{D98D1D94-E5EF-4A5F-8B22-D2A92A3A93DC}" dt="2023-11-04T01:34:55.386" v="596" actId="1076"/>
          <ac:cxnSpMkLst>
            <pc:docMk/>
            <pc:sldMk cId="2679979960" sldId="306"/>
            <ac:cxnSpMk id="476" creationId="{64AEB822-099A-570D-48D9-91F696790A41}"/>
          </ac:cxnSpMkLst>
        </pc:cxnChg>
        <pc:cxnChg chg="mod topLvl">
          <ac:chgData name="Roy Chowdhury, Ritwik" userId="bfb84a7f-f393-43f0-840f-80c362df9247" providerId="ADAL" clId="{D98D1D94-E5EF-4A5F-8B22-D2A92A3A93DC}" dt="2023-11-04T01:36:31.787" v="602" actId="338"/>
          <ac:cxnSpMkLst>
            <pc:docMk/>
            <pc:sldMk cId="2679979960" sldId="306"/>
            <ac:cxnSpMk id="479" creationId="{2427C19F-3B02-7746-A7BA-CC3B2617E9EF}"/>
          </ac:cxnSpMkLst>
        </pc:cxnChg>
        <pc:cxnChg chg="mod topLvl">
          <ac:chgData name="Roy Chowdhury, Ritwik" userId="bfb84a7f-f393-43f0-840f-80c362df9247" providerId="ADAL" clId="{D98D1D94-E5EF-4A5F-8B22-D2A92A3A93DC}" dt="2023-11-04T01:36:31.787" v="602" actId="338"/>
          <ac:cxnSpMkLst>
            <pc:docMk/>
            <pc:sldMk cId="2679979960" sldId="306"/>
            <ac:cxnSpMk id="481" creationId="{D29B9386-EFAB-E5B0-AC62-4B723945F9CB}"/>
          </ac:cxnSpMkLst>
        </pc:cxnChg>
      </pc:sldChg>
      <pc:sldChg chg="del">
        <pc:chgData name="Roy Chowdhury, Ritwik" userId="bfb84a7f-f393-43f0-840f-80c362df9247" providerId="ADAL" clId="{D98D1D94-E5EF-4A5F-8B22-D2A92A3A93DC}" dt="2023-11-03T18:53:05.657" v="319" actId="2696"/>
        <pc:sldMkLst>
          <pc:docMk/>
          <pc:sldMk cId="0" sldId="307"/>
        </pc:sldMkLst>
      </pc:sldChg>
      <pc:sldChg chg="del">
        <pc:chgData name="Roy Chowdhury, Ritwik" userId="bfb84a7f-f393-43f0-840f-80c362df9247" providerId="ADAL" clId="{D98D1D94-E5EF-4A5F-8B22-D2A92A3A93DC}" dt="2023-11-03T18:53:08.260" v="320" actId="2696"/>
        <pc:sldMkLst>
          <pc:docMk/>
          <pc:sldMk cId="0" sldId="308"/>
        </pc:sldMkLst>
      </pc:sldChg>
      <pc:sldChg chg="del">
        <pc:chgData name="Roy Chowdhury, Ritwik" userId="bfb84a7f-f393-43f0-840f-80c362df9247" providerId="ADAL" clId="{D98D1D94-E5EF-4A5F-8B22-D2A92A3A93DC}" dt="2023-11-03T18:53:15.033" v="321" actId="2696"/>
        <pc:sldMkLst>
          <pc:docMk/>
          <pc:sldMk cId="0" sldId="309"/>
        </pc:sldMkLst>
      </pc:sldChg>
      <pc:sldChg chg="del">
        <pc:chgData name="Roy Chowdhury, Ritwik" userId="bfb84a7f-f393-43f0-840f-80c362df9247" providerId="ADAL" clId="{D98D1D94-E5EF-4A5F-8B22-D2A92A3A93DC}" dt="2023-11-03T18:53:20.188" v="322" actId="2696"/>
        <pc:sldMkLst>
          <pc:docMk/>
          <pc:sldMk cId="0" sldId="310"/>
        </pc:sldMkLst>
      </pc:sldChg>
      <pc:sldChg chg="del">
        <pc:chgData name="Roy Chowdhury, Ritwik" userId="bfb84a7f-f393-43f0-840f-80c362df9247" providerId="ADAL" clId="{D98D1D94-E5EF-4A5F-8B22-D2A92A3A93DC}" dt="2023-11-03T18:53:31.883" v="323" actId="2696"/>
        <pc:sldMkLst>
          <pc:docMk/>
          <pc:sldMk cId="0" sldId="311"/>
        </pc:sldMkLst>
      </pc:sldChg>
      <pc:sldChg chg="addSp modSp mod">
        <pc:chgData name="Roy Chowdhury, Ritwik" userId="bfb84a7f-f393-43f0-840f-80c362df9247" providerId="ADAL" clId="{D98D1D94-E5EF-4A5F-8B22-D2A92A3A93DC}" dt="2023-11-08T02:26:32.473" v="11032" actId="20577"/>
        <pc:sldMkLst>
          <pc:docMk/>
          <pc:sldMk cId="2676058872" sldId="318"/>
        </pc:sldMkLst>
        <pc:spChg chg="add mod">
          <ac:chgData name="Roy Chowdhury, Ritwik" userId="bfb84a7f-f393-43f0-840f-80c362df9247" providerId="ADAL" clId="{D98D1D94-E5EF-4A5F-8B22-D2A92A3A93DC}" dt="2023-11-08T02:26:32.473" v="11032" actId="20577"/>
          <ac:spMkLst>
            <pc:docMk/>
            <pc:sldMk cId="2676058872" sldId="318"/>
            <ac:spMk id="4" creationId="{F43AB6A8-4C0E-474E-708A-7FD68245AE61}"/>
          </ac:spMkLst>
        </pc:spChg>
        <pc:spChg chg="add mod">
          <ac:chgData name="Roy Chowdhury, Ritwik" userId="bfb84a7f-f393-43f0-840f-80c362df9247" providerId="ADAL" clId="{D98D1D94-E5EF-4A5F-8B22-D2A92A3A93DC}" dt="2023-11-07T23:22:44.853" v="9193" actId="20577"/>
          <ac:spMkLst>
            <pc:docMk/>
            <pc:sldMk cId="2676058872" sldId="318"/>
            <ac:spMk id="5" creationId="{57C21F21-6277-1C1E-A5A6-443852588B38}"/>
          </ac:spMkLst>
        </pc:spChg>
        <pc:spChg chg="add mod">
          <ac:chgData name="Roy Chowdhury, Ritwik" userId="bfb84a7f-f393-43f0-840f-80c362df9247" providerId="ADAL" clId="{D98D1D94-E5EF-4A5F-8B22-D2A92A3A93DC}" dt="2023-11-08T00:52:16.935" v="10460" actId="1076"/>
          <ac:spMkLst>
            <pc:docMk/>
            <pc:sldMk cId="2676058872" sldId="318"/>
            <ac:spMk id="6" creationId="{611B316A-B75E-5651-6445-3E54BF57FB32}"/>
          </ac:spMkLst>
        </pc:spChg>
        <pc:spChg chg="add mod">
          <ac:chgData name="Roy Chowdhury, Ritwik" userId="bfb84a7f-f393-43f0-840f-80c362df9247" providerId="ADAL" clId="{D98D1D94-E5EF-4A5F-8B22-D2A92A3A93DC}" dt="2023-11-07T23:25:47.268" v="9502" actId="404"/>
          <ac:spMkLst>
            <pc:docMk/>
            <pc:sldMk cId="2676058872" sldId="318"/>
            <ac:spMk id="7" creationId="{D07B125E-E832-8DB0-C3B6-1B56C0F78EAC}"/>
          </ac:spMkLst>
        </pc:spChg>
        <pc:spChg chg="add mod">
          <ac:chgData name="Roy Chowdhury, Ritwik" userId="bfb84a7f-f393-43f0-840f-80c362df9247" providerId="ADAL" clId="{D98D1D94-E5EF-4A5F-8B22-D2A92A3A93DC}" dt="2023-11-07T23:22:35.013" v="9174" actId="20577"/>
          <ac:spMkLst>
            <pc:docMk/>
            <pc:sldMk cId="2676058872" sldId="318"/>
            <ac:spMk id="8" creationId="{7F6E9CA4-0156-F2A0-9DDD-D23A29189E8C}"/>
          </ac:spMkLst>
        </pc:spChg>
        <pc:spChg chg="add mod">
          <ac:chgData name="Roy Chowdhury, Ritwik" userId="bfb84a7f-f393-43f0-840f-80c362df9247" providerId="ADAL" clId="{D98D1D94-E5EF-4A5F-8B22-D2A92A3A93DC}" dt="2023-11-08T01:00:02.644" v="10773" actId="404"/>
          <ac:spMkLst>
            <pc:docMk/>
            <pc:sldMk cId="2676058872" sldId="318"/>
            <ac:spMk id="9" creationId="{D48B9C80-8AB1-EB4F-C2D8-70F1CB0C8A8B}"/>
          </ac:spMkLst>
        </pc:spChg>
        <pc:spChg chg="add mod">
          <ac:chgData name="Roy Chowdhury, Ritwik" userId="bfb84a7f-f393-43f0-840f-80c362df9247" providerId="ADAL" clId="{D98D1D94-E5EF-4A5F-8B22-D2A92A3A93DC}" dt="2023-11-08T01:00:02.644" v="10773" actId="404"/>
          <ac:spMkLst>
            <pc:docMk/>
            <pc:sldMk cId="2676058872" sldId="318"/>
            <ac:spMk id="10" creationId="{323E01EF-B5EA-C71B-9AE5-41787684DAA2}"/>
          </ac:spMkLst>
        </pc:spChg>
        <pc:spChg chg="add mod">
          <ac:chgData name="Roy Chowdhury, Ritwik" userId="bfb84a7f-f393-43f0-840f-80c362df9247" providerId="ADAL" clId="{D98D1D94-E5EF-4A5F-8B22-D2A92A3A93DC}" dt="2023-11-08T01:00:02.644" v="10773" actId="404"/>
          <ac:spMkLst>
            <pc:docMk/>
            <pc:sldMk cId="2676058872" sldId="318"/>
            <ac:spMk id="11" creationId="{51E35E2A-AC4C-4245-AA6D-84A1DA078E94}"/>
          </ac:spMkLst>
        </pc:spChg>
        <pc:spChg chg="mod">
          <ac:chgData name="Roy Chowdhury, Ritwik" userId="bfb84a7f-f393-43f0-840f-80c362df9247" providerId="ADAL" clId="{D98D1D94-E5EF-4A5F-8B22-D2A92A3A93DC}" dt="2023-11-08T00:43:42.338" v="9935" actId="403"/>
          <ac:spMkLst>
            <pc:docMk/>
            <pc:sldMk cId="2676058872" sldId="318"/>
            <ac:spMk id="407" creationId="{00000000-0000-0000-0000-000000000000}"/>
          </ac:spMkLst>
        </pc:spChg>
      </pc:sldChg>
      <pc:sldChg chg="addSp delSp modSp add mod modClrScheme chgLayout">
        <pc:chgData name="Roy Chowdhury, Ritwik" userId="bfb84a7f-f393-43f0-840f-80c362df9247" providerId="ADAL" clId="{D98D1D94-E5EF-4A5F-8B22-D2A92A3A93DC}" dt="2023-11-07T22:53:05.110" v="8713" actId="164"/>
        <pc:sldMkLst>
          <pc:docMk/>
          <pc:sldMk cId="3941455084" sldId="320"/>
        </pc:sldMkLst>
        <pc:spChg chg="add del">
          <ac:chgData name="Roy Chowdhury, Ritwik" userId="bfb84a7f-f393-43f0-840f-80c362df9247" providerId="ADAL" clId="{D98D1D94-E5EF-4A5F-8B22-D2A92A3A93DC}" dt="2023-11-05T01:02:55.193" v="2106" actId="22"/>
          <ac:spMkLst>
            <pc:docMk/>
            <pc:sldMk cId="3941455084" sldId="320"/>
            <ac:spMk id="6" creationId="{C1F9C58A-EDF1-0F34-981F-2CF46C18444D}"/>
          </ac:spMkLst>
        </pc:spChg>
        <pc:spChg chg="add del mod">
          <ac:chgData name="Roy Chowdhury, Ritwik" userId="bfb84a7f-f393-43f0-840f-80c362df9247" providerId="ADAL" clId="{D98D1D94-E5EF-4A5F-8B22-D2A92A3A93DC}" dt="2023-11-05T01:03:35.905" v="2115" actId="478"/>
          <ac:spMkLst>
            <pc:docMk/>
            <pc:sldMk cId="3941455084" sldId="320"/>
            <ac:spMk id="7" creationId="{0922A605-A978-858E-22AB-4F8627AC8073}"/>
          </ac:spMkLst>
        </pc:spChg>
        <pc:spChg chg="add mod">
          <ac:chgData name="Roy Chowdhury, Ritwik" userId="bfb84a7f-f393-43f0-840f-80c362df9247" providerId="ADAL" clId="{D98D1D94-E5EF-4A5F-8B22-D2A92A3A93DC}" dt="2023-11-05T01:03:54.819" v="2181" actId="122"/>
          <ac:spMkLst>
            <pc:docMk/>
            <pc:sldMk cId="3941455084" sldId="320"/>
            <ac:spMk id="8" creationId="{787CE212-0208-DF77-15E2-B8A9CB0C67C5}"/>
          </ac:spMkLst>
        </pc:spChg>
        <pc:spChg chg="add del mod">
          <ac:chgData name="Roy Chowdhury, Ritwik" userId="bfb84a7f-f393-43f0-840f-80c362df9247" providerId="ADAL" clId="{D98D1D94-E5EF-4A5F-8B22-D2A92A3A93DC}" dt="2023-11-05T04:51:31.838" v="3965" actId="478"/>
          <ac:spMkLst>
            <pc:docMk/>
            <pc:sldMk cId="3941455084" sldId="320"/>
            <ac:spMk id="9" creationId="{FD64D3D5-8812-B9AF-B2A0-AE14D574DC71}"/>
          </ac:spMkLst>
        </pc:spChg>
        <pc:spChg chg="mod">
          <ac:chgData name="Roy Chowdhury, Ritwik" userId="bfb84a7f-f393-43f0-840f-80c362df9247" providerId="ADAL" clId="{D98D1D94-E5EF-4A5F-8B22-D2A92A3A93DC}" dt="2023-11-06T23:01:17.776" v="6392" actId="14861"/>
          <ac:spMkLst>
            <pc:docMk/>
            <pc:sldMk cId="3941455084" sldId="320"/>
            <ac:spMk id="46" creationId="{B622E691-372E-551E-2C07-2AD0E28DF2B9}"/>
          </ac:spMkLst>
        </pc:spChg>
        <pc:spChg chg="mod">
          <ac:chgData name="Roy Chowdhury, Ritwik" userId="bfb84a7f-f393-43f0-840f-80c362df9247" providerId="ADAL" clId="{D98D1D94-E5EF-4A5F-8B22-D2A92A3A93DC}" dt="2023-11-06T22:57:09.022" v="6382" actId="14861"/>
          <ac:spMkLst>
            <pc:docMk/>
            <pc:sldMk cId="3941455084" sldId="320"/>
            <ac:spMk id="48" creationId="{08202A21-6166-3B4E-5E0C-97F65EA95719}"/>
          </ac:spMkLst>
        </pc:spChg>
        <pc:spChg chg="mod">
          <ac:chgData name="Roy Chowdhury, Ritwik" userId="bfb84a7f-f393-43f0-840f-80c362df9247" providerId="ADAL" clId="{D98D1D94-E5EF-4A5F-8B22-D2A92A3A93DC}" dt="2023-11-06T22:57:09.022" v="6382" actId="14861"/>
          <ac:spMkLst>
            <pc:docMk/>
            <pc:sldMk cId="3941455084" sldId="320"/>
            <ac:spMk id="50" creationId="{8D7281D8-3B60-9891-2DA7-B8D0B3FDE8C9}"/>
          </ac:spMkLst>
        </pc:spChg>
        <pc:spChg chg="mod">
          <ac:chgData name="Roy Chowdhury, Ritwik" userId="bfb84a7f-f393-43f0-840f-80c362df9247" providerId="ADAL" clId="{D98D1D94-E5EF-4A5F-8B22-D2A92A3A93DC}" dt="2023-11-06T23:00:29.017" v="6388" actId="14861"/>
          <ac:spMkLst>
            <pc:docMk/>
            <pc:sldMk cId="3941455084" sldId="320"/>
            <ac:spMk id="52" creationId="{1A4D78E2-0C14-C197-D1C8-DE78C6706B9E}"/>
          </ac:spMkLst>
        </pc:spChg>
        <pc:spChg chg="mod">
          <ac:chgData name="Roy Chowdhury, Ritwik" userId="bfb84a7f-f393-43f0-840f-80c362df9247" providerId="ADAL" clId="{D98D1D94-E5EF-4A5F-8B22-D2A92A3A93DC}" dt="2023-11-06T23:00:33.709" v="6389" actId="14861"/>
          <ac:spMkLst>
            <pc:docMk/>
            <pc:sldMk cId="3941455084" sldId="320"/>
            <ac:spMk id="53" creationId="{B6EFA74B-8FD6-EC27-04AE-16DD555AC099}"/>
          </ac:spMkLst>
        </pc:spChg>
        <pc:spChg chg="mod">
          <ac:chgData name="Roy Chowdhury, Ritwik" userId="bfb84a7f-f393-43f0-840f-80c362df9247" providerId="ADAL" clId="{D98D1D94-E5EF-4A5F-8B22-D2A92A3A93DC}" dt="2023-11-06T22:57:09.022" v="6382" actId="14861"/>
          <ac:spMkLst>
            <pc:docMk/>
            <pc:sldMk cId="3941455084" sldId="320"/>
            <ac:spMk id="55" creationId="{7670B84A-D1F3-91CA-862E-AAEADF627994}"/>
          </ac:spMkLst>
        </pc:spChg>
        <pc:spChg chg="mod">
          <ac:chgData name="Roy Chowdhury, Ritwik" userId="bfb84a7f-f393-43f0-840f-80c362df9247" providerId="ADAL" clId="{D98D1D94-E5EF-4A5F-8B22-D2A92A3A93DC}" dt="2023-11-06T23:00:55.671" v="6391" actId="14861"/>
          <ac:spMkLst>
            <pc:docMk/>
            <pc:sldMk cId="3941455084" sldId="320"/>
            <ac:spMk id="57" creationId="{F410F8F6-5C43-D9D9-2FF7-1148B4D0201C}"/>
          </ac:spMkLst>
        </pc:spChg>
        <pc:spChg chg="mod">
          <ac:chgData name="Roy Chowdhury, Ritwik" userId="bfb84a7f-f393-43f0-840f-80c362df9247" providerId="ADAL" clId="{D98D1D94-E5EF-4A5F-8B22-D2A92A3A93DC}" dt="2023-11-05T01:03:21.761" v="2112" actId="21"/>
          <ac:spMkLst>
            <pc:docMk/>
            <pc:sldMk cId="3941455084" sldId="320"/>
            <ac:spMk id="422" creationId="{4AECBF77-60C8-FE2F-20BE-9C888A509250}"/>
          </ac:spMkLst>
        </pc:spChg>
        <pc:spChg chg="mod">
          <ac:chgData name="Roy Chowdhury, Ritwik" userId="bfb84a7f-f393-43f0-840f-80c362df9247" providerId="ADAL" clId="{D98D1D94-E5EF-4A5F-8B22-D2A92A3A93DC}" dt="2023-11-05T05:11:12.039" v="4000" actId="113"/>
          <ac:spMkLst>
            <pc:docMk/>
            <pc:sldMk cId="3941455084" sldId="320"/>
            <ac:spMk id="423" creationId="{149440DB-2FD6-9E9B-226F-91E10854C85D}"/>
          </ac:spMkLst>
        </pc:spChg>
        <pc:spChg chg="mod">
          <ac:chgData name="Roy Chowdhury, Ritwik" userId="bfb84a7f-f393-43f0-840f-80c362df9247" providerId="ADAL" clId="{D98D1D94-E5EF-4A5F-8B22-D2A92A3A93DC}" dt="2023-11-05T05:10:33.855" v="3992" actId="113"/>
          <ac:spMkLst>
            <pc:docMk/>
            <pc:sldMk cId="3941455084" sldId="320"/>
            <ac:spMk id="424" creationId="{960B564F-14D0-D72F-DEF4-0568091A334A}"/>
          </ac:spMkLst>
        </pc:spChg>
        <pc:spChg chg="mod">
          <ac:chgData name="Roy Chowdhury, Ritwik" userId="bfb84a7f-f393-43f0-840f-80c362df9247" providerId="ADAL" clId="{D98D1D94-E5EF-4A5F-8B22-D2A92A3A93DC}" dt="2023-11-05T05:10:55.919" v="3996" actId="113"/>
          <ac:spMkLst>
            <pc:docMk/>
            <pc:sldMk cId="3941455084" sldId="320"/>
            <ac:spMk id="425" creationId="{F9FCFBD5-9FEE-905A-1D0B-B209A0B37010}"/>
          </ac:spMkLst>
        </pc:spChg>
        <pc:spChg chg="mod">
          <ac:chgData name="Roy Chowdhury, Ritwik" userId="bfb84a7f-f393-43f0-840f-80c362df9247" providerId="ADAL" clId="{D98D1D94-E5EF-4A5F-8B22-D2A92A3A93DC}" dt="2023-11-05T04:51:54.239" v="3967" actId="113"/>
          <ac:spMkLst>
            <pc:docMk/>
            <pc:sldMk cId="3941455084" sldId="320"/>
            <ac:spMk id="427" creationId="{ACCBAE4B-6158-2FA7-A096-91B6E9728965}"/>
          </ac:spMkLst>
        </pc:spChg>
        <pc:spChg chg="mod">
          <ac:chgData name="Roy Chowdhury, Ritwik" userId="bfb84a7f-f393-43f0-840f-80c362df9247" providerId="ADAL" clId="{D98D1D94-E5EF-4A5F-8B22-D2A92A3A93DC}" dt="2023-11-05T04:52:12.868" v="3968" actId="1582"/>
          <ac:spMkLst>
            <pc:docMk/>
            <pc:sldMk cId="3941455084" sldId="320"/>
            <ac:spMk id="433" creationId="{4DD0EA55-226D-C5C2-0445-4E8EC91322C9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36" creationId="{12E9C6C2-AF37-D957-662C-422FA2B9668B}"/>
          </ac:spMkLst>
        </pc:spChg>
        <pc:spChg chg="mod">
          <ac:chgData name="Roy Chowdhury, Ritwik" userId="bfb84a7f-f393-43f0-840f-80c362df9247" providerId="ADAL" clId="{D98D1D94-E5EF-4A5F-8B22-D2A92A3A93DC}" dt="2023-11-06T23:12:05.613" v="6394" actId="207"/>
          <ac:spMkLst>
            <pc:docMk/>
            <pc:sldMk cId="3941455084" sldId="320"/>
            <ac:spMk id="438" creationId="{1AAAAB27-7821-2BEB-C5DE-C54705EE64E6}"/>
          </ac:spMkLst>
        </pc:spChg>
        <pc:spChg chg="mod">
          <ac:chgData name="Roy Chowdhury, Ritwik" userId="bfb84a7f-f393-43f0-840f-80c362df9247" providerId="ADAL" clId="{D98D1D94-E5EF-4A5F-8B22-D2A92A3A93DC}" dt="2023-11-06T23:12:05.613" v="6394" actId="207"/>
          <ac:spMkLst>
            <pc:docMk/>
            <pc:sldMk cId="3941455084" sldId="320"/>
            <ac:spMk id="439" creationId="{484C2201-8322-B9EA-4FCA-76FA1EFFE09D}"/>
          </ac:spMkLst>
        </pc:spChg>
        <pc:spChg chg="mod">
          <ac:chgData name="Roy Chowdhury, Ritwik" userId="bfb84a7f-f393-43f0-840f-80c362df9247" providerId="ADAL" clId="{D98D1D94-E5EF-4A5F-8B22-D2A92A3A93DC}" dt="2023-11-06T23:12:05.613" v="6394" actId="207"/>
          <ac:spMkLst>
            <pc:docMk/>
            <pc:sldMk cId="3941455084" sldId="320"/>
            <ac:spMk id="440" creationId="{EC5E42F1-5496-7AD2-1197-77ED18AF1572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47" creationId="{81604103-407B-B4D9-16FF-9C33AB4F8731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48" creationId="{1E5B9D43-156F-DF9B-F2A5-42BC3890280C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49" creationId="{BF30A98D-CBAE-1E2A-7122-9A897B587B5E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50" creationId="{B3DBBCD5-4EC9-3B63-C251-AAAD0AF42F0D}"/>
          </ac:spMkLst>
        </pc:spChg>
        <pc:spChg chg="mod">
          <ac:chgData name="Roy Chowdhury, Ritwik" userId="bfb84a7f-f393-43f0-840f-80c362df9247" providerId="ADAL" clId="{D98D1D94-E5EF-4A5F-8B22-D2A92A3A93DC}" dt="2023-11-06T23:12:25.154" v="6396" actId="207"/>
          <ac:spMkLst>
            <pc:docMk/>
            <pc:sldMk cId="3941455084" sldId="320"/>
            <ac:spMk id="452" creationId="{81358E12-AD60-BCB4-ED91-2C34CC41EB1F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53" creationId="{5CF1A474-C156-22E3-EA9C-DAEEEA6B7030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54" creationId="{130B9FA9-3215-41F8-9730-D66FF78F5500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55" creationId="{00D77F26-CFFB-C5D4-BF2E-C1BCCEC6A394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56" creationId="{B8332A99-FECF-91F2-87E3-E64A4B21A145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57" creationId="{13CE3DD1-D969-2058-EB9A-D053C04921B2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64" creationId="{D489C6E7-AAD7-10A9-EE68-218C778E067D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66" creationId="{B622E691-372E-551E-2C07-2AD0E28DF2B9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67" creationId="{08202A21-6166-3B4E-5E0C-97F65EA95719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68" creationId="{8D7281D8-3B60-9891-2DA7-B8D0B3FDE8C9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69" creationId="{1A4D78E2-0C14-C197-D1C8-DE78C6706B9E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70" creationId="{B6EFA74B-8FD6-EC27-04AE-16DD555AC099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71" creationId="{7670B84A-D1F3-91CA-862E-AAEADF627994}"/>
          </ac:spMkLst>
        </pc:spChg>
        <pc:spChg chg="mod">
          <ac:chgData name="Roy Chowdhury, Ritwik" userId="bfb84a7f-f393-43f0-840f-80c362df9247" providerId="ADAL" clId="{D98D1D94-E5EF-4A5F-8B22-D2A92A3A93DC}" dt="2023-11-05T04:51:11.191" v="3939" actId="2711"/>
          <ac:spMkLst>
            <pc:docMk/>
            <pc:sldMk cId="3941455084" sldId="320"/>
            <ac:spMk id="472" creationId="{F410F8F6-5C43-D9D9-2FF7-1148B4D0201C}"/>
          </ac:spMkLst>
        </pc:spChg>
        <pc:spChg chg="mod">
          <ac:chgData name="Roy Chowdhury, Ritwik" userId="bfb84a7f-f393-43f0-840f-80c362df9247" providerId="ADAL" clId="{D98D1D94-E5EF-4A5F-8B22-D2A92A3A93DC}" dt="2023-11-05T04:52:44.170" v="3970" actId="1582"/>
          <ac:spMkLst>
            <pc:docMk/>
            <pc:sldMk cId="3941455084" sldId="320"/>
            <ac:spMk id="478" creationId="{CB8F8AB1-D22B-76E6-B122-0AE820DDEE58}"/>
          </ac:spMkLst>
        </pc:spChg>
        <pc:spChg chg="mod">
          <ac:chgData name="Roy Chowdhury, Ritwik" userId="bfb84a7f-f393-43f0-840f-80c362df9247" providerId="ADAL" clId="{D98D1D94-E5EF-4A5F-8B22-D2A92A3A93DC}" dt="2023-11-05T04:52:12.868" v="3968" actId="1582"/>
          <ac:spMkLst>
            <pc:docMk/>
            <pc:sldMk cId="3941455084" sldId="320"/>
            <ac:spMk id="480" creationId="{85B459A8-545D-C50D-1976-F84A66156CF0}"/>
          </ac:spMkLst>
        </pc:spChg>
        <pc:spChg chg="mod">
          <ac:chgData name="Roy Chowdhury, Ritwik" userId="bfb84a7f-f393-43f0-840f-80c362df9247" providerId="ADAL" clId="{D98D1D94-E5EF-4A5F-8B22-D2A92A3A93DC}" dt="2023-11-05T04:52:12.868" v="3968" actId="1582"/>
          <ac:spMkLst>
            <pc:docMk/>
            <pc:sldMk cId="3941455084" sldId="320"/>
            <ac:spMk id="482" creationId="{AE5C8D28-2AFD-05C4-53F8-09CAA8B00A06}"/>
          </ac:spMkLst>
        </pc:spChg>
        <pc:grpChg chg="add mod">
          <ac:chgData name="Roy Chowdhury, Ritwik" userId="bfb84a7f-f393-43f0-840f-80c362df9247" providerId="ADAL" clId="{D98D1D94-E5EF-4A5F-8B22-D2A92A3A93DC}" dt="2023-11-07T22:53:05.110" v="8713" actId="164"/>
          <ac:grpSpMkLst>
            <pc:docMk/>
            <pc:sldMk cId="3941455084" sldId="320"/>
            <ac:grpSpMk id="3" creationId="{C34BCBF3-BBE4-5DBD-046F-5A55E941B534}"/>
          </ac:grpSpMkLst>
        </pc:grpChg>
        <pc:grpChg chg="mod">
          <ac:chgData name="Roy Chowdhury, Ritwik" userId="bfb84a7f-f393-43f0-840f-80c362df9247" providerId="ADAL" clId="{D98D1D94-E5EF-4A5F-8B22-D2A92A3A93DC}" dt="2023-11-07T22:53:05.110" v="8713" actId="164"/>
          <ac:grpSpMkLst>
            <pc:docMk/>
            <pc:sldMk cId="3941455084" sldId="320"/>
            <ac:grpSpMk id="16" creationId="{87F00C46-202C-EDF1-117B-2FFDD61C5D97}"/>
          </ac:grpSpMkLst>
        </pc:grpChg>
        <pc:picChg chg="mod">
          <ac:chgData name="Roy Chowdhury, Ritwik" userId="bfb84a7f-f393-43f0-840f-80c362df9247" providerId="ADAL" clId="{D98D1D94-E5EF-4A5F-8B22-D2A92A3A93DC}" dt="2023-11-07T22:53:05.110" v="8713" actId="164"/>
          <ac:picMkLst>
            <pc:docMk/>
            <pc:sldMk cId="3941455084" sldId="320"/>
            <ac:picMk id="2" creationId="{F04F6B89-CD0A-DF62-CA13-4155C40C6DF1}"/>
          </ac:picMkLst>
        </pc:picChg>
        <pc:picChg chg="mod">
          <ac:chgData name="Roy Chowdhury, Ritwik" userId="bfb84a7f-f393-43f0-840f-80c362df9247" providerId="ADAL" clId="{D98D1D94-E5EF-4A5F-8B22-D2A92A3A93DC}" dt="2023-11-07T22:53:05.110" v="8713" actId="164"/>
          <ac:picMkLst>
            <pc:docMk/>
            <pc:sldMk cId="3941455084" sldId="320"/>
            <ac:picMk id="6" creationId="{F04F6B89-CD0A-DF62-CA13-4155C40C6DF1}"/>
          </ac:picMkLst>
        </pc:picChg>
        <pc:picChg chg="mod">
          <ac:chgData name="Roy Chowdhury, Ritwik" userId="bfb84a7f-f393-43f0-840f-80c362df9247" providerId="ADAL" clId="{D98D1D94-E5EF-4A5F-8B22-D2A92A3A93DC}" dt="2023-11-07T22:53:05.110" v="8713" actId="164"/>
          <ac:picMkLst>
            <pc:docMk/>
            <pc:sldMk cId="3941455084" sldId="320"/>
            <ac:picMk id="32" creationId="{1262260D-ABEF-DAF7-9476-CD32DDEDE396}"/>
          </ac:picMkLst>
        </pc:picChg>
        <pc:picChg chg="mod">
          <ac:chgData name="Roy Chowdhury, Ritwik" userId="bfb84a7f-f393-43f0-840f-80c362df9247" providerId="ADAL" clId="{D98D1D94-E5EF-4A5F-8B22-D2A92A3A93DC}" dt="2023-11-06T23:00:06.748" v="6385" actId="14861"/>
          <ac:picMkLst>
            <pc:docMk/>
            <pc:sldMk cId="3941455084" sldId="320"/>
            <ac:picMk id="40" creationId="{C951DB81-4450-3EB6-436F-A70ADE9A4DEA}"/>
          </ac:picMkLst>
        </pc:picChg>
        <pc:picChg chg="mod">
          <ac:chgData name="Roy Chowdhury, Ritwik" userId="bfb84a7f-f393-43f0-840f-80c362df9247" providerId="ADAL" clId="{D98D1D94-E5EF-4A5F-8B22-D2A92A3A93DC}" dt="2023-11-06T23:00:17.734" v="6386" actId="14861"/>
          <ac:picMkLst>
            <pc:docMk/>
            <pc:sldMk cId="3941455084" sldId="320"/>
            <ac:picMk id="41" creationId="{70C5B48C-826F-6EF8-38E4-D073FCAF8A8D}"/>
          </ac:picMkLst>
        </pc:picChg>
        <pc:picChg chg="mod">
          <ac:chgData name="Roy Chowdhury, Ritwik" userId="bfb84a7f-f393-43f0-840f-80c362df9247" providerId="ADAL" clId="{D98D1D94-E5EF-4A5F-8B22-D2A92A3A93DC}" dt="2023-11-06T22:57:09.022" v="6382" actId="14861"/>
          <ac:picMkLst>
            <pc:docMk/>
            <pc:sldMk cId="3941455084" sldId="320"/>
            <ac:picMk id="42" creationId="{738DA000-053F-7F70-17C4-432A1F11CA92}"/>
          </ac:picMkLst>
        </pc:picChg>
        <pc:picChg chg="mod">
          <ac:chgData name="Roy Chowdhury, Ritwik" userId="bfb84a7f-f393-43f0-840f-80c362df9247" providerId="ADAL" clId="{D98D1D94-E5EF-4A5F-8B22-D2A92A3A93DC}" dt="2023-11-06T22:57:09.022" v="6382" actId="14861"/>
          <ac:picMkLst>
            <pc:docMk/>
            <pc:sldMk cId="3941455084" sldId="320"/>
            <ac:picMk id="43" creationId="{FC8FAEF3-4A7B-0463-FD1F-304741D3C1D1}"/>
          </ac:picMkLst>
        </pc:pic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10" creationId="{64AEB822-099A-570D-48D9-91F696790A41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2" creationId="{7C5EF178-1677-A134-1A78-9D955C0A087C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3" creationId="{376492FC-5957-454C-DD5B-CAEDDB3B033E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4" creationId="{FD37DF63-F8FC-BD75-410C-9A220A99146E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5" creationId="{E8335308-AE80-1993-F4C4-6BFB2C362E9B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6" creationId="{4EAF7784-CBFB-BEA2-A30F-C7FDE8D36DF6}"/>
          </ac:cxnSpMkLst>
        </pc:cxnChg>
        <pc:cxnChg chg="mod">
          <ac:chgData name="Roy Chowdhury, Ritwik" userId="bfb84a7f-f393-43f0-840f-80c362df9247" providerId="ADAL" clId="{D98D1D94-E5EF-4A5F-8B22-D2A92A3A93DC}" dt="2023-11-07T22:53:05.110" v="8713" actId="164"/>
          <ac:cxnSpMkLst>
            <pc:docMk/>
            <pc:sldMk cId="3941455084" sldId="320"/>
            <ac:cxnSpMk id="27" creationId="{25B0FE2E-7CEE-2F26-4994-C20DC22A5916}"/>
          </ac:cxnSpMkLst>
        </pc:cxnChg>
      </pc:sldChg>
      <pc:sldChg chg="modSp add del mod ord">
        <pc:chgData name="Roy Chowdhury, Ritwik" userId="bfb84a7f-f393-43f0-840f-80c362df9247" providerId="ADAL" clId="{D98D1D94-E5EF-4A5F-8B22-D2A92A3A93DC}" dt="2023-11-04T01:44:19.932" v="733" actId="2696"/>
        <pc:sldMkLst>
          <pc:docMk/>
          <pc:sldMk cId="977170939" sldId="324"/>
        </pc:sldMkLst>
        <pc:spChg chg="mod">
          <ac:chgData name="Roy Chowdhury, Ritwik" userId="bfb84a7f-f393-43f0-840f-80c362df9247" providerId="ADAL" clId="{D98D1D94-E5EF-4A5F-8B22-D2A92A3A93DC}" dt="2023-11-04T01:43:58.633" v="732" actId="20577"/>
          <ac:spMkLst>
            <pc:docMk/>
            <pc:sldMk cId="977170939" sldId="324"/>
            <ac:spMk id="422" creationId="{4AECBF77-60C8-FE2F-20BE-9C888A509250}"/>
          </ac:spMkLst>
        </pc:spChg>
      </pc:sldChg>
      <pc:sldChg chg="addSp delSp modSp new del mod ord">
        <pc:chgData name="Roy Chowdhury, Ritwik" userId="bfb84a7f-f393-43f0-840f-80c362df9247" providerId="ADAL" clId="{D98D1D94-E5EF-4A5F-8B22-D2A92A3A93DC}" dt="2023-11-04T04:33:54.189" v="1919" actId="47"/>
        <pc:sldMkLst>
          <pc:docMk/>
          <pc:sldMk cId="2730515923" sldId="324"/>
        </pc:sldMkLst>
        <pc:spChg chg="del">
          <ac:chgData name="Roy Chowdhury, Ritwik" userId="bfb84a7f-f393-43f0-840f-80c362df9247" providerId="ADAL" clId="{D98D1D94-E5EF-4A5F-8B22-D2A92A3A93DC}" dt="2023-11-04T01:46:08.459" v="768" actId="478"/>
          <ac:spMkLst>
            <pc:docMk/>
            <pc:sldMk cId="2730515923" sldId="324"/>
            <ac:spMk id="2" creationId="{DA5D7340-9B43-CB01-077F-D129130C91CC}"/>
          </ac:spMkLst>
        </pc:spChg>
        <pc:spChg chg="del">
          <ac:chgData name="Roy Chowdhury, Ritwik" userId="bfb84a7f-f393-43f0-840f-80c362df9247" providerId="ADAL" clId="{D98D1D94-E5EF-4A5F-8B22-D2A92A3A93DC}" dt="2023-11-04T01:46:06.385" v="767" actId="478"/>
          <ac:spMkLst>
            <pc:docMk/>
            <pc:sldMk cId="2730515923" sldId="324"/>
            <ac:spMk id="3" creationId="{FC539888-C1EB-480E-754A-EF6E5E824ED3}"/>
          </ac:spMkLst>
        </pc:spChg>
        <pc:spChg chg="add mod">
          <ac:chgData name="Roy Chowdhury, Ritwik" userId="bfb84a7f-f393-43f0-840f-80c362df9247" providerId="ADAL" clId="{D98D1D94-E5EF-4A5F-8B22-D2A92A3A93DC}" dt="2023-11-04T02:07:48.570" v="954" actId="1076"/>
          <ac:spMkLst>
            <pc:docMk/>
            <pc:sldMk cId="2730515923" sldId="324"/>
            <ac:spMk id="4" creationId="{888A8DC5-9022-E87E-4CD0-32F2E38B1B76}"/>
          </ac:spMkLst>
        </pc:spChg>
        <pc:spChg chg="mod">
          <ac:chgData name="Roy Chowdhury, Ritwik" userId="bfb84a7f-f393-43f0-840f-80c362df9247" providerId="ADAL" clId="{D98D1D94-E5EF-4A5F-8B22-D2A92A3A93DC}" dt="2023-11-04T01:48:11.671" v="800" actId="207"/>
          <ac:spMkLst>
            <pc:docMk/>
            <pc:sldMk cId="2730515923" sldId="324"/>
            <ac:spMk id="6" creationId="{021B9ED2-F2BA-A63D-1DF1-37F86F983EFD}"/>
          </ac:spMkLst>
        </pc:spChg>
        <pc:spChg chg="mod">
          <ac:chgData name="Roy Chowdhury, Ritwik" userId="bfb84a7f-f393-43f0-840f-80c362df9247" providerId="ADAL" clId="{D98D1D94-E5EF-4A5F-8B22-D2A92A3A93DC}" dt="2023-11-04T01:46:59.722" v="794"/>
          <ac:spMkLst>
            <pc:docMk/>
            <pc:sldMk cId="2730515923" sldId="324"/>
            <ac:spMk id="7" creationId="{4905F83D-11C4-DFE9-8EBF-AD854E795094}"/>
          </ac:spMkLst>
        </pc:spChg>
        <pc:spChg chg="del mod">
          <ac:chgData name="Roy Chowdhury, Ritwik" userId="bfb84a7f-f393-43f0-840f-80c362df9247" providerId="ADAL" clId="{D98D1D94-E5EF-4A5F-8B22-D2A92A3A93DC}" dt="2023-11-04T01:47:07.595" v="798" actId="478"/>
          <ac:spMkLst>
            <pc:docMk/>
            <pc:sldMk cId="2730515923" sldId="324"/>
            <ac:spMk id="8" creationId="{CB74571D-FF15-198D-D353-F49B72450B55}"/>
          </ac:spMkLst>
        </pc:spChg>
        <pc:spChg chg="del mod">
          <ac:chgData name="Roy Chowdhury, Ritwik" userId="bfb84a7f-f393-43f0-840f-80c362df9247" providerId="ADAL" clId="{D98D1D94-E5EF-4A5F-8B22-D2A92A3A93DC}" dt="2023-11-04T01:47:06.017" v="797" actId="478"/>
          <ac:spMkLst>
            <pc:docMk/>
            <pc:sldMk cId="2730515923" sldId="324"/>
            <ac:spMk id="9" creationId="{7B8FCD1E-2049-8B1E-22CE-52A4CD5F6BF6}"/>
          </ac:spMkLst>
        </pc:spChg>
        <pc:spChg chg="del mod">
          <ac:chgData name="Roy Chowdhury, Ritwik" userId="bfb84a7f-f393-43f0-840f-80c362df9247" providerId="ADAL" clId="{D98D1D94-E5EF-4A5F-8B22-D2A92A3A93DC}" dt="2023-11-04T01:47:04.307" v="796" actId="478"/>
          <ac:spMkLst>
            <pc:docMk/>
            <pc:sldMk cId="2730515923" sldId="324"/>
            <ac:spMk id="10" creationId="{A8DE6229-3A5F-A63A-1AB1-C19E8D6D04E4}"/>
          </ac:spMkLst>
        </pc:spChg>
        <pc:spChg chg="add mod">
          <ac:chgData name="Roy Chowdhury, Ritwik" userId="bfb84a7f-f393-43f0-840f-80c362df9247" providerId="ADAL" clId="{D98D1D94-E5EF-4A5F-8B22-D2A92A3A93DC}" dt="2023-11-04T02:09:18.803" v="971" actId="164"/>
          <ac:spMkLst>
            <pc:docMk/>
            <pc:sldMk cId="2730515923" sldId="324"/>
            <ac:spMk id="11" creationId="{7C14971F-A9AF-47B8-9383-B0720E13101D}"/>
          </ac:spMkLst>
        </pc:spChg>
        <pc:spChg chg="add del mod">
          <ac:chgData name="Roy Chowdhury, Ritwik" userId="bfb84a7f-f393-43f0-840f-80c362df9247" providerId="ADAL" clId="{D98D1D94-E5EF-4A5F-8B22-D2A92A3A93DC}" dt="2023-11-04T01:50:40.036" v="804"/>
          <ac:spMkLst>
            <pc:docMk/>
            <pc:sldMk cId="2730515923" sldId="324"/>
            <ac:spMk id="12" creationId="{10FB9BAB-1E24-BF22-1C0B-A00710506238}"/>
          </ac:spMkLst>
        </pc:spChg>
        <pc:spChg chg="add del mod">
          <ac:chgData name="Roy Chowdhury, Ritwik" userId="bfb84a7f-f393-43f0-840f-80c362df9247" providerId="ADAL" clId="{D98D1D94-E5EF-4A5F-8B22-D2A92A3A93DC}" dt="2023-11-04T01:50:40.036" v="804"/>
          <ac:spMkLst>
            <pc:docMk/>
            <pc:sldMk cId="2730515923" sldId="324"/>
            <ac:spMk id="13" creationId="{5456FFD7-63BC-826F-1B9D-45AEFB0AE9DD}"/>
          </ac:spMkLst>
        </pc:spChg>
        <pc:spChg chg="add mod">
          <ac:chgData name="Roy Chowdhury, Ritwik" userId="bfb84a7f-f393-43f0-840f-80c362df9247" providerId="ADAL" clId="{D98D1D94-E5EF-4A5F-8B22-D2A92A3A93DC}" dt="2023-11-04T02:09:18.803" v="971" actId="164"/>
          <ac:spMkLst>
            <pc:docMk/>
            <pc:sldMk cId="2730515923" sldId="324"/>
            <ac:spMk id="14" creationId="{3DC10EA3-0958-5B61-28F4-0706064192C3}"/>
          </ac:spMkLst>
        </pc:spChg>
        <pc:spChg chg="add mod">
          <ac:chgData name="Roy Chowdhury, Ritwik" userId="bfb84a7f-f393-43f0-840f-80c362df9247" providerId="ADAL" clId="{D98D1D94-E5EF-4A5F-8B22-D2A92A3A93DC}" dt="2023-11-04T02:17:26.235" v="1164" actId="20577"/>
          <ac:spMkLst>
            <pc:docMk/>
            <pc:sldMk cId="2730515923" sldId="324"/>
            <ac:spMk id="15" creationId="{4A3F6291-0A57-72EE-63AE-B5C77FBBDACE}"/>
          </ac:spMkLst>
        </pc:spChg>
        <pc:spChg chg="mod">
          <ac:chgData name="Roy Chowdhury, Ritwik" userId="bfb84a7f-f393-43f0-840f-80c362df9247" providerId="ADAL" clId="{D98D1D94-E5EF-4A5F-8B22-D2A92A3A93DC}" dt="2023-11-04T02:01:33.255" v="907"/>
          <ac:spMkLst>
            <pc:docMk/>
            <pc:sldMk cId="2730515923" sldId="324"/>
            <ac:spMk id="17" creationId="{0BA73DD0-4183-9930-C792-72E22CE9CD25}"/>
          </ac:spMkLst>
        </pc:spChg>
        <pc:spChg chg="mod">
          <ac:chgData name="Roy Chowdhury, Ritwik" userId="bfb84a7f-f393-43f0-840f-80c362df9247" providerId="ADAL" clId="{D98D1D94-E5EF-4A5F-8B22-D2A92A3A93DC}" dt="2023-11-04T02:01:58.307" v="911" actId="207"/>
          <ac:spMkLst>
            <pc:docMk/>
            <pc:sldMk cId="2730515923" sldId="324"/>
            <ac:spMk id="18" creationId="{47FC5D97-199F-5B87-33B7-44C619970944}"/>
          </ac:spMkLst>
        </pc:spChg>
        <pc:spChg chg="mod">
          <ac:chgData name="Roy Chowdhury, Ritwik" userId="bfb84a7f-f393-43f0-840f-80c362df9247" providerId="ADAL" clId="{D98D1D94-E5EF-4A5F-8B22-D2A92A3A93DC}" dt="2023-11-04T02:01:33.255" v="907"/>
          <ac:spMkLst>
            <pc:docMk/>
            <pc:sldMk cId="2730515923" sldId="324"/>
            <ac:spMk id="19" creationId="{E5C3A4E3-8BD7-5BAD-CCD5-B4B6DF479917}"/>
          </ac:spMkLst>
        </pc:spChg>
        <pc:spChg chg="mod">
          <ac:chgData name="Roy Chowdhury, Ritwik" userId="bfb84a7f-f393-43f0-840f-80c362df9247" providerId="ADAL" clId="{D98D1D94-E5EF-4A5F-8B22-D2A92A3A93DC}" dt="2023-11-04T02:01:33.255" v="907"/>
          <ac:spMkLst>
            <pc:docMk/>
            <pc:sldMk cId="2730515923" sldId="324"/>
            <ac:spMk id="20" creationId="{142DCFE9-C3BB-1E92-EEE6-A60E7C99E24F}"/>
          </ac:spMkLst>
        </pc:spChg>
        <pc:spChg chg="mod">
          <ac:chgData name="Roy Chowdhury, Ritwik" userId="bfb84a7f-f393-43f0-840f-80c362df9247" providerId="ADAL" clId="{D98D1D94-E5EF-4A5F-8B22-D2A92A3A93DC}" dt="2023-11-04T02:02:48.533" v="913" actId="207"/>
          <ac:spMkLst>
            <pc:docMk/>
            <pc:sldMk cId="2730515923" sldId="324"/>
            <ac:spMk id="21" creationId="{11960645-3837-EF6C-9689-6BBD05686E49}"/>
          </ac:spMkLst>
        </pc:spChg>
        <pc:spChg chg="add del">
          <ac:chgData name="Roy Chowdhury, Ritwik" userId="bfb84a7f-f393-43f0-840f-80c362df9247" providerId="ADAL" clId="{D98D1D94-E5EF-4A5F-8B22-D2A92A3A93DC}" dt="2023-11-04T02:03:27.810" v="915" actId="478"/>
          <ac:spMkLst>
            <pc:docMk/>
            <pc:sldMk cId="2730515923" sldId="324"/>
            <ac:spMk id="22" creationId="{392ECFE0-0748-2E0B-733A-77FD3F8721CA}"/>
          </ac:spMkLst>
        </pc:spChg>
        <pc:spChg chg="add del mod">
          <ac:chgData name="Roy Chowdhury, Ritwik" userId="bfb84a7f-f393-43f0-840f-80c362df9247" providerId="ADAL" clId="{D98D1D94-E5EF-4A5F-8B22-D2A92A3A93DC}" dt="2023-11-04T02:07:21.629" v="945" actId="478"/>
          <ac:spMkLst>
            <pc:docMk/>
            <pc:sldMk cId="2730515923" sldId="324"/>
            <ac:spMk id="23" creationId="{7ED2C21D-E31A-E85B-C0A6-6A9E73825ABE}"/>
          </ac:spMkLst>
        </pc:spChg>
        <pc:spChg chg="add mod">
          <ac:chgData name="Roy Chowdhury, Ritwik" userId="bfb84a7f-f393-43f0-840f-80c362df9247" providerId="ADAL" clId="{D98D1D94-E5EF-4A5F-8B22-D2A92A3A93DC}" dt="2023-11-04T02:08:11.248" v="956" actId="164"/>
          <ac:spMkLst>
            <pc:docMk/>
            <pc:sldMk cId="2730515923" sldId="324"/>
            <ac:spMk id="24" creationId="{7066E6DF-D6AD-9BAE-2866-62B2B7C86AF8}"/>
          </ac:spMkLst>
        </pc:spChg>
        <pc:spChg chg="add del mod">
          <ac:chgData name="Roy Chowdhury, Ritwik" userId="bfb84a7f-f393-43f0-840f-80c362df9247" providerId="ADAL" clId="{D98D1D94-E5EF-4A5F-8B22-D2A92A3A93DC}" dt="2023-11-04T02:08:41.096" v="968" actId="478"/>
          <ac:spMkLst>
            <pc:docMk/>
            <pc:sldMk cId="2730515923" sldId="324"/>
            <ac:spMk id="25" creationId="{95A9469D-8A2B-5FB2-36BF-E95758DB86EB}"/>
          </ac:spMkLst>
        </pc:spChg>
        <pc:spChg chg="add del mod">
          <ac:chgData name="Roy Chowdhury, Ritwik" userId="bfb84a7f-f393-43f0-840f-80c362df9247" providerId="ADAL" clId="{D98D1D94-E5EF-4A5F-8B22-D2A92A3A93DC}" dt="2023-11-04T02:08:33.760" v="967" actId="478"/>
          <ac:spMkLst>
            <pc:docMk/>
            <pc:sldMk cId="2730515923" sldId="324"/>
            <ac:spMk id="26" creationId="{F8A82570-7DD5-0892-0D9B-1CD0354EAFE1}"/>
          </ac:spMkLst>
        </pc:spChg>
        <pc:spChg chg="add del mod">
          <ac:chgData name="Roy Chowdhury, Ritwik" userId="bfb84a7f-f393-43f0-840f-80c362df9247" providerId="ADAL" clId="{D98D1D94-E5EF-4A5F-8B22-D2A92A3A93DC}" dt="2023-11-04T02:08:30.276" v="964" actId="478"/>
          <ac:spMkLst>
            <pc:docMk/>
            <pc:sldMk cId="2730515923" sldId="324"/>
            <ac:spMk id="27" creationId="{1455E943-C991-2E06-60F4-A73FD43DDC82}"/>
          </ac:spMkLst>
        </pc:spChg>
        <pc:spChg chg="add mod">
          <ac:chgData name="Roy Chowdhury, Ritwik" userId="bfb84a7f-f393-43f0-840f-80c362df9247" providerId="ADAL" clId="{D98D1D94-E5EF-4A5F-8B22-D2A92A3A93DC}" dt="2023-11-04T02:08:11.248" v="956" actId="164"/>
          <ac:spMkLst>
            <pc:docMk/>
            <pc:sldMk cId="2730515923" sldId="324"/>
            <ac:spMk id="28" creationId="{768F2B62-0C12-7D9E-6CDE-15EC7400F837}"/>
          </ac:spMkLst>
        </pc:spChg>
        <pc:spChg chg="add del">
          <ac:chgData name="Roy Chowdhury, Ritwik" userId="bfb84a7f-f393-43f0-840f-80c362df9247" providerId="ADAL" clId="{D98D1D94-E5EF-4A5F-8B22-D2A92A3A93DC}" dt="2023-11-04T02:06:49.907" v="941" actId="478"/>
          <ac:spMkLst>
            <pc:docMk/>
            <pc:sldMk cId="2730515923" sldId="324"/>
            <ac:spMk id="29" creationId="{8CFED023-DB1A-7379-297C-FCF90D241D25}"/>
          </ac:spMkLst>
        </pc:spChg>
        <pc:spChg chg="add mod">
          <ac:chgData name="Roy Chowdhury, Ritwik" userId="bfb84a7f-f393-43f0-840f-80c362df9247" providerId="ADAL" clId="{D98D1D94-E5EF-4A5F-8B22-D2A92A3A93DC}" dt="2023-11-04T02:18:38.173" v="1212" actId="1076"/>
          <ac:spMkLst>
            <pc:docMk/>
            <pc:sldMk cId="2730515923" sldId="324"/>
            <ac:spMk id="30" creationId="{01EF64CA-7D03-AB1F-6B23-2013A3BB9EEB}"/>
          </ac:spMkLst>
        </pc:spChg>
        <pc:spChg chg="mod ord topLvl">
          <ac:chgData name="Roy Chowdhury, Ritwik" userId="bfb84a7f-f393-43f0-840f-80c362df9247" providerId="ADAL" clId="{D98D1D94-E5EF-4A5F-8B22-D2A92A3A93DC}" dt="2023-11-04T02:11:47.024" v="1011" actId="14100"/>
          <ac:spMkLst>
            <pc:docMk/>
            <pc:sldMk cId="2730515923" sldId="324"/>
            <ac:spMk id="33" creationId="{A792D9C3-0CD6-671A-B925-FA35D1D87239}"/>
          </ac:spMkLst>
        </pc:spChg>
        <pc:spChg chg="mod topLvl">
          <ac:chgData name="Roy Chowdhury, Ritwik" userId="bfb84a7f-f393-43f0-840f-80c362df9247" providerId="ADAL" clId="{D98D1D94-E5EF-4A5F-8B22-D2A92A3A93DC}" dt="2023-11-04T02:11:22.831" v="1007" actId="165"/>
          <ac:spMkLst>
            <pc:docMk/>
            <pc:sldMk cId="2730515923" sldId="324"/>
            <ac:spMk id="34" creationId="{31A9D716-DE0D-3C90-6571-263C43A8B6E0}"/>
          </ac:spMkLst>
        </pc:spChg>
        <pc:spChg chg="add del mod topLvl">
          <ac:chgData name="Roy Chowdhury, Ritwik" userId="bfb84a7f-f393-43f0-840f-80c362df9247" providerId="ADAL" clId="{D98D1D94-E5EF-4A5F-8B22-D2A92A3A93DC}" dt="2023-11-04T02:11:22.831" v="1007" actId="165"/>
          <ac:spMkLst>
            <pc:docMk/>
            <pc:sldMk cId="2730515923" sldId="324"/>
            <ac:spMk id="35" creationId="{D1EB36D5-C070-6C42-1971-B36CA5F27612}"/>
          </ac:spMkLst>
        </pc:spChg>
        <pc:spChg chg="add del mod topLvl">
          <ac:chgData name="Roy Chowdhury, Ritwik" userId="bfb84a7f-f393-43f0-840f-80c362df9247" providerId="ADAL" clId="{D98D1D94-E5EF-4A5F-8B22-D2A92A3A93DC}" dt="2023-11-04T02:11:22.831" v="1007" actId="165"/>
          <ac:spMkLst>
            <pc:docMk/>
            <pc:sldMk cId="2730515923" sldId="324"/>
            <ac:spMk id="36" creationId="{B5A46C32-24C1-E66D-38E8-90C31157ACAD}"/>
          </ac:spMkLst>
        </pc:spChg>
        <pc:spChg chg="mod topLvl">
          <ac:chgData name="Roy Chowdhury, Ritwik" userId="bfb84a7f-f393-43f0-840f-80c362df9247" providerId="ADAL" clId="{D98D1D94-E5EF-4A5F-8B22-D2A92A3A93DC}" dt="2023-11-04T02:11:22.831" v="1007" actId="165"/>
          <ac:spMkLst>
            <pc:docMk/>
            <pc:sldMk cId="2730515923" sldId="324"/>
            <ac:spMk id="37" creationId="{8B9DE24A-A6DF-4D02-225A-54BB2EE91B84}"/>
          </ac:spMkLst>
        </pc:spChg>
        <pc:spChg chg="mod topLvl">
          <ac:chgData name="Roy Chowdhury, Ritwik" userId="bfb84a7f-f393-43f0-840f-80c362df9247" providerId="ADAL" clId="{D98D1D94-E5EF-4A5F-8B22-D2A92A3A93DC}" dt="2023-11-04T02:11:22.831" v="1007" actId="165"/>
          <ac:spMkLst>
            <pc:docMk/>
            <pc:sldMk cId="2730515923" sldId="324"/>
            <ac:spMk id="38" creationId="{A542B129-970C-D7FF-CA91-3EE7D052A7F7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0" creationId="{3DDEBA90-D9EC-E601-B513-DA7A3902C3EA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1" creationId="{5DA91D7E-BC5A-7971-8350-92A7D028E79A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2" creationId="{D37D4B31-549F-8BAD-B857-C50FE6ADB3D6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3" creationId="{B0C72F5C-5200-443D-AD3A-CACFFEA1DE25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4" creationId="{DBF3C52E-8A28-2202-92FA-371B5605C882}"/>
          </ac:spMkLst>
        </pc:spChg>
        <pc:spChg chg="mod">
          <ac:chgData name="Roy Chowdhury, Ritwik" userId="bfb84a7f-f393-43f0-840f-80c362df9247" providerId="ADAL" clId="{D98D1D94-E5EF-4A5F-8B22-D2A92A3A93DC}" dt="2023-11-04T02:08:19.263" v="959"/>
          <ac:spMkLst>
            <pc:docMk/>
            <pc:sldMk cId="2730515923" sldId="324"/>
            <ac:spMk id="45" creationId="{7B55F023-1ECA-C385-844F-D31DC9AE1AA9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47" creationId="{276CF89C-95B1-59B8-346B-055FDC885C42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48" creationId="{B62F84F3-2326-9EDF-FDC5-55284C6D5FF6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49" creationId="{A9327BFF-52FD-7470-D208-519BF7C22D69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50" creationId="{BCED4453-D71D-BFF6-2E21-B92807657B47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51" creationId="{E2AB074A-E442-1235-DC88-866C77B255EF}"/>
          </ac:spMkLst>
        </pc:spChg>
        <pc:spChg chg="mod">
          <ac:chgData name="Roy Chowdhury, Ritwik" userId="bfb84a7f-f393-43f0-840f-80c362df9247" providerId="ADAL" clId="{D98D1D94-E5EF-4A5F-8B22-D2A92A3A93DC}" dt="2023-11-04T02:08:19.756" v="960"/>
          <ac:spMkLst>
            <pc:docMk/>
            <pc:sldMk cId="2730515923" sldId="324"/>
            <ac:spMk id="52" creationId="{DFC76289-8C56-4F64-845E-CF18067A068B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56" creationId="{B252737B-5202-0C20-CCFD-AE6850B90404}"/>
          </ac:spMkLst>
        </pc:spChg>
        <pc:spChg chg="mod">
          <ac:chgData name="Roy Chowdhury, Ritwik" userId="bfb84a7f-f393-43f0-840f-80c362df9247" providerId="ADAL" clId="{D98D1D94-E5EF-4A5F-8B22-D2A92A3A93DC}" dt="2023-11-04T02:19:38.752" v="1217" actId="20577"/>
          <ac:spMkLst>
            <pc:docMk/>
            <pc:sldMk cId="2730515923" sldId="324"/>
            <ac:spMk id="57" creationId="{E2931F83-4E07-3795-6302-7BC964D144FE}"/>
          </ac:spMkLst>
        </pc:spChg>
        <pc:spChg chg="mod">
          <ac:chgData name="Roy Chowdhury, Ritwik" userId="bfb84a7f-f393-43f0-840f-80c362df9247" providerId="ADAL" clId="{D98D1D94-E5EF-4A5F-8B22-D2A92A3A93DC}" dt="2023-11-04T02:16:03.251" v="1132" actId="20577"/>
          <ac:spMkLst>
            <pc:docMk/>
            <pc:sldMk cId="2730515923" sldId="324"/>
            <ac:spMk id="58" creationId="{D489AD0E-1370-01D9-1FB9-3E213306CDC0}"/>
          </ac:spMkLst>
        </pc:spChg>
        <pc:spChg chg="add del mod">
          <ac:chgData name="Roy Chowdhury, Ritwik" userId="bfb84a7f-f393-43f0-840f-80c362df9247" providerId="ADAL" clId="{D98D1D94-E5EF-4A5F-8B22-D2A92A3A93DC}" dt="2023-11-04T02:10:51.590" v="996" actId="478"/>
          <ac:spMkLst>
            <pc:docMk/>
            <pc:sldMk cId="2730515923" sldId="324"/>
            <ac:spMk id="61" creationId="{828C7834-C806-E813-F6E5-305831174A0C}"/>
          </ac:spMkLst>
        </pc:spChg>
        <pc:spChg chg="add del mod">
          <ac:chgData name="Roy Chowdhury, Ritwik" userId="bfb84a7f-f393-43f0-840f-80c362df9247" providerId="ADAL" clId="{D98D1D94-E5EF-4A5F-8B22-D2A92A3A93DC}" dt="2023-11-04T02:10:51.590" v="996" actId="478"/>
          <ac:spMkLst>
            <pc:docMk/>
            <pc:sldMk cId="2730515923" sldId="324"/>
            <ac:spMk id="62" creationId="{19F075BE-3993-476D-0B49-CE29A2DC4E18}"/>
          </ac:spMkLst>
        </pc:spChg>
        <pc:spChg chg="add del mod">
          <ac:chgData name="Roy Chowdhury, Ritwik" userId="bfb84a7f-f393-43f0-840f-80c362df9247" providerId="ADAL" clId="{D98D1D94-E5EF-4A5F-8B22-D2A92A3A93DC}" dt="2023-11-04T02:10:52.178" v="997" actId="478"/>
          <ac:spMkLst>
            <pc:docMk/>
            <pc:sldMk cId="2730515923" sldId="324"/>
            <ac:spMk id="63" creationId="{E316A054-069F-C887-FEF7-0BFFF6C93B1B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4" creationId="{A189A1C7-3977-963B-DA4F-187A81534FB5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5" creationId="{191482D8-99EE-916B-DA95-5547D86A2BBA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6" creationId="{E4045AA1-C813-1B16-CEB9-09FF3BA16A1E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7" creationId="{BEF416EC-D102-8D4B-6A91-BBF463D533FD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8" creationId="{4405BBB5-DAF9-A0E1-B142-4B94DECCF8EC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69" creationId="{AA4A72C2-8BE1-B870-31A3-B4DBCEA9802F}"/>
          </ac:spMkLst>
        </pc:spChg>
        <pc:spChg chg="mod">
          <ac:chgData name="Roy Chowdhury, Ritwik" userId="bfb84a7f-f393-43f0-840f-80c362df9247" providerId="ADAL" clId="{D98D1D94-E5EF-4A5F-8B22-D2A92A3A93DC}" dt="2023-11-04T02:09:23.027" v="972"/>
          <ac:spMkLst>
            <pc:docMk/>
            <pc:sldMk cId="2730515923" sldId="324"/>
            <ac:spMk id="70" creationId="{6CDAF002-75DB-7305-26C9-F87A9DC604C2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73" creationId="{766C2E96-002F-7E3E-33E1-27BEC7641DB4}"/>
          </ac:spMkLst>
        </pc:spChg>
        <pc:spChg chg="mod">
          <ac:chgData name="Roy Chowdhury, Ritwik" userId="bfb84a7f-f393-43f0-840f-80c362df9247" providerId="ADAL" clId="{D98D1D94-E5EF-4A5F-8B22-D2A92A3A93DC}" dt="2023-11-04T02:16:21.746" v="1151" actId="20577"/>
          <ac:spMkLst>
            <pc:docMk/>
            <pc:sldMk cId="2730515923" sldId="324"/>
            <ac:spMk id="74" creationId="{CD173EC7-192C-2383-5334-83E47DE72228}"/>
          </ac:spMkLst>
        </pc:spChg>
        <pc:spChg chg="mod">
          <ac:chgData name="Roy Chowdhury, Ritwik" userId="bfb84a7f-f393-43f0-840f-80c362df9247" providerId="ADAL" clId="{D98D1D94-E5EF-4A5F-8B22-D2A92A3A93DC}" dt="2023-11-04T02:18:12.202" v="1210" actId="20577"/>
          <ac:spMkLst>
            <pc:docMk/>
            <pc:sldMk cId="2730515923" sldId="324"/>
            <ac:spMk id="75" creationId="{FBA04358-FD91-7A88-4A27-48AA3F8683FD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78" creationId="{8B801EA5-7126-8499-0A0F-3FBD771FD609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79" creationId="{84094E90-642F-5D1B-D761-0464831442B2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0" creationId="{4EDB4974-DA47-1FE5-9FE8-5170B8CA1203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1" creationId="{3F86C107-8B7F-975C-A699-83C8AEB591CB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2" creationId="{71A99B49-5AE1-D9A5-8BF7-73959114C4C9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3" creationId="{DD66AE12-C2F8-66A7-4C47-78D5A17B4E39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4" creationId="{9FF13B4D-3A69-970D-1BE2-798EBF226946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5" creationId="{8C760DA7-0B34-6A5A-75DF-591CB6DBF051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6" creationId="{853AE7B1-B5DA-F8AE-04CD-4729B343CE11}"/>
          </ac:spMkLst>
        </pc:spChg>
        <pc:spChg chg="mod">
          <ac:chgData name="Roy Chowdhury, Ritwik" userId="bfb84a7f-f393-43f0-840f-80c362df9247" providerId="ADAL" clId="{D98D1D94-E5EF-4A5F-8B22-D2A92A3A93DC}" dt="2023-11-04T02:09:30.021" v="974"/>
          <ac:spMkLst>
            <pc:docMk/>
            <pc:sldMk cId="2730515923" sldId="324"/>
            <ac:spMk id="87" creationId="{BDAF7D84-34EE-CB00-1120-6B6DE342A31F}"/>
          </ac:spMkLst>
        </pc:spChg>
        <pc:spChg chg="add del mod">
          <ac:chgData name="Roy Chowdhury, Ritwik" userId="bfb84a7f-f393-43f0-840f-80c362df9247" providerId="ADAL" clId="{D98D1D94-E5EF-4A5F-8B22-D2A92A3A93DC}" dt="2023-11-04T02:10:46.294" v="988"/>
          <ac:spMkLst>
            <pc:docMk/>
            <pc:sldMk cId="2730515923" sldId="324"/>
            <ac:spMk id="88" creationId="{669D1349-05FB-84B8-1BBA-D9C076DEEABF}"/>
          </ac:spMkLst>
        </pc:spChg>
        <pc:spChg chg="add mod">
          <ac:chgData name="Roy Chowdhury, Ritwik" userId="bfb84a7f-f393-43f0-840f-80c362df9247" providerId="ADAL" clId="{D98D1D94-E5EF-4A5F-8B22-D2A92A3A93DC}" dt="2023-11-04T02:12:12.413" v="1015" actId="14100"/>
          <ac:spMkLst>
            <pc:docMk/>
            <pc:sldMk cId="2730515923" sldId="324"/>
            <ac:spMk id="89" creationId="{6EF7049A-0E4E-9F49-A545-8DCC6873DDAA}"/>
          </ac:spMkLst>
        </pc:spChg>
        <pc:grpChg chg="add mod">
          <ac:chgData name="Roy Chowdhury, Ritwik" userId="bfb84a7f-f393-43f0-840f-80c362df9247" providerId="ADAL" clId="{D98D1D94-E5EF-4A5F-8B22-D2A92A3A93DC}" dt="2023-11-04T02:09:18.803" v="971" actId="164"/>
          <ac:grpSpMkLst>
            <pc:docMk/>
            <pc:sldMk cId="2730515923" sldId="324"/>
            <ac:grpSpMk id="5" creationId="{26167172-73FE-C9E1-A480-F53CB04DB96D}"/>
          </ac:grpSpMkLst>
        </pc:grpChg>
        <pc:grpChg chg="add mod">
          <ac:chgData name="Roy Chowdhury, Ritwik" userId="bfb84a7f-f393-43f0-840f-80c362df9247" providerId="ADAL" clId="{D98D1D94-E5EF-4A5F-8B22-D2A92A3A93DC}" dt="2023-11-04T02:09:18.803" v="971" actId="164"/>
          <ac:grpSpMkLst>
            <pc:docMk/>
            <pc:sldMk cId="2730515923" sldId="324"/>
            <ac:grpSpMk id="16" creationId="{124839D5-F410-E5F1-9FE8-373EB2FD53FE}"/>
          </ac:grpSpMkLst>
        </pc:grpChg>
        <pc:grpChg chg="add del mod">
          <ac:chgData name="Roy Chowdhury, Ritwik" userId="bfb84a7f-f393-43f0-840f-80c362df9247" providerId="ADAL" clId="{D98D1D94-E5EF-4A5F-8B22-D2A92A3A93DC}" dt="2023-11-04T02:09:18.803" v="971" actId="164"/>
          <ac:grpSpMkLst>
            <pc:docMk/>
            <pc:sldMk cId="2730515923" sldId="324"/>
            <ac:grpSpMk id="31" creationId="{8FC6AC2B-6F70-EF38-BEE4-DE56CED70B48}"/>
          </ac:grpSpMkLst>
        </pc:grpChg>
        <pc:grpChg chg="add del mod ord">
          <ac:chgData name="Roy Chowdhury, Ritwik" userId="bfb84a7f-f393-43f0-840f-80c362df9247" providerId="ADAL" clId="{D98D1D94-E5EF-4A5F-8B22-D2A92A3A93DC}" dt="2023-11-04T02:11:22.831" v="1007" actId="165"/>
          <ac:grpSpMkLst>
            <pc:docMk/>
            <pc:sldMk cId="2730515923" sldId="324"/>
            <ac:grpSpMk id="32" creationId="{AE124E40-F1A2-FBA2-16A4-4D7C38642194}"/>
          </ac:grpSpMkLst>
        </pc:grpChg>
        <pc:grpChg chg="add mod">
          <ac:chgData name="Roy Chowdhury, Ritwik" userId="bfb84a7f-f393-43f0-840f-80c362df9247" providerId="ADAL" clId="{D98D1D94-E5EF-4A5F-8B22-D2A92A3A93DC}" dt="2023-11-04T02:08:25.486" v="962" actId="1076"/>
          <ac:grpSpMkLst>
            <pc:docMk/>
            <pc:sldMk cId="2730515923" sldId="324"/>
            <ac:grpSpMk id="39" creationId="{3E2602F4-AE69-906C-555E-596378C26133}"/>
          </ac:grpSpMkLst>
        </pc:grpChg>
        <pc:grpChg chg="add mod">
          <ac:chgData name="Roy Chowdhury, Ritwik" userId="bfb84a7f-f393-43f0-840f-80c362df9247" providerId="ADAL" clId="{D98D1D94-E5EF-4A5F-8B22-D2A92A3A93DC}" dt="2023-11-04T02:08:22.291" v="961" actId="1076"/>
          <ac:grpSpMkLst>
            <pc:docMk/>
            <pc:sldMk cId="2730515923" sldId="324"/>
            <ac:grpSpMk id="46" creationId="{8E412032-37C4-ABB2-66E0-C5498FC79E53}"/>
          </ac:grpSpMkLst>
        </pc:grpChg>
        <pc:grpChg chg="add mod">
          <ac:chgData name="Roy Chowdhury, Ritwik" userId="bfb84a7f-f393-43f0-840f-80c362df9247" providerId="ADAL" clId="{D98D1D94-E5EF-4A5F-8B22-D2A92A3A93DC}" dt="2023-11-04T02:09:18.803" v="971" actId="164"/>
          <ac:grpSpMkLst>
            <pc:docMk/>
            <pc:sldMk cId="2730515923" sldId="324"/>
            <ac:grpSpMk id="53" creationId="{CF119613-64C6-DAE8-844A-048F6624F31F}"/>
          </ac:grpSpMkLst>
        </pc:grpChg>
        <pc:grpChg chg="add mod">
          <ac:chgData name="Roy Chowdhury, Ritwik" userId="bfb84a7f-f393-43f0-840f-80c362df9247" providerId="ADAL" clId="{D98D1D94-E5EF-4A5F-8B22-D2A92A3A93DC}" dt="2023-11-04T02:09:27.779" v="973" actId="1076"/>
          <ac:grpSpMkLst>
            <pc:docMk/>
            <pc:sldMk cId="2730515923" sldId="324"/>
            <ac:grpSpMk id="54" creationId="{31A586CB-E11F-E119-819E-6FE4F9E7632D}"/>
          </ac:grpSpMkLst>
        </pc:grpChg>
        <pc:grpChg chg="mod">
          <ac:chgData name="Roy Chowdhury, Ritwik" userId="bfb84a7f-f393-43f0-840f-80c362df9247" providerId="ADAL" clId="{D98D1D94-E5EF-4A5F-8B22-D2A92A3A93DC}" dt="2023-11-04T02:09:23.027" v="972"/>
          <ac:grpSpMkLst>
            <pc:docMk/>
            <pc:sldMk cId="2730515923" sldId="324"/>
            <ac:grpSpMk id="55" creationId="{D21DFDA5-7DF9-6690-6ACE-E4BD5D062011}"/>
          </ac:grpSpMkLst>
        </pc:grpChg>
        <pc:grpChg chg="mod">
          <ac:chgData name="Roy Chowdhury, Ritwik" userId="bfb84a7f-f393-43f0-840f-80c362df9247" providerId="ADAL" clId="{D98D1D94-E5EF-4A5F-8B22-D2A92A3A93DC}" dt="2023-11-04T02:09:23.027" v="972"/>
          <ac:grpSpMkLst>
            <pc:docMk/>
            <pc:sldMk cId="2730515923" sldId="324"/>
            <ac:grpSpMk id="59" creationId="{79E2B563-D4EA-F2A6-FA77-FF33966F7631}"/>
          </ac:grpSpMkLst>
        </pc:grpChg>
        <pc:grpChg chg="add del mod">
          <ac:chgData name="Roy Chowdhury, Ritwik" userId="bfb84a7f-f393-43f0-840f-80c362df9247" providerId="ADAL" clId="{D98D1D94-E5EF-4A5F-8B22-D2A92A3A93DC}" dt="2023-11-04T02:10:51.590" v="996" actId="478"/>
          <ac:grpSpMkLst>
            <pc:docMk/>
            <pc:sldMk cId="2730515923" sldId="324"/>
            <ac:grpSpMk id="60" creationId="{465D918E-9A13-99FA-4181-6573B87B5DD4}"/>
          </ac:grpSpMkLst>
        </pc:grpChg>
        <pc:grpChg chg="add mod">
          <ac:chgData name="Roy Chowdhury, Ritwik" userId="bfb84a7f-f393-43f0-840f-80c362df9247" providerId="ADAL" clId="{D98D1D94-E5EF-4A5F-8B22-D2A92A3A93DC}" dt="2023-11-04T02:09:37.307" v="975" actId="1076"/>
          <ac:grpSpMkLst>
            <pc:docMk/>
            <pc:sldMk cId="2730515923" sldId="324"/>
            <ac:grpSpMk id="71" creationId="{C9C3B9A6-89C8-C4E6-CC9B-55A48A60BEE6}"/>
          </ac:grpSpMkLst>
        </pc:grpChg>
        <pc:grpChg chg="mod">
          <ac:chgData name="Roy Chowdhury, Ritwik" userId="bfb84a7f-f393-43f0-840f-80c362df9247" providerId="ADAL" clId="{D98D1D94-E5EF-4A5F-8B22-D2A92A3A93DC}" dt="2023-11-04T02:09:30.021" v="974"/>
          <ac:grpSpMkLst>
            <pc:docMk/>
            <pc:sldMk cId="2730515923" sldId="324"/>
            <ac:grpSpMk id="72" creationId="{C80B5513-7125-449F-D9E1-41F4B5EF0608}"/>
          </ac:grpSpMkLst>
        </pc:grpChg>
        <pc:grpChg chg="mod">
          <ac:chgData name="Roy Chowdhury, Ritwik" userId="bfb84a7f-f393-43f0-840f-80c362df9247" providerId="ADAL" clId="{D98D1D94-E5EF-4A5F-8B22-D2A92A3A93DC}" dt="2023-11-04T02:09:30.021" v="974"/>
          <ac:grpSpMkLst>
            <pc:docMk/>
            <pc:sldMk cId="2730515923" sldId="324"/>
            <ac:grpSpMk id="76" creationId="{DE0A2FBE-2EE9-0532-6729-324A5CE0B99C}"/>
          </ac:grpSpMkLst>
        </pc:grpChg>
        <pc:grpChg chg="mod">
          <ac:chgData name="Roy Chowdhury, Ritwik" userId="bfb84a7f-f393-43f0-840f-80c362df9247" providerId="ADAL" clId="{D98D1D94-E5EF-4A5F-8B22-D2A92A3A93DC}" dt="2023-11-04T02:09:30.021" v="974"/>
          <ac:grpSpMkLst>
            <pc:docMk/>
            <pc:sldMk cId="2730515923" sldId="324"/>
            <ac:grpSpMk id="77" creationId="{B27C0BE4-F4A5-F530-D069-CE265CA20664}"/>
          </ac:grpSpMkLst>
        </pc:grpChg>
      </pc:sldChg>
      <pc:sldChg chg="modSp mod modNotesTx">
        <pc:chgData name="Roy Chowdhury, Ritwik" userId="bfb84a7f-f393-43f0-840f-80c362df9247" providerId="ADAL" clId="{D98D1D94-E5EF-4A5F-8B22-D2A92A3A93DC}" dt="2023-11-08T22:29:37.152" v="12480" actId="20577"/>
        <pc:sldMkLst>
          <pc:docMk/>
          <pc:sldMk cId="1761573872" sldId="326"/>
        </pc:sldMkLst>
        <pc:spChg chg="mod">
          <ac:chgData name="Roy Chowdhury, Ritwik" userId="bfb84a7f-f393-43f0-840f-80c362df9247" providerId="ADAL" clId="{D98D1D94-E5EF-4A5F-8B22-D2A92A3A93DC}" dt="2023-11-05T06:33:41.934" v="4357" actId="14100"/>
          <ac:spMkLst>
            <pc:docMk/>
            <pc:sldMk cId="1761573872" sldId="326"/>
            <ac:spMk id="10" creationId="{F8136A88-10DE-82DC-FB17-E86BB3269468}"/>
          </ac:spMkLst>
        </pc:spChg>
        <pc:spChg chg="mod">
          <ac:chgData name="Roy Chowdhury, Ritwik" userId="bfb84a7f-f393-43f0-840f-80c362df9247" providerId="ADAL" clId="{D98D1D94-E5EF-4A5F-8B22-D2A92A3A93DC}" dt="2023-11-05T06:33:52.362" v="4361" actId="14100"/>
          <ac:spMkLst>
            <pc:docMk/>
            <pc:sldMk cId="1761573872" sldId="326"/>
            <ac:spMk id="12" creationId="{BCE29131-0850-F4BF-E67D-4FB987DE8FCA}"/>
          </ac:spMkLst>
        </pc:spChg>
        <pc:graphicFrameChg chg="modGraphic">
          <ac:chgData name="Roy Chowdhury, Ritwik" userId="bfb84a7f-f393-43f0-840f-80c362df9247" providerId="ADAL" clId="{D98D1D94-E5EF-4A5F-8B22-D2A92A3A93DC}" dt="2023-11-05T06:32:58.156" v="4350" actId="20577"/>
          <ac:graphicFrameMkLst>
            <pc:docMk/>
            <pc:sldMk cId="1761573872" sldId="326"/>
            <ac:graphicFrameMk id="16" creationId="{716F7044-D107-D586-512D-ABC865E673F6}"/>
          </ac:graphicFrameMkLst>
        </pc:graphicFrameChg>
      </pc:sldChg>
      <pc:sldChg chg="addSp delSp modSp add del mod modShow">
        <pc:chgData name="Roy Chowdhury, Ritwik" userId="bfb84a7f-f393-43f0-840f-80c362df9247" providerId="ADAL" clId="{D98D1D94-E5EF-4A5F-8B22-D2A92A3A93DC}" dt="2023-11-07T09:32:18.347" v="7263" actId="2696"/>
        <pc:sldMkLst>
          <pc:docMk/>
          <pc:sldMk cId="197804992" sldId="327"/>
        </pc:sldMkLst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3" creationId="{C54BC704-89A3-8C86-512D-BCC4E2183B5F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6" creationId="{021B9ED2-F2BA-A63D-1DF1-37F86F983EFD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7" creationId="{4905F83D-11C4-DFE9-8EBF-AD854E795094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8" creationId="{761A8707-6DE1-A1EC-0453-16D6869CA1A1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" creationId="{3E0C499A-3A73-4459-4C53-48640A9DD0F6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10" creationId="{D122D56B-839D-1953-D121-9415F60FD1CD}"/>
          </ac:spMkLst>
        </pc:spChg>
        <pc:spChg chg="mod topLvl">
          <ac:chgData name="Roy Chowdhury, Ritwik" userId="bfb84a7f-f393-43f0-840f-80c362df9247" providerId="ADAL" clId="{D98D1D94-E5EF-4A5F-8B22-D2A92A3A93DC}" dt="2023-11-04T02:25:22.232" v="1234" actId="164"/>
          <ac:spMkLst>
            <pc:docMk/>
            <pc:sldMk cId="197804992" sldId="327"/>
            <ac:spMk id="11" creationId="{7C14971F-A9AF-47B8-9383-B0720E13101D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12" creationId="{012CABC1-2F24-5DB1-4A18-8397B1E050B6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13" creationId="{75B4A3FC-EA39-031A-0D6D-D4C4CC456FAC}"/>
          </ac:spMkLst>
        </pc:spChg>
        <pc:spChg chg="mod topLvl">
          <ac:chgData name="Roy Chowdhury, Ritwik" userId="bfb84a7f-f393-43f0-840f-80c362df9247" providerId="ADAL" clId="{D98D1D94-E5EF-4A5F-8B22-D2A92A3A93DC}" dt="2023-11-04T02:25:22.232" v="1234" actId="164"/>
          <ac:spMkLst>
            <pc:docMk/>
            <pc:sldMk cId="197804992" sldId="327"/>
            <ac:spMk id="14" creationId="{3DC10EA3-0958-5B61-28F4-0706064192C3}"/>
          </ac:spMkLst>
        </pc:spChg>
        <pc:spChg chg="mod topLvl">
          <ac:chgData name="Roy Chowdhury, Ritwik" userId="bfb84a7f-f393-43f0-840f-80c362df9247" providerId="ADAL" clId="{D98D1D94-E5EF-4A5F-8B22-D2A92A3A93DC}" dt="2023-11-04T03:06:44.646" v="1496" actId="1076"/>
          <ac:spMkLst>
            <pc:docMk/>
            <pc:sldMk cId="197804992" sldId="327"/>
            <ac:spMk id="15" creationId="{4A3F6291-0A57-72EE-63AE-B5C77FBBDACE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17" creationId="{0BA73DD0-4183-9930-C792-72E22CE9CD25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18" creationId="{47FC5D97-199F-5B87-33B7-44C619970944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19" creationId="{E5C3A4E3-8BD7-5BAD-CCD5-B4B6DF479917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20" creationId="{142DCFE9-C3BB-1E92-EEE6-A60E7C99E24F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21" creationId="{11960645-3837-EF6C-9689-6BBD05686E49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2" creationId="{80821433-1BB4-622B-56C3-85624ABE858E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3" creationId="{F17D81A1-312E-22D8-AB90-FF46D24AE450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24" creationId="{7066E6DF-D6AD-9BAE-2866-62B2B7C86AF8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5" creationId="{64F8597C-71AD-B1D8-98A0-6F98ACE58ABB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6" creationId="{D122DA5B-2833-6E9D-9406-41CA97621B50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7" creationId="{CDA67024-61C1-115D-4256-16ACE8320760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28" creationId="{768F2B62-0C12-7D9E-6CDE-15EC7400F837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29" creationId="{3FCE8FC3-8343-48AE-7B88-FFAFC9D6ADE0}"/>
          </ac:spMkLst>
        </pc:spChg>
        <pc:spChg chg="mod">
          <ac:chgData name="Roy Chowdhury, Ritwik" userId="bfb84a7f-f393-43f0-840f-80c362df9247" providerId="ADAL" clId="{D98D1D94-E5EF-4A5F-8B22-D2A92A3A93DC}" dt="2023-11-04T02:25:06.517" v="1232" actId="165"/>
          <ac:spMkLst>
            <pc:docMk/>
            <pc:sldMk cId="197804992" sldId="327"/>
            <ac:spMk id="30" creationId="{01EF64CA-7D03-AB1F-6B23-2013A3BB9EEB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32" creationId="{4C1C0723-1B19-ECE6-B3D9-84297F52BFB7}"/>
          </ac:spMkLst>
        </pc:spChg>
        <pc:spChg chg="mod">
          <ac:chgData name="Roy Chowdhury, Ritwik" userId="bfb84a7f-f393-43f0-840f-80c362df9247" providerId="ADAL" clId="{D98D1D94-E5EF-4A5F-8B22-D2A92A3A93DC}" dt="2023-11-04T02:27:02.632" v="1252" actId="164"/>
          <ac:spMkLst>
            <pc:docMk/>
            <pc:sldMk cId="197804992" sldId="327"/>
            <ac:spMk id="33" creationId="{A792D9C3-0CD6-671A-B925-FA35D1D87239}"/>
          </ac:spMkLst>
        </pc:spChg>
        <pc:spChg chg="mod ord">
          <ac:chgData name="Roy Chowdhury, Ritwik" userId="bfb84a7f-f393-43f0-840f-80c362df9247" providerId="ADAL" clId="{D98D1D94-E5EF-4A5F-8B22-D2A92A3A93DC}" dt="2023-11-04T02:27:02.632" v="1252" actId="164"/>
          <ac:spMkLst>
            <pc:docMk/>
            <pc:sldMk cId="197804992" sldId="327"/>
            <ac:spMk id="34" creationId="{31A9D716-DE0D-3C90-6571-263C43A8B6E0}"/>
          </ac:spMkLst>
        </pc:spChg>
        <pc:spChg chg="mod ord">
          <ac:chgData name="Roy Chowdhury, Ritwik" userId="bfb84a7f-f393-43f0-840f-80c362df9247" providerId="ADAL" clId="{D98D1D94-E5EF-4A5F-8B22-D2A92A3A93DC}" dt="2023-11-04T02:39:42.415" v="1314" actId="1076"/>
          <ac:spMkLst>
            <pc:docMk/>
            <pc:sldMk cId="197804992" sldId="327"/>
            <ac:spMk id="35" creationId="{D1EB36D5-C070-6C42-1971-B36CA5F27612}"/>
          </ac:spMkLst>
        </pc:spChg>
        <pc:spChg chg="del">
          <ac:chgData name="Roy Chowdhury, Ritwik" userId="bfb84a7f-f393-43f0-840f-80c362df9247" providerId="ADAL" clId="{D98D1D94-E5EF-4A5F-8B22-D2A92A3A93DC}" dt="2023-11-04T02:42:41.249" v="1330" actId="478"/>
          <ac:spMkLst>
            <pc:docMk/>
            <pc:sldMk cId="197804992" sldId="327"/>
            <ac:spMk id="36" creationId="{B5A46C32-24C1-E66D-38E8-90C31157ACAD}"/>
          </ac:spMkLst>
        </pc:spChg>
        <pc:spChg chg="del">
          <ac:chgData name="Roy Chowdhury, Ritwik" userId="bfb84a7f-f393-43f0-840f-80c362df9247" providerId="ADAL" clId="{D98D1D94-E5EF-4A5F-8B22-D2A92A3A93DC}" dt="2023-11-04T02:42:41.830" v="1331" actId="478"/>
          <ac:spMkLst>
            <pc:docMk/>
            <pc:sldMk cId="197804992" sldId="327"/>
            <ac:spMk id="37" creationId="{8B9DE24A-A6DF-4D02-225A-54BB2EE91B84}"/>
          </ac:spMkLst>
        </pc:spChg>
        <pc:spChg chg="del">
          <ac:chgData name="Roy Chowdhury, Ritwik" userId="bfb84a7f-f393-43f0-840f-80c362df9247" providerId="ADAL" clId="{D98D1D94-E5EF-4A5F-8B22-D2A92A3A93DC}" dt="2023-11-04T02:42:39.930" v="1329" actId="478"/>
          <ac:spMkLst>
            <pc:docMk/>
            <pc:sldMk cId="197804992" sldId="327"/>
            <ac:spMk id="38" creationId="{A542B129-970C-D7FF-CA91-3EE7D052A7F7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88" creationId="{C340C6EE-86CC-A3CB-BEB5-B7C0BE964E48}"/>
          </ac:spMkLst>
        </pc:spChg>
        <pc:spChg chg="mod">
          <ac:chgData name="Roy Chowdhury, Ritwik" userId="bfb84a7f-f393-43f0-840f-80c362df9247" providerId="ADAL" clId="{D98D1D94-E5EF-4A5F-8B22-D2A92A3A93DC}" dt="2023-11-04T02:27:08.162" v="1253" actId="164"/>
          <ac:spMkLst>
            <pc:docMk/>
            <pc:sldMk cId="197804992" sldId="327"/>
            <ac:spMk id="89" creationId="{6EF7049A-0E4E-9F49-A545-8DCC6873DDAA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0" creationId="{BB612046-C8DD-C2ED-5F29-F31784A6DAAF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1" creationId="{3F686B41-E1F7-3F40-6E22-A9000399A353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2" creationId="{A2DEA9BE-4423-FE5B-52D2-27B6289C73BB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3" creationId="{9EA75D45-C29C-23EC-D199-19C4ACB3A88E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4" creationId="{6A6AEB3C-298B-A4A0-D271-1A00EB46DBE9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5" creationId="{05C21417-CFAF-0F9D-4466-F4E941CFB086}"/>
          </ac:spMkLst>
        </pc:spChg>
        <pc:spChg chg="mod">
          <ac:chgData name="Roy Chowdhury, Ritwik" userId="bfb84a7f-f393-43f0-840f-80c362df9247" providerId="ADAL" clId="{D98D1D94-E5EF-4A5F-8B22-D2A92A3A93DC}" dt="2023-11-04T02:22:00.676" v="1218"/>
          <ac:spMkLst>
            <pc:docMk/>
            <pc:sldMk cId="197804992" sldId="327"/>
            <ac:spMk id="96" creationId="{60B693EE-6379-4A42-176C-DFCA461F5F1F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00" creationId="{3516D640-78F8-17FB-5ED2-A3DCF9C471D3}"/>
          </ac:spMkLst>
        </pc:spChg>
        <pc:spChg chg="mod">
          <ac:chgData name="Roy Chowdhury, Ritwik" userId="bfb84a7f-f393-43f0-840f-80c362df9247" providerId="ADAL" clId="{D98D1D94-E5EF-4A5F-8B22-D2A92A3A93DC}" dt="2023-11-04T02:30:56.555" v="1287" actId="20577"/>
          <ac:spMkLst>
            <pc:docMk/>
            <pc:sldMk cId="197804992" sldId="327"/>
            <ac:spMk id="101" creationId="{BDE8D912-BA00-CF53-E1B2-29A794184600}"/>
          </ac:spMkLst>
        </pc:spChg>
        <pc:spChg chg="mod">
          <ac:chgData name="Roy Chowdhury, Ritwik" userId="bfb84a7f-f393-43f0-840f-80c362df9247" providerId="ADAL" clId="{D98D1D94-E5EF-4A5F-8B22-D2A92A3A93DC}" dt="2023-11-04T02:31:03.801" v="1288"/>
          <ac:spMkLst>
            <pc:docMk/>
            <pc:sldMk cId="197804992" sldId="327"/>
            <ac:spMk id="102" creationId="{E674E6D5-4739-EED1-A10C-796E959613A7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05" creationId="{BE775DEE-353D-B0CB-0888-EF3191AB3642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06" creationId="{8DE2A558-A644-303E-C1F8-4336AD3F5298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07" creationId="{F6F29D5B-3BB9-5DE7-0E4E-EC543F29891A}"/>
          </ac:spMkLst>
        </pc:spChg>
        <pc:spChg chg="del mod">
          <ac:chgData name="Roy Chowdhury, Ritwik" userId="bfb84a7f-f393-43f0-840f-80c362df9247" providerId="ADAL" clId="{D98D1D94-E5EF-4A5F-8B22-D2A92A3A93DC}" dt="2023-11-04T02:27:16.278" v="1255" actId="478"/>
          <ac:spMkLst>
            <pc:docMk/>
            <pc:sldMk cId="197804992" sldId="327"/>
            <ac:spMk id="108" creationId="{437DC8F6-8DF3-9F7B-A6E9-DEAED0FFD8CB}"/>
          </ac:spMkLst>
        </pc:spChg>
        <pc:spChg chg="del mod">
          <ac:chgData name="Roy Chowdhury, Ritwik" userId="bfb84a7f-f393-43f0-840f-80c362df9247" providerId="ADAL" clId="{D98D1D94-E5EF-4A5F-8B22-D2A92A3A93DC}" dt="2023-11-04T02:27:14.410" v="1254" actId="478"/>
          <ac:spMkLst>
            <pc:docMk/>
            <pc:sldMk cId="197804992" sldId="327"/>
            <ac:spMk id="109" creationId="{63928477-2762-9299-0662-2625C2BDB20E}"/>
          </ac:spMkLst>
        </pc:spChg>
        <pc:spChg chg="del mod">
          <ac:chgData name="Roy Chowdhury, Ritwik" userId="bfb84a7f-f393-43f0-840f-80c362df9247" providerId="ADAL" clId="{D98D1D94-E5EF-4A5F-8B22-D2A92A3A93DC}" dt="2023-11-04T02:27:21.914" v="1258" actId="478"/>
          <ac:spMkLst>
            <pc:docMk/>
            <pc:sldMk cId="197804992" sldId="327"/>
            <ac:spMk id="110" creationId="{52D13685-0611-1A89-5AD4-BAB3BA56243E}"/>
          </ac:spMkLst>
        </pc:spChg>
        <pc:spChg chg="del mod">
          <ac:chgData name="Roy Chowdhury, Ritwik" userId="bfb84a7f-f393-43f0-840f-80c362df9247" providerId="ADAL" clId="{D98D1D94-E5EF-4A5F-8B22-D2A92A3A93DC}" dt="2023-11-04T02:27:19.334" v="1257" actId="478"/>
          <ac:spMkLst>
            <pc:docMk/>
            <pc:sldMk cId="197804992" sldId="327"/>
            <ac:spMk id="111" creationId="{2A72F028-AEC4-9377-6A51-A04837C1BB32}"/>
          </ac:spMkLst>
        </pc:spChg>
        <pc:spChg chg="del mod">
          <ac:chgData name="Roy Chowdhury, Ritwik" userId="bfb84a7f-f393-43f0-840f-80c362df9247" providerId="ADAL" clId="{D98D1D94-E5EF-4A5F-8B22-D2A92A3A93DC}" dt="2023-11-04T02:27:17.735" v="1256" actId="478"/>
          <ac:spMkLst>
            <pc:docMk/>
            <pc:sldMk cId="197804992" sldId="327"/>
            <ac:spMk id="112" creationId="{F207F3D0-0C9B-C10E-CD54-A78631896426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13" creationId="{8FC470B1-4820-2F2D-8C27-2B3A790F2814}"/>
          </ac:spMkLst>
        </pc:spChg>
        <pc:spChg chg="mod">
          <ac:chgData name="Roy Chowdhury, Ritwik" userId="bfb84a7f-f393-43f0-840f-80c362df9247" providerId="ADAL" clId="{D98D1D94-E5EF-4A5F-8B22-D2A92A3A93DC}" dt="2023-11-04T02:25:24.929" v="1235"/>
          <ac:spMkLst>
            <pc:docMk/>
            <pc:sldMk cId="197804992" sldId="327"/>
            <ac:spMk id="114" creationId="{F0CFC44F-0195-0C83-8C3D-4D82E9AA78AF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17" creationId="{C308DA27-D0BB-52BB-E72B-3D254AB05B96}"/>
          </ac:spMkLst>
        </pc:spChg>
        <pc:spChg chg="mod">
          <ac:chgData name="Roy Chowdhury, Ritwik" userId="bfb84a7f-f393-43f0-840f-80c362df9247" providerId="ADAL" clId="{D98D1D94-E5EF-4A5F-8B22-D2A92A3A93DC}" dt="2023-11-04T02:31:11.435" v="1289"/>
          <ac:spMkLst>
            <pc:docMk/>
            <pc:sldMk cId="197804992" sldId="327"/>
            <ac:spMk id="118" creationId="{A664586B-09D2-D74E-54EC-47A7FA4B225E}"/>
          </ac:spMkLst>
        </pc:spChg>
        <pc:spChg chg="mod">
          <ac:chgData name="Roy Chowdhury, Ritwik" userId="bfb84a7f-f393-43f0-840f-80c362df9247" providerId="ADAL" clId="{D98D1D94-E5EF-4A5F-8B22-D2A92A3A93DC}" dt="2023-11-04T02:31:17.380" v="1290"/>
          <ac:spMkLst>
            <pc:docMk/>
            <pc:sldMk cId="197804992" sldId="327"/>
            <ac:spMk id="119" creationId="{89BB56BE-FA10-27B0-7346-F5EBC4100ACC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22" creationId="{54846B4F-D5B7-5F53-6FEB-9DD17CB1A758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23" creationId="{7A8A4E9C-720E-1734-561F-ABCCD8A7B17D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24" creationId="{D3AC27EC-5034-217D-1A66-CDAE80237476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25" creationId="{B7C9FDF4-F0B4-DB2E-0E7D-A4A1A8EE7764}"/>
          </ac:spMkLst>
        </pc:spChg>
        <pc:spChg chg="del mod">
          <ac:chgData name="Roy Chowdhury, Ritwik" userId="bfb84a7f-f393-43f0-840f-80c362df9247" providerId="ADAL" clId="{D98D1D94-E5EF-4A5F-8B22-D2A92A3A93DC}" dt="2023-11-04T02:29:46.198" v="1277" actId="478"/>
          <ac:spMkLst>
            <pc:docMk/>
            <pc:sldMk cId="197804992" sldId="327"/>
            <ac:spMk id="126" creationId="{EB5CBA59-A20B-34C7-91D5-8D9DA0C6566E}"/>
          </ac:spMkLst>
        </pc:spChg>
        <pc:spChg chg="del mod">
          <ac:chgData name="Roy Chowdhury, Ritwik" userId="bfb84a7f-f393-43f0-840f-80c362df9247" providerId="ADAL" clId="{D98D1D94-E5EF-4A5F-8B22-D2A92A3A93DC}" dt="2023-11-04T02:29:51.200" v="1279" actId="478"/>
          <ac:spMkLst>
            <pc:docMk/>
            <pc:sldMk cId="197804992" sldId="327"/>
            <ac:spMk id="127" creationId="{2F000CE3-7274-2EED-C8A9-268F35988507}"/>
          </ac:spMkLst>
        </pc:spChg>
        <pc:spChg chg="del mod">
          <ac:chgData name="Roy Chowdhury, Ritwik" userId="bfb84a7f-f393-43f0-840f-80c362df9247" providerId="ADAL" clId="{D98D1D94-E5EF-4A5F-8B22-D2A92A3A93DC}" dt="2023-11-04T02:29:58.192" v="1280" actId="478"/>
          <ac:spMkLst>
            <pc:docMk/>
            <pc:sldMk cId="197804992" sldId="327"/>
            <ac:spMk id="128" creationId="{F4AEFE9A-E335-C846-50AB-CF6AAD53551E}"/>
          </ac:spMkLst>
        </pc:spChg>
        <pc:spChg chg="del mod">
          <ac:chgData name="Roy Chowdhury, Ritwik" userId="bfb84a7f-f393-43f0-840f-80c362df9247" providerId="ADAL" clId="{D98D1D94-E5EF-4A5F-8B22-D2A92A3A93DC}" dt="2023-11-04T02:29:48.916" v="1278" actId="478"/>
          <ac:spMkLst>
            <pc:docMk/>
            <pc:sldMk cId="197804992" sldId="327"/>
            <ac:spMk id="129" creationId="{ACE215E4-82FA-039F-E9CB-54C5E2B4E427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30" creationId="{B74F8FF8-7ACA-AF6F-49D0-D3EA2BC4336F}"/>
          </ac:spMkLst>
        </pc:spChg>
        <pc:spChg chg="mod">
          <ac:chgData name="Roy Chowdhury, Ritwik" userId="bfb84a7f-f393-43f0-840f-80c362df9247" providerId="ADAL" clId="{D98D1D94-E5EF-4A5F-8B22-D2A92A3A93DC}" dt="2023-11-04T02:25:30.261" v="1237"/>
          <ac:spMkLst>
            <pc:docMk/>
            <pc:sldMk cId="197804992" sldId="327"/>
            <ac:spMk id="131" creationId="{86AAF4CB-5535-2861-EA71-5A21FCCF097C}"/>
          </ac:spMkLst>
        </pc:spChg>
        <pc:spChg chg="add del mod">
          <ac:chgData name="Roy Chowdhury, Ritwik" userId="bfb84a7f-f393-43f0-840f-80c362df9247" providerId="ADAL" clId="{D98D1D94-E5EF-4A5F-8B22-D2A92A3A93DC}" dt="2023-11-04T02:28:10.297" v="1264" actId="478"/>
          <ac:spMkLst>
            <pc:docMk/>
            <pc:sldMk cId="197804992" sldId="327"/>
            <ac:spMk id="134" creationId="{E6D06112-8736-D40B-BFBA-B262BBF0543A}"/>
          </ac:spMkLst>
        </pc:spChg>
        <pc:spChg chg="add mod">
          <ac:chgData name="Roy Chowdhury, Ritwik" userId="bfb84a7f-f393-43f0-840f-80c362df9247" providerId="ADAL" clId="{D98D1D94-E5EF-4A5F-8B22-D2A92A3A93DC}" dt="2023-11-04T02:30:13.637" v="1282" actId="206"/>
          <ac:spMkLst>
            <pc:docMk/>
            <pc:sldMk cId="197804992" sldId="327"/>
            <ac:spMk id="135" creationId="{74D02FA6-7CA1-E5FF-01BB-6EAC30D06E7C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39" creationId="{67DA8309-6C0F-59A3-0191-37C536F232AE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0" creationId="{894DA8B5-2960-FAF1-F9E1-B03FBEF4791B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1" creationId="{FDADAEAB-BA46-77EF-07DA-1C062C796312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2" creationId="{6405E07D-4F22-42F9-9B4E-6A8A41BDE0FB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3" creationId="{F8BB3066-DA58-5CB9-965E-68BEBCCD4D4A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4" creationId="{4A223148-40F0-D88E-0321-8571A966B93E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5" creationId="{07FA185C-1EC2-3086-9BBD-E57AAFF49DE7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6" creationId="{14E72A66-16FC-E147-A2FF-27A3A93A4186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7" creationId="{4AD0D05C-C242-3909-65C9-9C8FAE55E82C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8" creationId="{DB322C7A-3667-EB23-3081-23B109A68902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49" creationId="{136C46CF-4F0E-7CE5-CCC1-D39F8F958DBC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0" creationId="{FA4262EC-1FA8-B638-ECF1-FBB93E37C8E6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1" creationId="{5341CF91-A5FB-FD8C-D92D-63628D6E5B19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2" creationId="{6EF20FD5-47D5-7007-8F22-4464051B1E70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3" creationId="{C21F49EF-5C25-10E3-3B88-18FE0964F7DA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4" creationId="{13B3745B-ECE3-91EE-0ADE-2A7000E77A1F}"/>
          </ac:spMkLst>
        </pc:spChg>
        <pc:spChg chg="mod">
          <ac:chgData name="Roy Chowdhury, Ritwik" userId="bfb84a7f-f393-43f0-840f-80c362df9247" providerId="ADAL" clId="{D98D1D94-E5EF-4A5F-8B22-D2A92A3A93DC}" dt="2023-11-04T02:39:03.094" v="1308"/>
          <ac:spMkLst>
            <pc:docMk/>
            <pc:sldMk cId="197804992" sldId="327"/>
            <ac:spMk id="155" creationId="{12C80267-C4B6-BB17-3E38-EDB8CA36539D}"/>
          </ac:spMkLst>
        </pc:spChg>
        <pc:spChg chg="add del">
          <ac:chgData name="Roy Chowdhury, Ritwik" userId="bfb84a7f-f393-43f0-840f-80c362df9247" providerId="ADAL" clId="{D98D1D94-E5EF-4A5F-8B22-D2A92A3A93DC}" dt="2023-11-04T02:45:20.601" v="1339" actId="478"/>
          <ac:spMkLst>
            <pc:docMk/>
            <pc:sldMk cId="197804992" sldId="327"/>
            <ac:spMk id="162" creationId="{ED38B372-E30D-B03E-DD0B-2F08553B365D}"/>
          </ac:spMkLst>
        </pc:spChg>
        <pc:spChg chg="add del">
          <ac:chgData name="Roy Chowdhury, Ritwik" userId="bfb84a7f-f393-43f0-840f-80c362df9247" providerId="ADAL" clId="{D98D1D94-E5EF-4A5F-8B22-D2A92A3A93DC}" dt="2023-11-04T02:46:21.418" v="1343" actId="11529"/>
          <ac:spMkLst>
            <pc:docMk/>
            <pc:sldMk cId="197804992" sldId="327"/>
            <ac:spMk id="165" creationId="{4731FE2E-C80B-53E6-9D99-CA2432D120FD}"/>
          </ac:spMkLst>
        </pc:spChg>
        <pc:spChg chg="add del mod ord">
          <ac:chgData name="Roy Chowdhury, Ritwik" userId="bfb84a7f-f393-43f0-840f-80c362df9247" providerId="ADAL" clId="{D98D1D94-E5EF-4A5F-8B22-D2A92A3A93DC}" dt="2023-11-04T02:52:20.754" v="1414" actId="478"/>
          <ac:spMkLst>
            <pc:docMk/>
            <pc:sldMk cId="197804992" sldId="327"/>
            <ac:spMk id="168" creationId="{1086F06D-846D-D40B-122C-1E276ED9DBEB}"/>
          </ac:spMkLst>
        </pc:spChg>
        <pc:spChg chg="mod">
          <ac:chgData name="Roy Chowdhury, Ritwik" userId="bfb84a7f-f393-43f0-840f-80c362df9247" providerId="ADAL" clId="{D98D1D94-E5EF-4A5F-8B22-D2A92A3A93DC}" dt="2023-11-04T02:58:48.489" v="1415"/>
          <ac:spMkLst>
            <pc:docMk/>
            <pc:sldMk cId="197804992" sldId="327"/>
            <ac:spMk id="170" creationId="{76C06F7B-2498-A6F9-C1B9-5674D02D9CF1}"/>
          </ac:spMkLst>
        </pc:spChg>
        <pc:spChg chg="mod">
          <ac:chgData name="Roy Chowdhury, Ritwik" userId="bfb84a7f-f393-43f0-840f-80c362df9247" providerId="ADAL" clId="{D98D1D94-E5EF-4A5F-8B22-D2A92A3A93DC}" dt="2023-11-04T03:03:36.337" v="1451" actId="207"/>
          <ac:spMkLst>
            <pc:docMk/>
            <pc:sldMk cId="197804992" sldId="327"/>
            <ac:spMk id="171" creationId="{2EBA4263-0C53-C878-CFBF-FC247C30B442}"/>
          </ac:spMkLst>
        </pc:spChg>
        <pc:spChg chg="add mod">
          <ac:chgData name="Roy Chowdhury, Ritwik" userId="bfb84a7f-f393-43f0-840f-80c362df9247" providerId="ADAL" clId="{D98D1D94-E5EF-4A5F-8B22-D2A92A3A93DC}" dt="2023-11-04T03:00:16.054" v="1446" actId="164"/>
          <ac:spMkLst>
            <pc:docMk/>
            <pc:sldMk cId="197804992" sldId="327"/>
            <ac:spMk id="172" creationId="{5779AB55-334E-D837-4A32-0A0B5038777E}"/>
          </ac:spMkLst>
        </pc:spChg>
        <pc:spChg chg="add mod">
          <ac:chgData name="Roy Chowdhury, Ritwik" userId="bfb84a7f-f393-43f0-840f-80c362df9247" providerId="ADAL" clId="{D98D1D94-E5EF-4A5F-8B22-D2A92A3A93DC}" dt="2023-11-04T03:12:49.281" v="1635" actId="692"/>
          <ac:spMkLst>
            <pc:docMk/>
            <pc:sldMk cId="197804992" sldId="327"/>
            <ac:spMk id="174" creationId="{F61CCE93-7780-2C8E-1561-DD69864BF353}"/>
          </ac:spMkLst>
        </pc:spChg>
        <pc:spChg chg="add mod">
          <ac:chgData name="Roy Chowdhury, Ritwik" userId="bfb84a7f-f393-43f0-840f-80c362df9247" providerId="ADAL" clId="{D98D1D94-E5EF-4A5F-8B22-D2A92A3A93DC}" dt="2023-11-04T03:13:20.508" v="1637" actId="208"/>
          <ac:spMkLst>
            <pc:docMk/>
            <pc:sldMk cId="197804992" sldId="327"/>
            <ac:spMk id="175" creationId="{CFD45789-998C-3EEB-D4A9-1FA77F7232BB}"/>
          </ac:spMkLst>
        </pc:spChg>
        <pc:spChg chg="add mod">
          <ac:chgData name="Roy Chowdhury, Ritwik" userId="bfb84a7f-f393-43f0-840f-80c362df9247" providerId="ADAL" clId="{D98D1D94-E5EF-4A5F-8B22-D2A92A3A93DC}" dt="2023-11-04T03:13:34.011" v="1638" actId="1582"/>
          <ac:spMkLst>
            <pc:docMk/>
            <pc:sldMk cId="197804992" sldId="327"/>
            <ac:spMk id="176" creationId="{82973D52-9F07-A550-207E-B868DC81CEFB}"/>
          </ac:spMkLst>
        </pc:spChg>
        <pc:spChg chg="add mod">
          <ac:chgData name="Roy Chowdhury, Ritwik" userId="bfb84a7f-f393-43f0-840f-80c362df9247" providerId="ADAL" clId="{D98D1D94-E5EF-4A5F-8B22-D2A92A3A93DC}" dt="2023-11-04T03:13:41.971" v="1640" actId="1582"/>
          <ac:spMkLst>
            <pc:docMk/>
            <pc:sldMk cId="197804992" sldId="327"/>
            <ac:spMk id="177" creationId="{487FB7CE-6391-0557-0457-FDF49C5984DF}"/>
          </ac:spMkLst>
        </pc:spChg>
        <pc:spChg chg="add del mod ord">
          <ac:chgData name="Roy Chowdhury, Ritwik" userId="bfb84a7f-f393-43f0-840f-80c362df9247" providerId="ADAL" clId="{D98D1D94-E5EF-4A5F-8B22-D2A92A3A93DC}" dt="2023-11-04T03:18:20.303" v="1650" actId="11529"/>
          <ac:spMkLst>
            <pc:docMk/>
            <pc:sldMk cId="197804992" sldId="327"/>
            <ac:spMk id="178" creationId="{A8929E00-F2B2-2D71-763F-7B443D5D31B2}"/>
          </ac:spMkLst>
        </pc:spChg>
        <pc:spChg chg="add del mod">
          <ac:chgData name="Roy Chowdhury, Ritwik" userId="bfb84a7f-f393-43f0-840f-80c362df9247" providerId="ADAL" clId="{D98D1D94-E5EF-4A5F-8B22-D2A92A3A93DC}" dt="2023-11-04T03:18:48.222" v="1653" actId="478"/>
          <ac:spMkLst>
            <pc:docMk/>
            <pc:sldMk cId="197804992" sldId="327"/>
            <ac:spMk id="179" creationId="{FF13F9F6-68D3-D6A5-37CD-66B1EED0BAA3}"/>
          </ac:spMkLst>
        </pc:spChg>
        <pc:spChg chg="add mod">
          <ac:chgData name="Roy Chowdhury, Ritwik" userId="bfb84a7f-f393-43f0-840f-80c362df9247" providerId="ADAL" clId="{D98D1D94-E5EF-4A5F-8B22-D2A92A3A93DC}" dt="2023-11-04T03:27:55.255" v="1688" actId="113"/>
          <ac:spMkLst>
            <pc:docMk/>
            <pc:sldMk cId="197804992" sldId="327"/>
            <ac:spMk id="180" creationId="{5BA9B820-FCD7-17F1-6FC9-5B360C6F77BB}"/>
          </ac:spMkLst>
        </pc:spChg>
        <pc:grpChg chg="add del mod ord">
          <ac:chgData name="Roy Chowdhury, Ritwik" userId="bfb84a7f-f393-43f0-840f-80c362df9247" providerId="ADAL" clId="{D98D1D94-E5EF-4A5F-8B22-D2A92A3A93DC}" dt="2023-11-04T02:33:20.074" v="1295" actId="478"/>
          <ac:grpSpMkLst>
            <pc:docMk/>
            <pc:sldMk cId="197804992" sldId="327"/>
            <ac:grpSpMk id="2" creationId="{B60DC1E1-28D5-0234-EF3D-AAC3CABA34F2}"/>
          </ac:grpSpMkLst>
        </pc:grpChg>
        <pc:grpChg chg="mod topLvl">
          <ac:chgData name="Roy Chowdhury, Ritwik" userId="bfb84a7f-f393-43f0-840f-80c362df9247" providerId="ADAL" clId="{D98D1D94-E5EF-4A5F-8B22-D2A92A3A93DC}" dt="2023-11-04T02:25:22.232" v="1234" actId="164"/>
          <ac:grpSpMkLst>
            <pc:docMk/>
            <pc:sldMk cId="197804992" sldId="327"/>
            <ac:grpSpMk id="5" creationId="{26167172-73FE-C9E1-A480-F53CB04DB96D}"/>
          </ac:grpSpMkLst>
        </pc:grpChg>
        <pc:grpChg chg="mod topLvl">
          <ac:chgData name="Roy Chowdhury, Ritwik" userId="bfb84a7f-f393-43f0-840f-80c362df9247" providerId="ADAL" clId="{D98D1D94-E5EF-4A5F-8B22-D2A92A3A93DC}" dt="2023-11-04T02:25:22.232" v="1234" actId="164"/>
          <ac:grpSpMkLst>
            <pc:docMk/>
            <pc:sldMk cId="197804992" sldId="327"/>
            <ac:grpSpMk id="16" creationId="{124839D5-F410-E5F1-9FE8-373EB2FD53FE}"/>
          </ac:grpSpMkLst>
        </pc:grpChg>
        <pc:grpChg chg="mod topLvl">
          <ac:chgData name="Roy Chowdhury, Ritwik" userId="bfb84a7f-f393-43f0-840f-80c362df9247" providerId="ADAL" clId="{D98D1D94-E5EF-4A5F-8B22-D2A92A3A93DC}" dt="2023-11-04T02:25:22.232" v="1234" actId="164"/>
          <ac:grpSpMkLst>
            <pc:docMk/>
            <pc:sldMk cId="197804992" sldId="327"/>
            <ac:grpSpMk id="31" creationId="{8FC6AC2B-6F70-EF38-BEE4-DE56CED70B48}"/>
          </ac:grpSpMkLst>
        </pc:grpChg>
        <pc:grpChg chg="del">
          <ac:chgData name="Roy Chowdhury, Ritwik" userId="bfb84a7f-f393-43f0-840f-80c362df9247" providerId="ADAL" clId="{D98D1D94-E5EF-4A5F-8B22-D2A92A3A93DC}" dt="2023-11-04T02:42:43.443" v="1333" actId="478"/>
          <ac:grpSpMkLst>
            <pc:docMk/>
            <pc:sldMk cId="197804992" sldId="327"/>
            <ac:grpSpMk id="39" creationId="{3E2602F4-AE69-906C-555E-596378C26133}"/>
          </ac:grpSpMkLst>
        </pc:grpChg>
        <pc:grpChg chg="del">
          <ac:chgData name="Roy Chowdhury, Ritwik" userId="bfb84a7f-f393-43f0-840f-80c362df9247" providerId="ADAL" clId="{D98D1D94-E5EF-4A5F-8B22-D2A92A3A93DC}" dt="2023-11-04T02:42:42.599" v="1332" actId="478"/>
          <ac:grpSpMkLst>
            <pc:docMk/>
            <pc:sldMk cId="197804992" sldId="327"/>
            <ac:grpSpMk id="46" creationId="{8E412032-37C4-ABB2-66E0-C5498FC79E53}"/>
          </ac:grpSpMkLst>
        </pc:grpChg>
        <pc:grpChg chg="del mod">
          <ac:chgData name="Roy Chowdhury, Ritwik" userId="bfb84a7f-f393-43f0-840f-80c362df9247" providerId="ADAL" clId="{D98D1D94-E5EF-4A5F-8B22-D2A92A3A93DC}" dt="2023-11-04T02:25:06.517" v="1232" actId="165"/>
          <ac:grpSpMkLst>
            <pc:docMk/>
            <pc:sldMk cId="197804992" sldId="327"/>
            <ac:grpSpMk id="53" creationId="{CF119613-64C6-DAE8-844A-048F6624F31F}"/>
          </ac:grpSpMkLst>
        </pc:grpChg>
        <pc:grpChg chg="del">
          <ac:chgData name="Roy Chowdhury, Ritwik" userId="bfb84a7f-f393-43f0-840f-80c362df9247" providerId="ADAL" clId="{D98D1D94-E5EF-4A5F-8B22-D2A92A3A93DC}" dt="2023-11-04T02:23:59.064" v="1223" actId="478"/>
          <ac:grpSpMkLst>
            <pc:docMk/>
            <pc:sldMk cId="197804992" sldId="327"/>
            <ac:grpSpMk id="54" creationId="{31A586CB-E11F-E119-819E-6FE4F9E7632D}"/>
          </ac:grpSpMkLst>
        </pc:grpChg>
        <pc:grpChg chg="del">
          <ac:chgData name="Roy Chowdhury, Ritwik" userId="bfb84a7f-f393-43f0-840f-80c362df9247" providerId="ADAL" clId="{D98D1D94-E5EF-4A5F-8B22-D2A92A3A93DC}" dt="2023-11-04T02:23:59.874" v="1224" actId="478"/>
          <ac:grpSpMkLst>
            <pc:docMk/>
            <pc:sldMk cId="197804992" sldId="327"/>
            <ac:grpSpMk id="71" creationId="{C9C3B9A6-89C8-C4E6-CC9B-55A48A60BEE6}"/>
          </ac:grpSpMkLst>
        </pc:grpChg>
        <pc:grpChg chg="add mod">
          <ac:chgData name="Roy Chowdhury, Ritwik" userId="bfb84a7f-f393-43f0-840f-80c362df9247" providerId="ADAL" clId="{D98D1D94-E5EF-4A5F-8B22-D2A92A3A93DC}" dt="2023-11-04T02:25:22.232" v="1234" actId="164"/>
          <ac:grpSpMkLst>
            <pc:docMk/>
            <pc:sldMk cId="197804992" sldId="327"/>
            <ac:grpSpMk id="97" creationId="{30C45834-34AB-E317-D808-340D79375F7F}"/>
          </ac:grpSpMkLst>
        </pc:grpChg>
        <pc:grpChg chg="add mod">
          <ac:chgData name="Roy Chowdhury, Ritwik" userId="bfb84a7f-f393-43f0-840f-80c362df9247" providerId="ADAL" clId="{D98D1D94-E5EF-4A5F-8B22-D2A92A3A93DC}" dt="2023-11-04T02:27:02.632" v="1252" actId="164"/>
          <ac:grpSpMkLst>
            <pc:docMk/>
            <pc:sldMk cId="197804992" sldId="327"/>
            <ac:grpSpMk id="98" creationId="{967F0A0A-E53D-FB2F-9FDA-834BCE6A166E}"/>
          </ac:grpSpMkLst>
        </pc:grpChg>
        <pc:grpChg chg="mod">
          <ac:chgData name="Roy Chowdhury, Ritwik" userId="bfb84a7f-f393-43f0-840f-80c362df9247" providerId="ADAL" clId="{D98D1D94-E5EF-4A5F-8B22-D2A92A3A93DC}" dt="2023-11-04T02:25:24.929" v="1235"/>
          <ac:grpSpMkLst>
            <pc:docMk/>
            <pc:sldMk cId="197804992" sldId="327"/>
            <ac:grpSpMk id="99" creationId="{C3FA2F89-77E5-6683-1905-D4E6BDBB0824}"/>
          </ac:grpSpMkLst>
        </pc:grpChg>
        <pc:grpChg chg="del mod">
          <ac:chgData name="Roy Chowdhury, Ritwik" userId="bfb84a7f-f393-43f0-840f-80c362df9247" providerId="ADAL" clId="{D98D1D94-E5EF-4A5F-8B22-D2A92A3A93DC}" dt="2023-11-04T02:27:19.334" v="1257" actId="478"/>
          <ac:grpSpMkLst>
            <pc:docMk/>
            <pc:sldMk cId="197804992" sldId="327"/>
            <ac:grpSpMk id="103" creationId="{9FCF821D-CD58-3D99-F2D6-ABECCDB7B938}"/>
          </ac:grpSpMkLst>
        </pc:grpChg>
        <pc:grpChg chg="mod">
          <ac:chgData name="Roy Chowdhury, Ritwik" userId="bfb84a7f-f393-43f0-840f-80c362df9247" providerId="ADAL" clId="{D98D1D94-E5EF-4A5F-8B22-D2A92A3A93DC}" dt="2023-11-04T02:25:24.929" v="1235"/>
          <ac:grpSpMkLst>
            <pc:docMk/>
            <pc:sldMk cId="197804992" sldId="327"/>
            <ac:grpSpMk id="104" creationId="{4BFB7AA7-29B1-607E-3E5E-82047C20F3EA}"/>
          </ac:grpSpMkLst>
        </pc:grpChg>
        <pc:grpChg chg="add mod">
          <ac:chgData name="Roy Chowdhury, Ritwik" userId="bfb84a7f-f393-43f0-840f-80c362df9247" providerId="ADAL" clId="{D98D1D94-E5EF-4A5F-8B22-D2A92A3A93DC}" dt="2023-11-04T02:27:08.162" v="1253" actId="164"/>
          <ac:grpSpMkLst>
            <pc:docMk/>
            <pc:sldMk cId="197804992" sldId="327"/>
            <ac:grpSpMk id="115" creationId="{5AA0E237-6361-FF15-AEAE-7B74B6410C88}"/>
          </ac:grpSpMkLst>
        </pc:grpChg>
        <pc:grpChg chg="mod">
          <ac:chgData name="Roy Chowdhury, Ritwik" userId="bfb84a7f-f393-43f0-840f-80c362df9247" providerId="ADAL" clId="{D98D1D94-E5EF-4A5F-8B22-D2A92A3A93DC}" dt="2023-11-04T02:25:30.261" v="1237"/>
          <ac:grpSpMkLst>
            <pc:docMk/>
            <pc:sldMk cId="197804992" sldId="327"/>
            <ac:grpSpMk id="116" creationId="{68290422-2CD2-A4DC-F91E-29A8F39711F3}"/>
          </ac:grpSpMkLst>
        </pc:grpChg>
        <pc:grpChg chg="del mod">
          <ac:chgData name="Roy Chowdhury, Ritwik" userId="bfb84a7f-f393-43f0-840f-80c362df9247" providerId="ADAL" clId="{D98D1D94-E5EF-4A5F-8B22-D2A92A3A93DC}" dt="2023-11-04T02:29:58.192" v="1280" actId="478"/>
          <ac:grpSpMkLst>
            <pc:docMk/>
            <pc:sldMk cId="197804992" sldId="327"/>
            <ac:grpSpMk id="120" creationId="{23B5B56A-E3F1-B7D8-A201-B52B05CC4743}"/>
          </ac:grpSpMkLst>
        </pc:grpChg>
        <pc:grpChg chg="mod">
          <ac:chgData name="Roy Chowdhury, Ritwik" userId="bfb84a7f-f393-43f0-840f-80c362df9247" providerId="ADAL" clId="{D98D1D94-E5EF-4A5F-8B22-D2A92A3A93DC}" dt="2023-11-04T02:25:30.261" v="1237"/>
          <ac:grpSpMkLst>
            <pc:docMk/>
            <pc:sldMk cId="197804992" sldId="327"/>
            <ac:grpSpMk id="121" creationId="{FCCBEC96-5EA7-CF71-C21C-E5429100E5A0}"/>
          </ac:grpSpMkLst>
        </pc:grpChg>
        <pc:grpChg chg="add mod">
          <ac:chgData name="Roy Chowdhury, Ritwik" userId="bfb84a7f-f393-43f0-840f-80c362df9247" providerId="ADAL" clId="{D98D1D94-E5EF-4A5F-8B22-D2A92A3A93DC}" dt="2023-11-04T02:31:36.556" v="1292" actId="1076"/>
          <ac:grpSpMkLst>
            <pc:docMk/>
            <pc:sldMk cId="197804992" sldId="327"/>
            <ac:grpSpMk id="132" creationId="{65F2F0AC-AC60-034C-6D32-4653BAADC4C7}"/>
          </ac:grpSpMkLst>
        </pc:grpChg>
        <pc:grpChg chg="add mod">
          <ac:chgData name="Roy Chowdhury, Ritwik" userId="bfb84a7f-f393-43f0-840f-80c362df9247" providerId="ADAL" clId="{D98D1D94-E5EF-4A5F-8B22-D2A92A3A93DC}" dt="2023-11-04T02:41:47.764" v="1323" actId="1076"/>
          <ac:grpSpMkLst>
            <pc:docMk/>
            <pc:sldMk cId="197804992" sldId="327"/>
            <ac:grpSpMk id="133" creationId="{A496F619-4C50-8F7E-DC40-984D256D8F3C}"/>
          </ac:grpSpMkLst>
        </pc:grpChg>
        <pc:grpChg chg="add del mod">
          <ac:chgData name="Roy Chowdhury, Ritwik" userId="bfb84a7f-f393-43f0-840f-80c362df9247" providerId="ADAL" clId="{D98D1D94-E5EF-4A5F-8B22-D2A92A3A93DC}" dt="2023-11-04T02:41:31.162" v="1316" actId="478"/>
          <ac:grpSpMkLst>
            <pc:docMk/>
            <pc:sldMk cId="197804992" sldId="327"/>
            <ac:grpSpMk id="138" creationId="{EAA0B2E6-F781-D0F2-F2A7-A90E0DBA2A0D}"/>
          </ac:grpSpMkLst>
        </pc:grpChg>
        <pc:grpChg chg="add mod">
          <ac:chgData name="Roy Chowdhury, Ritwik" userId="bfb84a7f-f393-43f0-840f-80c362df9247" providerId="ADAL" clId="{D98D1D94-E5EF-4A5F-8B22-D2A92A3A93DC}" dt="2023-11-04T03:00:16.054" v="1446" actId="164"/>
          <ac:grpSpMkLst>
            <pc:docMk/>
            <pc:sldMk cId="197804992" sldId="327"/>
            <ac:grpSpMk id="169" creationId="{04E266D2-2962-004B-7B0A-962C29788C59}"/>
          </ac:grpSpMkLst>
        </pc:grpChg>
        <pc:grpChg chg="add del mod">
          <ac:chgData name="Roy Chowdhury, Ritwik" userId="bfb84a7f-f393-43f0-840f-80c362df9247" providerId="ADAL" clId="{D98D1D94-E5EF-4A5F-8B22-D2A92A3A93DC}" dt="2023-11-04T03:03:41.006" v="1453" actId="478"/>
          <ac:grpSpMkLst>
            <pc:docMk/>
            <pc:sldMk cId="197804992" sldId="327"/>
            <ac:grpSpMk id="173" creationId="{A38F2D97-0E76-383A-968E-EB119FBA32CD}"/>
          </ac:grpSpMkLst>
        </pc:grpChg>
        <pc:picChg chg="add mod">
          <ac:chgData name="Roy Chowdhury, Ritwik" userId="bfb84a7f-f393-43f0-840f-80c362df9247" providerId="ADAL" clId="{D98D1D94-E5EF-4A5F-8B22-D2A92A3A93DC}" dt="2023-11-04T02:34:28.535" v="1307" actId="14861"/>
          <ac:picMkLst>
            <pc:docMk/>
            <pc:sldMk cId="197804992" sldId="327"/>
            <ac:picMk id="137" creationId="{87A52858-1B41-D7B2-FD40-42214BA2B154}"/>
          </ac:picMkLst>
        </pc:picChg>
        <pc:picChg chg="add mod">
          <ac:chgData name="Roy Chowdhury, Ritwik" userId="bfb84a7f-f393-43f0-840f-80c362df9247" providerId="ADAL" clId="{D98D1D94-E5EF-4A5F-8B22-D2A92A3A93DC}" dt="2023-11-04T02:42:29.331" v="1328" actId="14861"/>
          <ac:picMkLst>
            <pc:docMk/>
            <pc:sldMk cId="197804992" sldId="327"/>
            <ac:picMk id="157" creationId="{755ACF86-A8EA-7683-CAD7-05011C2465F2}"/>
          </ac:picMkLst>
        </pc:picChg>
        <pc:cxnChg chg="add del">
          <ac:chgData name="Roy Chowdhury, Ritwik" userId="bfb84a7f-f393-43f0-840f-80c362df9247" providerId="ADAL" clId="{D98D1D94-E5EF-4A5F-8B22-D2A92A3A93DC}" dt="2023-11-04T02:44:39.482" v="1335" actId="11529"/>
          <ac:cxnSpMkLst>
            <pc:docMk/>
            <pc:sldMk cId="197804992" sldId="327"/>
            <ac:cxnSpMk id="159" creationId="{A60A647B-028E-F452-DF68-6BFA59B61D83}"/>
          </ac:cxnSpMkLst>
        </pc:cxnChg>
        <pc:cxnChg chg="add del">
          <ac:chgData name="Roy Chowdhury, Ritwik" userId="bfb84a7f-f393-43f0-840f-80c362df9247" providerId="ADAL" clId="{D98D1D94-E5EF-4A5F-8B22-D2A92A3A93DC}" dt="2023-11-04T02:44:50.161" v="1337" actId="11529"/>
          <ac:cxnSpMkLst>
            <pc:docMk/>
            <pc:sldMk cId="197804992" sldId="327"/>
            <ac:cxnSpMk id="161" creationId="{E01F5F1C-8DE6-47C1-C7F8-62D0859D04B0}"/>
          </ac:cxnSpMkLst>
        </pc:cxnChg>
        <pc:cxnChg chg="add del">
          <ac:chgData name="Roy Chowdhury, Ritwik" userId="bfb84a7f-f393-43f0-840f-80c362df9247" providerId="ADAL" clId="{D98D1D94-E5EF-4A5F-8B22-D2A92A3A93DC}" dt="2023-11-04T02:46:05.304" v="1341" actId="478"/>
          <ac:cxnSpMkLst>
            <pc:docMk/>
            <pc:sldMk cId="197804992" sldId="327"/>
            <ac:cxnSpMk id="164" creationId="{FA5A84C4-412C-EE50-B587-4F8C8821765F}"/>
          </ac:cxnSpMkLst>
        </pc:cxnChg>
        <pc:cxnChg chg="add del">
          <ac:chgData name="Roy Chowdhury, Ritwik" userId="bfb84a7f-f393-43f0-840f-80c362df9247" providerId="ADAL" clId="{D98D1D94-E5EF-4A5F-8B22-D2A92A3A93DC}" dt="2023-11-04T02:48:12.943" v="1345" actId="11529"/>
          <ac:cxnSpMkLst>
            <pc:docMk/>
            <pc:sldMk cId="197804992" sldId="327"/>
            <ac:cxnSpMk id="167" creationId="{E95A2C4A-D6EF-75D3-68BC-B737AE60CF5C}"/>
          </ac:cxnSpMkLst>
        </pc:cxnChg>
      </pc:sldChg>
      <pc:sldChg chg="addSp delSp modSp add mod modShow">
        <pc:chgData name="Roy Chowdhury, Ritwik" userId="bfb84a7f-f393-43f0-840f-80c362df9247" providerId="ADAL" clId="{D98D1D94-E5EF-4A5F-8B22-D2A92A3A93DC}" dt="2023-11-05T05:08:58.241" v="3981" actId="729"/>
        <pc:sldMkLst>
          <pc:docMk/>
          <pc:sldMk cId="1207637406" sldId="328"/>
        </pc:sldMkLst>
        <pc:spChg chg="add mod">
          <ac:chgData name="Roy Chowdhury, Ritwik" userId="bfb84a7f-f393-43f0-840f-80c362df9247" providerId="ADAL" clId="{D98D1D94-E5EF-4A5F-8B22-D2A92A3A93DC}" dt="2023-11-04T04:12:46.004" v="1861" actId="1076"/>
          <ac:spMkLst>
            <pc:docMk/>
            <pc:sldMk cId="1207637406" sldId="328"/>
            <ac:spMk id="2" creationId="{9AACCD6F-29D7-0BFF-21A2-1AEC14949097}"/>
          </ac:spMkLst>
        </pc:spChg>
        <pc:spChg chg="add del mod">
          <ac:chgData name="Roy Chowdhury, Ritwik" userId="bfb84a7f-f393-43f0-840f-80c362df9247" providerId="ADAL" clId="{D98D1D94-E5EF-4A5F-8B22-D2A92A3A93DC}" dt="2023-11-04T03:58:48.201" v="1775" actId="478"/>
          <ac:spMkLst>
            <pc:docMk/>
            <pc:sldMk cId="1207637406" sldId="328"/>
            <ac:spMk id="3" creationId="{4AD2D948-8368-187B-F11E-6869E3832FFA}"/>
          </ac:spMkLst>
        </pc:spChg>
        <pc:spChg chg="del mod topLvl">
          <ac:chgData name="Roy Chowdhury, Ritwik" userId="bfb84a7f-f393-43f0-840f-80c362df9247" providerId="ADAL" clId="{D98D1D94-E5EF-4A5F-8B22-D2A92A3A93DC}" dt="2023-11-04T03:57:56.666" v="1766" actId="478"/>
          <ac:spMkLst>
            <pc:docMk/>
            <pc:sldMk cId="1207637406" sldId="328"/>
            <ac:spMk id="6" creationId="{021B9ED2-F2BA-A63D-1DF1-37F86F983EFD}"/>
          </ac:spMkLst>
        </pc:spChg>
        <pc:spChg chg="add del mod topLvl">
          <ac:chgData name="Roy Chowdhury, Ritwik" userId="bfb84a7f-f393-43f0-840f-80c362df9247" providerId="ADAL" clId="{D98D1D94-E5EF-4A5F-8B22-D2A92A3A93DC}" dt="2023-11-04T03:58:34.490" v="1772" actId="478"/>
          <ac:spMkLst>
            <pc:docMk/>
            <pc:sldMk cId="1207637406" sldId="328"/>
            <ac:spMk id="7" creationId="{4905F83D-11C4-DFE9-8EBF-AD854E795094}"/>
          </ac:spMkLst>
        </pc:spChg>
        <pc:spChg chg="add del mod">
          <ac:chgData name="Roy Chowdhury, Ritwik" userId="bfb84a7f-f393-43f0-840f-80c362df9247" providerId="ADAL" clId="{D98D1D94-E5EF-4A5F-8B22-D2A92A3A93DC}" dt="2023-11-04T04:00:41.777" v="1792" actId="478"/>
          <ac:spMkLst>
            <pc:docMk/>
            <pc:sldMk cId="1207637406" sldId="328"/>
            <ac:spMk id="8" creationId="{C1DA1EE6-F132-227C-7EBA-0385903FFC36}"/>
          </ac:spMkLst>
        </pc:spChg>
        <pc:spChg chg="add mod">
          <ac:chgData name="Roy Chowdhury, Ritwik" userId="bfb84a7f-f393-43f0-840f-80c362df9247" providerId="ADAL" clId="{D98D1D94-E5EF-4A5F-8B22-D2A92A3A93DC}" dt="2023-11-04T04:09:49.226" v="1834" actId="164"/>
          <ac:spMkLst>
            <pc:docMk/>
            <pc:sldMk cId="1207637406" sldId="328"/>
            <ac:spMk id="9" creationId="{CC9B3DD9-1D05-8F17-36F2-F61889FB0D93}"/>
          </ac:spMkLst>
        </pc:spChg>
        <pc:spChg chg="add del mod">
          <ac:chgData name="Roy Chowdhury, Ritwik" userId="bfb84a7f-f393-43f0-840f-80c362df9247" providerId="ADAL" clId="{D98D1D94-E5EF-4A5F-8B22-D2A92A3A93DC}" dt="2023-11-04T04:01:34.505" v="1799" actId="478"/>
          <ac:spMkLst>
            <pc:docMk/>
            <pc:sldMk cId="1207637406" sldId="328"/>
            <ac:spMk id="10" creationId="{8A7298B9-9870-A111-1057-F64B29DB37B7}"/>
          </ac:spMkLst>
        </pc:spChg>
        <pc:spChg chg="del">
          <ac:chgData name="Roy Chowdhury, Ritwik" userId="bfb84a7f-f393-43f0-840f-80c362df9247" providerId="ADAL" clId="{D98D1D94-E5EF-4A5F-8B22-D2A92A3A93DC}" dt="2023-11-04T03:56:46.890" v="1753" actId="478"/>
          <ac:spMkLst>
            <pc:docMk/>
            <pc:sldMk cId="1207637406" sldId="328"/>
            <ac:spMk id="11" creationId="{7C14971F-A9AF-47B8-9383-B0720E13101D}"/>
          </ac:spMkLst>
        </pc:spChg>
        <pc:spChg chg="add mod">
          <ac:chgData name="Roy Chowdhury, Ritwik" userId="bfb84a7f-f393-43f0-840f-80c362df9247" providerId="ADAL" clId="{D98D1D94-E5EF-4A5F-8B22-D2A92A3A93DC}" dt="2023-11-04T04:14:48.851" v="1872" actId="14861"/>
          <ac:spMkLst>
            <pc:docMk/>
            <pc:sldMk cId="1207637406" sldId="328"/>
            <ac:spMk id="12" creationId="{FE507E26-6F79-D384-DD80-4C7B28B1572B}"/>
          </ac:spMkLst>
        </pc:spChg>
        <pc:spChg chg="add mod">
          <ac:chgData name="Roy Chowdhury, Ritwik" userId="bfb84a7f-f393-43f0-840f-80c362df9247" providerId="ADAL" clId="{D98D1D94-E5EF-4A5F-8B22-D2A92A3A93DC}" dt="2023-11-04T04:14:58.040" v="1873" actId="14861"/>
          <ac:spMkLst>
            <pc:docMk/>
            <pc:sldMk cId="1207637406" sldId="328"/>
            <ac:spMk id="13" creationId="{E4DCABB0-B898-F9BF-6A5D-42D090581A63}"/>
          </ac:spMkLst>
        </pc:spChg>
        <pc:spChg chg="del">
          <ac:chgData name="Roy Chowdhury, Ritwik" userId="bfb84a7f-f393-43f0-840f-80c362df9247" providerId="ADAL" clId="{D98D1D94-E5EF-4A5F-8B22-D2A92A3A93DC}" dt="2023-11-04T03:56:32.298" v="1745" actId="478"/>
          <ac:spMkLst>
            <pc:docMk/>
            <pc:sldMk cId="1207637406" sldId="328"/>
            <ac:spMk id="14" creationId="{3DC10EA3-0958-5B61-28F4-0706064192C3}"/>
          </ac:spMkLst>
        </pc:spChg>
        <pc:spChg chg="mod ord topLvl">
          <ac:chgData name="Roy Chowdhury, Ritwik" userId="bfb84a7f-f393-43f0-840f-80c362df9247" providerId="ADAL" clId="{D98D1D94-E5EF-4A5F-8B22-D2A92A3A93DC}" dt="2023-11-04T04:13:01.340" v="1865" actId="1076"/>
          <ac:spMkLst>
            <pc:docMk/>
            <pc:sldMk cId="1207637406" sldId="328"/>
            <ac:spMk id="15" creationId="{4A3F6291-0A57-72EE-63AE-B5C77FBBDACE}"/>
          </ac:spMkLst>
        </pc:spChg>
        <pc:spChg chg="del">
          <ac:chgData name="Roy Chowdhury, Ritwik" userId="bfb84a7f-f393-43f0-840f-80c362df9247" providerId="ADAL" clId="{D98D1D94-E5EF-4A5F-8B22-D2A92A3A93DC}" dt="2023-11-04T03:56:50.330" v="1755" actId="478"/>
          <ac:spMkLst>
            <pc:docMk/>
            <pc:sldMk cId="1207637406" sldId="328"/>
            <ac:spMk id="17" creationId="{0BA73DD0-4183-9930-C792-72E22CE9CD25}"/>
          </ac:spMkLst>
        </pc:spChg>
        <pc:spChg chg="del">
          <ac:chgData name="Roy Chowdhury, Ritwik" userId="bfb84a7f-f393-43f0-840f-80c362df9247" providerId="ADAL" clId="{D98D1D94-E5EF-4A5F-8B22-D2A92A3A93DC}" dt="2023-11-04T03:56:48.685" v="1754" actId="478"/>
          <ac:spMkLst>
            <pc:docMk/>
            <pc:sldMk cId="1207637406" sldId="328"/>
            <ac:spMk id="18" creationId="{47FC5D97-199F-5B87-33B7-44C619970944}"/>
          </ac:spMkLst>
        </pc:spChg>
        <pc:spChg chg="del">
          <ac:chgData name="Roy Chowdhury, Ritwik" userId="bfb84a7f-f393-43f0-840f-80c362df9247" providerId="ADAL" clId="{D98D1D94-E5EF-4A5F-8B22-D2A92A3A93DC}" dt="2023-11-04T03:56:59.451" v="1758" actId="478"/>
          <ac:spMkLst>
            <pc:docMk/>
            <pc:sldMk cId="1207637406" sldId="328"/>
            <ac:spMk id="19" creationId="{E5C3A4E3-8BD7-5BAD-CCD5-B4B6DF479917}"/>
          </ac:spMkLst>
        </pc:spChg>
        <pc:spChg chg="del">
          <ac:chgData name="Roy Chowdhury, Ritwik" userId="bfb84a7f-f393-43f0-840f-80c362df9247" providerId="ADAL" clId="{D98D1D94-E5EF-4A5F-8B22-D2A92A3A93DC}" dt="2023-11-04T03:56:56.307" v="1757" actId="478"/>
          <ac:spMkLst>
            <pc:docMk/>
            <pc:sldMk cId="1207637406" sldId="328"/>
            <ac:spMk id="20" creationId="{142DCFE9-C3BB-1E92-EEE6-A60E7C99E24F}"/>
          </ac:spMkLst>
        </pc:spChg>
        <pc:spChg chg="del">
          <ac:chgData name="Roy Chowdhury, Ritwik" userId="bfb84a7f-f393-43f0-840f-80c362df9247" providerId="ADAL" clId="{D98D1D94-E5EF-4A5F-8B22-D2A92A3A93DC}" dt="2023-11-04T03:56:52.642" v="1756" actId="478"/>
          <ac:spMkLst>
            <pc:docMk/>
            <pc:sldMk cId="1207637406" sldId="328"/>
            <ac:spMk id="21" creationId="{11960645-3837-EF6C-9689-6BBD05686E49}"/>
          </ac:spMkLst>
        </pc:spChg>
        <pc:spChg chg="add mod">
          <ac:chgData name="Roy Chowdhury, Ritwik" userId="bfb84a7f-f393-43f0-840f-80c362df9247" providerId="ADAL" clId="{D98D1D94-E5EF-4A5F-8B22-D2A92A3A93DC}" dt="2023-11-04T04:12:54.571" v="1864" actId="1076"/>
          <ac:spMkLst>
            <pc:docMk/>
            <pc:sldMk cId="1207637406" sldId="328"/>
            <ac:spMk id="23" creationId="{814BFF31-1331-7CEC-C5E2-A004AB58B343}"/>
          </ac:spMkLst>
        </pc:spChg>
        <pc:spChg chg="del">
          <ac:chgData name="Roy Chowdhury, Ritwik" userId="bfb84a7f-f393-43f0-840f-80c362df9247" providerId="ADAL" clId="{D98D1D94-E5EF-4A5F-8B22-D2A92A3A93DC}" dt="2023-11-04T03:57:06.595" v="1760" actId="478"/>
          <ac:spMkLst>
            <pc:docMk/>
            <pc:sldMk cId="1207637406" sldId="328"/>
            <ac:spMk id="24" creationId="{7066E6DF-D6AD-9BAE-2866-62B2B7C86AF8}"/>
          </ac:spMkLst>
        </pc:spChg>
        <pc:spChg chg="del">
          <ac:chgData name="Roy Chowdhury, Ritwik" userId="bfb84a7f-f393-43f0-840f-80c362df9247" providerId="ADAL" clId="{D98D1D94-E5EF-4A5F-8B22-D2A92A3A93DC}" dt="2023-11-04T03:57:08.440" v="1761" actId="478"/>
          <ac:spMkLst>
            <pc:docMk/>
            <pc:sldMk cId="1207637406" sldId="328"/>
            <ac:spMk id="28" creationId="{768F2B62-0C12-7D9E-6CDE-15EC7400F837}"/>
          </ac:spMkLst>
        </pc:spChg>
        <pc:spChg chg="del">
          <ac:chgData name="Roy Chowdhury, Ritwik" userId="bfb84a7f-f393-43f0-840f-80c362df9247" providerId="ADAL" clId="{D98D1D94-E5EF-4A5F-8B22-D2A92A3A93DC}" dt="2023-11-04T03:57:04.411" v="1759" actId="478"/>
          <ac:spMkLst>
            <pc:docMk/>
            <pc:sldMk cId="1207637406" sldId="328"/>
            <ac:spMk id="30" creationId="{01EF64CA-7D03-AB1F-6B23-2013A3BB9EEB}"/>
          </ac:spMkLst>
        </pc:spChg>
        <pc:spChg chg="mod topLvl">
          <ac:chgData name="Roy Chowdhury, Ritwik" userId="bfb84a7f-f393-43f0-840f-80c362df9247" providerId="ADAL" clId="{D98D1D94-E5EF-4A5F-8B22-D2A92A3A93DC}" dt="2023-11-04T04:21:10.476" v="1918" actId="1582"/>
          <ac:spMkLst>
            <pc:docMk/>
            <pc:sldMk cId="1207637406" sldId="328"/>
            <ac:spMk id="36" creationId="{F521F989-5C3F-0C27-F3DA-4A87A61E0766}"/>
          </ac:spMkLst>
        </pc:spChg>
        <pc:spChg chg="mod topLvl">
          <ac:chgData name="Roy Chowdhury, Ritwik" userId="bfb84a7f-f393-43f0-840f-80c362df9247" providerId="ADAL" clId="{D98D1D94-E5EF-4A5F-8B22-D2A92A3A93DC}" dt="2023-11-04T04:21:10.476" v="1918" actId="1582"/>
          <ac:spMkLst>
            <pc:docMk/>
            <pc:sldMk cId="1207637406" sldId="328"/>
            <ac:spMk id="37" creationId="{297A9409-02EF-D84F-B36B-3C745A999CF0}"/>
          </ac:spMkLst>
        </pc:spChg>
        <pc:spChg chg="mod topLvl">
          <ac:chgData name="Roy Chowdhury, Ritwik" userId="bfb84a7f-f393-43f0-840f-80c362df9247" providerId="ADAL" clId="{D98D1D94-E5EF-4A5F-8B22-D2A92A3A93DC}" dt="2023-11-04T04:11:17.656" v="1853" actId="338"/>
          <ac:spMkLst>
            <pc:docMk/>
            <pc:sldMk cId="1207637406" sldId="328"/>
            <ac:spMk id="39" creationId="{634DDF1C-BF48-0BF7-DCC9-3FE8CC7E41D2}"/>
          </ac:spMkLst>
        </pc:spChg>
        <pc:spChg chg="mod topLvl">
          <ac:chgData name="Roy Chowdhury, Ritwik" userId="bfb84a7f-f393-43f0-840f-80c362df9247" providerId="ADAL" clId="{D98D1D94-E5EF-4A5F-8B22-D2A92A3A93DC}" dt="2023-11-04T04:12:30.735" v="1858" actId="1076"/>
          <ac:spMkLst>
            <pc:docMk/>
            <pc:sldMk cId="1207637406" sldId="328"/>
            <ac:spMk id="40" creationId="{ECF66D27-798E-CE07-399B-A988EFF9E11D}"/>
          </ac:spMkLst>
        </pc:spChg>
        <pc:spChg chg="mod">
          <ac:chgData name="Roy Chowdhury, Ritwik" userId="bfb84a7f-f393-43f0-840f-80c362df9247" providerId="ADAL" clId="{D98D1D94-E5EF-4A5F-8B22-D2A92A3A93DC}" dt="2023-11-04T04:14:12.884" v="1868" actId="14100"/>
          <ac:spMkLst>
            <pc:docMk/>
            <pc:sldMk cId="1207637406" sldId="328"/>
            <ac:spMk id="41" creationId="{C781A515-BE20-ACA7-DCBF-3A4A67FAC9BB}"/>
          </ac:spMkLst>
        </pc:spChg>
        <pc:spChg chg="mod">
          <ac:chgData name="Roy Chowdhury, Ritwik" userId="bfb84a7f-f393-43f0-840f-80c362df9247" providerId="ADAL" clId="{D98D1D94-E5EF-4A5F-8B22-D2A92A3A93DC}" dt="2023-11-04T04:14:20.199" v="1871" actId="1076"/>
          <ac:spMkLst>
            <pc:docMk/>
            <pc:sldMk cId="1207637406" sldId="328"/>
            <ac:spMk id="42" creationId="{737560A8-14BC-7EDB-5622-DF5F989FE676}"/>
          </ac:spMkLst>
        </pc:spChg>
        <pc:spChg chg="mod">
          <ac:chgData name="Roy Chowdhury, Ritwik" userId="bfb84a7f-f393-43f0-840f-80c362df9247" providerId="ADAL" clId="{D98D1D94-E5EF-4A5F-8B22-D2A92A3A93DC}" dt="2023-11-04T04:19:43.858" v="1917" actId="1582"/>
          <ac:spMkLst>
            <pc:docMk/>
            <pc:sldMk cId="1207637406" sldId="328"/>
            <ac:spMk id="45" creationId="{E5EEFBE5-4BCC-AD02-A244-B63E79F89E3E}"/>
          </ac:spMkLst>
        </pc:spChg>
        <pc:spChg chg="mod">
          <ac:chgData name="Roy Chowdhury, Ritwik" userId="bfb84a7f-f393-43f0-840f-80c362df9247" providerId="ADAL" clId="{D98D1D94-E5EF-4A5F-8B22-D2A92A3A93DC}" dt="2023-11-04T04:19:43.858" v="1917" actId="1582"/>
          <ac:spMkLst>
            <pc:docMk/>
            <pc:sldMk cId="1207637406" sldId="328"/>
            <ac:spMk id="46" creationId="{34BCA7BD-02E2-3945-3A36-F59F9EF3A413}"/>
          </ac:spMkLst>
        </pc:spChg>
        <pc:spChg chg="mod">
          <ac:chgData name="Roy Chowdhury, Ritwik" userId="bfb84a7f-f393-43f0-840f-80c362df9247" providerId="ADAL" clId="{D98D1D94-E5EF-4A5F-8B22-D2A92A3A93DC}" dt="2023-11-04T04:15:54.110" v="1879"/>
          <ac:spMkLst>
            <pc:docMk/>
            <pc:sldMk cId="1207637406" sldId="328"/>
            <ac:spMk id="48" creationId="{8E3AFDF7-B5D5-F6AF-9826-978862238D6F}"/>
          </ac:spMkLst>
        </pc:spChg>
        <pc:spChg chg="mod">
          <ac:chgData name="Roy Chowdhury, Ritwik" userId="bfb84a7f-f393-43f0-840f-80c362df9247" providerId="ADAL" clId="{D98D1D94-E5EF-4A5F-8B22-D2A92A3A93DC}" dt="2023-11-04T04:15:54.110" v="1879"/>
          <ac:spMkLst>
            <pc:docMk/>
            <pc:sldMk cId="1207637406" sldId="328"/>
            <ac:spMk id="49" creationId="{500EB067-F212-0B0D-DE10-67F2F0DE43F9}"/>
          </ac:spMkLst>
        </pc:spChg>
        <pc:spChg chg="mod">
          <ac:chgData name="Roy Chowdhury, Ritwik" userId="bfb84a7f-f393-43f0-840f-80c362df9247" providerId="ADAL" clId="{D98D1D94-E5EF-4A5F-8B22-D2A92A3A93DC}" dt="2023-11-04T04:15:54.110" v="1879"/>
          <ac:spMkLst>
            <pc:docMk/>
            <pc:sldMk cId="1207637406" sldId="328"/>
            <ac:spMk id="50" creationId="{67937100-8696-DC67-5784-4700BA93AF89}"/>
          </ac:spMkLst>
        </pc:spChg>
        <pc:spChg chg="mod">
          <ac:chgData name="Roy Chowdhury, Ritwik" userId="bfb84a7f-f393-43f0-840f-80c362df9247" providerId="ADAL" clId="{D98D1D94-E5EF-4A5F-8B22-D2A92A3A93DC}" dt="2023-11-04T04:15:54.110" v="1879"/>
          <ac:spMkLst>
            <pc:docMk/>
            <pc:sldMk cId="1207637406" sldId="328"/>
            <ac:spMk id="51" creationId="{E6E95FD3-04C6-C515-17D7-27756C625208}"/>
          </ac:spMkLst>
        </pc:spChg>
        <pc:spChg chg="mod">
          <ac:chgData name="Roy Chowdhury, Ritwik" userId="bfb84a7f-f393-43f0-840f-80c362df9247" providerId="ADAL" clId="{D98D1D94-E5EF-4A5F-8B22-D2A92A3A93DC}" dt="2023-11-04T04:19:18.680" v="1916" actId="1582"/>
          <ac:spMkLst>
            <pc:docMk/>
            <pc:sldMk cId="1207637406" sldId="328"/>
            <ac:spMk id="53" creationId="{F464A85F-FB51-8D2D-1DDB-110930F6A386}"/>
          </ac:spMkLst>
        </pc:spChg>
        <pc:spChg chg="mod">
          <ac:chgData name="Roy Chowdhury, Ritwik" userId="bfb84a7f-f393-43f0-840f-80c362df9247" providerId="ADAL" clId="{D98D1D94-E5EF-4A5F-8B22-D2A92A3A93DC}" dt="2023-11-04T04:19:18.680" v="1916" actId="1582"/>
          <ac:spMkLst>
            <pc:docMk/>
            <pc:sldMk cId="1207637406" sldId="328"/>
            <ac:spMk id="54" creationId="{36281F7C-9CE7-9321-8DAA-16BADB5C4E3C}"/>
          </ac:spMkLst>
        </pc:spChg>
        <pc:spChg chg="mod">
          <ac:chgData name="Roy Chowdhury, Ritwik" userId="bfb84a7f-f393-43f0-840f-80c362df9247" providerId="ADAL" clId="{D98D1D94-E5EF-4A5F-8B22-D2A92A3A93DC}" dt="2023-11-04T04:16:24.050" v="1883"/>
          <ac:spMkLst>
            <pc:docMk/>
            <pc:sldMk cId="1207637406" sldId="328"/>
            <ac:spMk id="56" creationId="{5EEDA1EF-E9B4-1CBD-D68B-51EA73CA84D0}"/>
          </ac:spMkLst>
        </pc:spChg>
        <pc:spChg chg="del mod">
          <ac:chgData name="Roy Chowdhury, Ritwik" userId="bfb84a7f-f393-43f0-840f-80c362df9247" providerId="ADAL" clId="{D98D1D94-E5EF-4A5F-8B22-D2A92A3A93DC}" dt="2023-11-04T04:17:00.233" v="1892" actId="478"/>
          <ac:spMkLst>
            <pc:docMk/>
            <pc:sldMk cId="1207637406" sldId="328"/>
            <ac:spMk id="57" creationId="{8A6FEB30-2188-DEB1-7E52-CD610B101260}"/>
          </ac:spMkLst>
        </pc:spChg>
        <pc:spChg chg="mod">
          <ac:chgData name="Roy Chowdhury, Ritwik" userId="bfb84a7f-f393-43f0-840f-80c362df9247" providerId="ADAL" clId="{D98D1D94-E5EF-4A5F-8B22-D2A92A3A93DC}" dt="2023-11-04T04:16:24.050" v="1883"/>
          <ac:spMkLst>
            <pc:docMk/>
            <pc:sldMk cId="1207637406" sldId="328"/>
            <ac:spMk id="58" creationId="{63A39187-7062-4FDF-A5A0-3420611887BA}"/>
          </ac:spMkLst>
        </pc:spChg>
        <pc:spChg chg="mod">
          <ac:chgData name="Roy Chowdhury, Ritwik" userId="bfb84a7f-f393-43f0-840f-80c362df9247" providerId="ADAL" clId="{D98D1D94-E5EF-4A5F-8B22-D2A92A3A93DC}" dt="2023-11-04T04:16:24.050" v="1883"/>
          <ac:spMkLst>
            <pc:docMk/>
            <pc:sldMk cId="1207637406" sldId="328"/>
            <ac:spMk id="59" creationId="{D7EFECC3-9B21-71DD-306E-D0AD66AF6CBD}"/>
          </ac:spMkLst>
        </pc:spChg>
        <pc:spChg chg="add mod">
          <ac:chgData name="Roy Chowdhury, Ritwik" userId="bfb84a7f-f393-43f0-840f-80c362df9247" providerId="ADAL" clId="{D98D1D94-E5EF-4A5F-8B22-D2A92A3A93DC}" dt="2023-11-04T04:17:14.235" v="1896" actId="122"/>
          <ac:spMkLst>
            <pc:docMk/>
            <pc:sldMk cId="1207637406" sldId="328"/>
            <ac:spMk id="60" creationId="{CD11739F-98C1-26BC-6E6A-CE4C17A5CE1F}"/>
          </ac:spMkLst>
        </pc:spChg>
        <pc:spChg chg="add mod">
          <ac:chgData name="Roy Chowdhury, Ritwik" userId="bfb84a7f-f393-43f0-840f-80c362df9247" providerId="ADAL" clId="{D98D1D94-E5EF-4A5F-8B22-D2A92A3A93DC}" dt="2023-11-04T04:18:10.099" v="1909" actId="1076"/>
          <ac:spMkLst>
            <pc:docMk/>
            <pc:sldMk cId="1207637406" sldId="328"/>
            <ac:spMk id="61" creationId="{D74148CE-BF1C-7287-6269-E15DB4B11BA5}"/>
          </ac:spMkLst>
        </pc:spChg>
        <pc:spChg chg="add mod">
          <ac:chgData name="Roy Chowdhury, Ritwik" userId="bfb84a7f-f393-43f0-840f-80c362df9247" providerId="ADAL" clId="{D98D1D94-E5EF-4A5F-8B22-D2A92A3A93DC}" dt="2023-11-04T04:18:30.079" v="1912" actId="1076"/>
          <ac:spMkLst>
            <pc:docMk/>
            <pc:sldMk cId="1207637406" sldId="328"/>
            <ac:spMk id="62" creationId="{ECA3A3C7-B479-3F58-F3CE-D2A0E4AFD698}"/>
          </ac:spMkLst>
        </pc:spChg>
        <pc:spChg chg="add mod">
          <ac:chgData name="Roy Chowdhury, Ritwik" userId="bfb84a7f-f393-43f0-840f-80c362df9247" providerId="ADAL" clId="{D98D1D94-E5EF-4A5F-8B22-D2A92A3A93DC}" dt="2023-11-04T04:18:42.726" v="1915" actId="1076"/>
          <ac:spMkLst>
            <pc:docMk/>
            <pc:sldMk cId="1207637406" sldId="328"/>
            <ac:spMk id="63" creationId="{326CABE2-814C-3E2C-FDF5-795E89DC58E5}"/>
          </ac:spMkLst>
        </pc:spChg>
        <pc:spChg chg="del">
          <ac:chgData name="Roy Chowdhury, Ritwik" userId="bfb84a7f-f393-43f0-840f-80c362df9247" providerId="ADAL" clId="{D98D1D94-E5EF-4A5F-8B22-D2A92A3A93DC}" dt="2023-11-04T03:56:42.970" v="1750" actId="478"/>
          <ac:spMkLst>
            <pc:docMk/>
            <pc:sldMk cId="1207637406" sldId="328"/>
            <ac:spMk id="135" creationId="{74D02FA6-7CA1-E5FF-01BB-6EAC30D06E7C}"/>
          </ac:spMkLst>
        </pc:spChg>
        <pc:spChg chg="del mod">
          <ac:chgData name="Roy Chowdhury, Ritwik" userId="bfb84a7f-f393-43f0-840f-80c362df9247" providerId="ADAL" clId="{D98D1D94-E5EF-4A5F-8B22-D2A92A3A93DC}" dt="2023-11-04T04:15:42.897" v="1875" actId="478"/>
          <ac:spMkLst>
            <pc:docMk/>
            <pc:sldMk cId="1207637406" sldId="328"/>
            <ac:spMk id="174" creationId="{F61CCE93-7780-2C8E-1561-DD69864BF353}"/>
          </ac:spMkLst>
        </pc:spChg>
        <pc:spChg chg="del mod">
          <ac:chgData name="Roy Chowdhury, Ritwik" userId="bfb84a7f-f393-43f0-840f-80c362df9247" providerId="ADAL" clId="{D98D1D94-E5EF-4A5F-8B22-D2A92A3A93DC}" dt="2023-11-04T04:15:44.137" v="1876" actId="478"/>
          <ac:spMkLst>
            <pc:docMk/>
            <pc:sldMk cId="1207637406" sldId="328"/>
            <ac:spMk id="175" creationId="{CFD45789-998C-3EEB-D4A9-1FA77F7232BB}"/>
          </ac:spMkLst>
        </pc:spChg>
        <pc:spChg chg="del mod">
          <ac:chgData name="Roy Chowdhury, Ritwik" userId="bfb84a7f-f393-43f0-840f-80c362df9247" providerId="ADAL" clId="{D98D1D94-E5EF-4A5F-8B22-D2A92A3A93DC}" dt="2023-11-04T04:15:45.279" v="1877" actId="478"/>
          <ac:spMkLst>
            <pc:docMk/>
            <pc:sldMk cId="1207637406" sldId="328"/>
            <ac:spMk id="176" creationId="{82973D52-9F07-A550-207E-B868DC81CEFB}"/>
          </ac:spMkLst>
        </pc:spChg>
        <pc:spChg chg="del mod">
          <ac:chgData name="Roy Chowdhury, Ritwik" userId="bfb84a7f-f393-43f0-840f-80c362df9247" providerId="ADAL" clId="{D98D1D94-E5EF-4A5F-8B22-D2A92A3A93DC}" dt="2023-11-04T04:15:48.472" v="1878" actId="478"/>
          <ac:spMkLst>
            <pc:docMk/>
            <pc:sldMk cId="1207637406" sldId="328"/>
            <ac:spMk id="177" creationId="{487FB7CE-6391-0557-0457-FDF49C5984DF}"/>
          </ac:spMkLst>
        </pc:spChg>
        <pc:spChg chg="del">
          <ac:chgData name="Roy Chowdhury, Ritwik" userId="bfb84a7f-f393-43f0-840f-80c362df9247" providerId="ADAL" clId="{D98D1D94-E5EF-4A5F-8B22-D2A92A3A93DC}" dt="2023-11-04T03:56:27.106" v="1742" actId="478"/>
          <ac:spMkLst>
            <pc:docMk/>
            <pc:sldMk cId="1207637406" sldId="328"/>
            <ac:spMk id="180" creationId="{5BA9B820-FCD7-17F1-6FC9-5B360C6F77BB}"/>
          </ac:spMkLst>
        </pc:spChg>
        <pc:grpChg chg="add del mod topLvl">
          <ac:chgData name="Roy Chowdhury, Ritwik" userId="bfb84a7f-f393-43f0-840f-80c362df9247" providerId="ADAL" clId="{D98D1D94-E5EF-4A5F-8B22-D2A92A3A93DC}" dt="2023-11-04T03:57:44.013" v="1764" actId="165"/>
          <ac:grpSpMkLst>
            <pc:docMk/>
            <pc:sldMk cId="1207637406" sldId="328"/>
            <ac:grpSpMk id="5" creationId="{26167172-73FE-C9E1-A480-F53CB04DB96D}"/>
          </ac:grpSpMkLst>
        </pc:grpChg>
        <pc:grpChg chg="del">
          <ac:chgData name="Roy Chowdhury, Ritwik" userId="bfb84a7f-f393-43f0-840f-80c362df9247" providerId="ADAL" clId="{D98D1D94-E5EF-4A5F-8B22-D2A92A3A93DC}" dt="2023-11-04T03:56:56.307" v="1757" actId="478"/>
          <ac:grpSpMkLst>
            <pc:docMk/>
            <pc:sldMk cId="1207637406" sldId="328"/>
            <ac:grpSpMk id="16" creationId="{124839D5-F410-E5F1-9FE8-373EB2FD53FE}"/>
          </ac:grpSpMkLst>
        </pc:grpChg>
        <pc:grpChg chg="add mod">
          <ac:chgData name="Roy Chowdhury, Ritwik" userId="bfb84a7f-f393-43f0-840f-80c362df9247" providerId="ADAL" clId="{D98D1D94-E5EF-4A5F-8B22-D2A92A3A93DC}" dt="2023-11-04T04:09:49.226" v="1834" actId="164"/>
          <ac:grpSpMkLst>
            <pc:docMk/>
            <pc:sldMk cId="1207637406" sldId="328"/>
            <ac:grpSpMk id="22" creationId="{A58FC9E9-44A6-781B-6939-3AEBDC9A268E}"/>
          </ac:grpSpMkLst>
        </pc:grpChg>
        <pc:grpChg chg="add mod">
          <ac:chgData name="Roy Chowdhury, Ritwik" userId="bfb84a7f-f393-43f0-840f-80c362df9247" providerId="ADAL" clId="{D98D1D94-E5EF-4A5F-8B22-D2A92A3A93DC}" dt="2023-11-04T04:09:45.279" v="1833" actId="164"/>
          <ac:grpSpMkLst>
            <pc:docMk/>
            <pc:sldMk cId="1207637406" sldId="328"/>
            <ac:grpSpMk id="27" creationId="{5C16076E-9211-BA41-BD58-AA94E91DA89E}"/>
          </ac:grpSpMkLst>
        </pc:grpChg>
        <pc:grpChg chg="add mod">
          <ac:chgData name="Roy Chowdhury, Ritwik" userId="bfb84a7f-f393-43f0-840f-80c362df9247" providerId="ADAL" clId="{D98D1D94-E5EF-4A5F-8B22-D2A92A3A93DC}" dt="2023-11-04T04:09:49.226" v="1834" actId="164"/>
          <ac:grpSpMkLst>
            <pc:docMk/>
            <pc:sldMk cId="1207637406" sldId="328"/>
            <ac:grpSpMk id="29" creationId="{43734709-DAB1-E3F2-7EA1-19170CC3CE70}"/>
          </ac:grpSpMkLst>
        </pc:grpChg>
        <pc:grpChg chg="del">
          <ac:chgData name="Roy Chowdhury, Ritwik" userId="bfb84a7f-f393-43f0-840f-80c362df9247" providerId="ADAL" clId="{D98D1D94-E5EF-4A5F-8B22-D2A92A3A93DC}" dt="2023-11-04T03:57:06.595" v="1760" actId="478"/>
          <ac:grpSpMkLst>
            <pc:docMk/>
            <pc:sldMk cId="1207637406" sldId="328"/>
            <ac:grpSpMk id="31" creationId="{8FC6AC2B-6F70-EF38-BEE4-DE56CED70B48}"/>
          </ac:grpSpMkLst>
        </pc:grpChg>
        <pc:grpChg chg="add del mod">
          <ac:chgData name="Roy Chowdhury, Ritwik" userId="bfb84a7f-f393-43f0-840f-80c362df9247" providerId="ADAL" clId="{D98D1D94-E5EF-4A5F-8B22-D2A92A3A93DC}" dt="2023-11-04T04:11:10.197" v="1852" actId="165"/>
          <ac:grpSpMkLst>
            <pc:docMk/>
            <pc:sldMk cId="1207637406" sldId="328"/>
            <ac:grpSpMk id="32" creationId="{C9990F60-10BE-872A-6FEE-8EAB33A37480}"/>
          </ac:grpSpMkLst>
        </pc:grpChg>
        <pc:grpChg chg="mod topLvl">
          <ac:chgData name="Roy Chowdhury, Ritwik" userId="bfb84a7f-f393-43f0-840f-80c362df9247" providerId="ADAL" clId="{D98D1D94-E5EF-4A5F-8B22-D2A92A3A93DC}" dt="2023-11-04T04:11:17.656" v="1853" actId="338"/>
          <ac:grpSpMkLst>
            <pc:docMk/>
            <pc:sldMk cId="1207637406" sldId="328"/>
            <ac:grpSpMk id="38" creationId="{E34A905F-9783-91A0-16B8-AFECD2CD108B}"/>
          </ac:grpSpMkLst>
        </pc:grpChg>
        <pc:grpChg chg="add mod">
          <ac:chgData name="Roy Chowdhury, Ritwik" userId="bfb84a7f-f393-43f0-840f-80c362df9247" providerId="ADAL" clId="{D98D1D94-E5EF-4A5F-8B22-D2A92A3A93DC}" dt="2023-11-04T04:14:17.451" v="1870" actId="1076"/>
          <ac:grpSpMkLst>
            <pc:docMk/>
            <pc:sldMk cId="1207637406" sldId="328"/>
            <ac:grpSpMk id="43" creationId="{AD4E3F29-18F6-A616-467A-B2F84727180F}"/>
          </ac:grpSpMkLst>
        </pc:grpChg>
        <pc:grpChg chg="add mod">
          <ac:chgData name="Roy Chowdhury, Ritwik" userId="bfb84a7f-f393-43f0-840f-80c362df9247" providerId="ADAL" clId="{D98D1D94-E5EF-4A5F-8B22-D2A92A3A93DC}" dt="2023-11-04T04:16:01.578" v="1881" actId="1076"/>
          <ac:grpSpMkLst>
            <pc:docMk/>
            <pc:sldMk cId="1207637406" sldId="328"/>
            <ac:grpSpMk id="44" creationId="{99FAF0C9-46EE-D31E-B4DD-67B825197226}"/>
          </ac:grpSpMkLst>
        </pc:grpChg>
        <pc:grpChg chg="mod">
          <ac:chgData name="Roy Chowdhury, Ritwik" userId="bfb84a7f-f393-43f0-840f-80c362df9247" providerId="ADAL" clId="{D98D1D94-E5EF-4A5F-8B22-D2A92A3A93DC}" dt="2023-11-04T04:15:54.110" v="1879"/>
          <ac:grpSpMkLst>
            <pc:docMk/>
            <pc:sldMk cId="1207637406" sldId="328"/>
            <ac:grpSpMk id="47" creationId="{2EDC0BFD-6517-A6F6-0515-158E10E42893}"/>
          </ac:grpSpMkLst>
        </pc:grpChg>
        <pc:grpChg chg="add mod">
          <ac:chgData name="Roy Chowdhury, Ritwik" userId="bfb84a7f-f393-43f0-840f-80c362df9247" providerId="ADAL" clId="{D98D1D94-E5EF-4A5F-8B22-D2A92A3A93DC}" dt="2023-11-04T04:16:27.421" v="1884" actId="1076"/>
          <ac:grpSpMkLst>
            <pc:docMk/>
            <pc:sldMk cId="1207637406" sldId="328"/>
            <ac:grpSpMk id="52" creationId="{24CCB1F3-F43F-072C-E53B-F025A9FC4590}"/>
          </ac:grpSpMkLst>
        </pc:grpChg>
        <pc:grpChg chg="mod">
          <ac:chgData name="Roy Chowdhury, Ritwik" userId="bfb84a7f-f393-43f0-840f-80c362df9247" providerId="ADAL" clId="{D98D1D94-E5EF-4A5F-8B22-D2A92A3A93DC}" dt="2023-11-04T04:16:24.050" v="1883"/>
          <ac:grpSpMkLst>
            <pc:docMk/>
            <pc:sldMk cId="1207637406" sldId="328"/>
            <ac:grpSpMk id="55" creationId="{E2759BB8-B604-E672-880D-A7ED76CFA65C}"/>
          </ac:grpSpMkLst>
        </pc:grpChg>
        <pc:grpChg chg="del">
          <ac:chgData name="Roy Chowdhury, Ritwik" userId="bfb84a7f-f393-43f0-840f-80c362df9247" providerId="ADAL" clId="{D98D1D94-E5EF-4A5F-8B22-D2A92A3A93DC}" dt="2023-11-04T03:57:30.033" v="1762" actId="165"/>
          <ac:grpSpMkLst>
            <pc:docMk/>
            <pc:sldMk cId="1207637406" sldId="328"/>
            <ac:grpSpMk id="97" creationId="{30C45834-34AB-E317-D808-340D79375F7F}"/>
          </ac:grpSpMkLst>
        </pc:grpChg>
        <pc:grpChg chg="del">
          <ac:chgData name="Roy Chowdhury, Ritwik" userId="bfb84a7f-f393-43f0-840f-80c362df9247" providerId="ADAL" clId="{D98D1D94-E5EF-4A5F-8B22-D2A92A3A93DC}" dt="2023-11-04T03:56:18.663" v="1740" actId="478"/>
          <ac:grpSpMkLst>
            <pc:docMk/>
            <pc:sldMk cId="1207637406" sldId="328"/>
            <ac:grpSpMk id="132" creationId="{65F2F0AC-AC60-034C-6D32-4653BAADC4C7}"/>
          </ac:grpSpMkLst>
        </pc:grpChg>
        <pc:grpChg chg="del">
          <ac:chgData name="Roy Chowdhury, Ritwik" userId="bfb84a7f-f393-43f0-840f-80c362df9247" providerId="ADAL" clId="{D98D1D94-E5EF-4A5F-8B22-D2A92A3A93DC}" dt="2023-11-04T03:56:19.318" v="1741" actId="478"/>
          <ac:grpSpMkLst>
            <pc:docMk/>
            <pc:sldMk cId="1207637406" sldId="328"/>
            <ac:grpSpMk id="133" creationId="{A496F619-4C50-8F7E-DC40-984D256D8F3C}"/>
          </ac:grpSpMkLst>
        </pc:grpChg>
        <pc:picChg chg="del">
          <ac:chgData name="Roy Chowdhury, Ritwik" userId="bfb84a7f-f393-43f0-840f-80c362df9247" providerId="ADAL" clId="{D98D1D94-E5EF-4A5F-8B22-D2A92A3A93DC}" dt="2023-11-04T03:56:44.545" v="1752" actId="478"/>
          <ac:picMkLst>
            <pc:docMk/>
            <pc:sldMk cId="1207637406" sldId="328"/>
            <ac:picMk id="137" creationId="{87A52858-1B41-D7B2-FD40-42214BA2B154}"/>
          </ac:picMkLst>
        </pc:picChg>
        <pc:picChg chg="del">
          <ac:chgData name="Roy Chowdhury, Ritwik" userId="bfb84a7f-f393-43f0-840f-80c362df9247" providerId="ADAL" clId="{D98D1D94-E5EF-4A5F-8B22-D2A92A3A93DC}" dt="2023-11-04T03:56:43.859" v="1751" actId="478"/>
          <ac:picMkLst>
            <pc:docMk/>
            <pc:sldMk cId="1207637406" sldId="328"/>
            <ac:picMk id="157" creationId="{755ACF86-A8EA-7683-CAD7-05011C2465F2}"/>
          </ac:picMkLst>
        </pc:picChg>
        <pc:cxnChg chg="add del">
          <ac:chgData name="Roy Chowdhury, Ritwik" userId="bfb84a7f-f393-43f0-840f-80c362df9247" providerId="ADAL" clId="{D98D1D94-E5EF-4A5F-8B22-D2A92A3A93DC}" dt="2023-11-04T04:09:33.584" v="1831" actId="478"/>
          <ac:cxnSpMkLst>
            <pc:docMk/>
            <pc:sldMk cId="1207637406" sldId="328"/>
            <ac:cxnSpMk id="26" creationId="{482E30BC-1191-FD56-5AE1-C61A31FFBB1F}"/>
          </ac:cxnSpMkLst>
        </pc:cxnChg>
      </pc:sldChg>
      <pc:sldChg chg="addSp delSp modSp mod modShow">
        <pc:chgData name="Roy Chowdhury, Ritwik" userId="bfb84a7f-f393-43f0-840f-80c362df9247" providerId="ADAL" clId="{D98D1D94-E5EF-4A5F-8B22-D2A92A3A93DC}" dt="2023-11-05T06:38:56.154" v="4363" actId="729"/>
        <pc:sldMkLst>
          <pc:docMk/>
          <pc:sldMk cId="4238553409" sldId="329"/>
        </pc:sldMkLst>
        <pc:spChg chg="mod">
          <ac:chgData name="Roy Chowdhury, Ritwik" userId="bfb84a7f-f393-43f0-840f-80c362df9247" providerId="ADAL" clId="{D98D1D94-E5EF-4A5F-8B22-D2A92A3A93DC}" dt="2023-11-05T00:57:16.346" v="2015" actId="20577"/>
          <ac:spMkLst>
            <pc:docMk/>
            <pc:sldMk cId="4238553409" sldId="329"/>
            <ac:spMk id="6" creationId="{8D00B77E-1094-F6A8-A1A3-B7C3F59051E4}"/>
          </ac:spMkLst>
        </pc:spChg>
        <pc:spChg chg="add mod">
          <ac:chgData name="Roy Chowdhury, Ritwik" userId="bfb84a7f-f393-43f0-840f-80c362df9247" providerId="ADAL" clId="{D98D1D94-E5EF-4A5F-8B22-D2A92A3A93DC}" dt="2023-11-05T05:16:42.540" v="4192" actId="1076"/>
          <ac:spMkLst>
            <pc:docMk/>
            <pc:sldMk cId="4238553409" sldId="329"/>
            <ac:spMk id="35" creationId="{62AA1F35-0C41-EC8B-5746-F73715F357F0}"/>
          </ac:spMkLst>
        </pc:spChg>
        <pc:spChg chg="mod">
          <ac:chgData name="Roy Chowdhury, Ritwik" userId="bfb84a7f-f393-43f0-840f-80c362df9247" providerId="ADAL" clId="{D98D1D94-E5EF-4A5F-8B22-D2A92A3A93DC}" dt="2023-11-05T06:28:55.340" v="4325" actId="20577"/>
          <ac:spMkLst>
            <pc:docMk/>
            <pc:sldMk cId="4238553409" sldId="329"/>
            <ac:spMk id="48" creationId="{8E3AFDF7-B5D5-F6AF-9826-978862238D6F}"/>
          </ac:spMkLst>
        </pc:spChg>
        <pc:spChg chg="mod">
          <ac:chgData name="Roy Chowdhury, Ritwik" userId="bfb84a7f-f393-43f0-840f-80c362df9247" providerId="ADAL" clId="{D98D1D94-E5EF-4A5F-8B22-D2A92A3A93DC}" dt="2023-11-05T06:28:01.544" v="4292" actId="21"/>
          <ac:spMkLst>
            <pc:docMk/>
            <pc:sldMk cId="4238553409" sldId="329"/>
            <ac:spMk id="49" creationId="{500EB067-F212-0B0D-DE10-67F2F0DE43F9}"/>
          </ac:spMkLst>
        </pc:spChg>
        <pc:spChg chg="mod">
          <ac:chgData name="Roy Chowdhury, Ritwik" userId="bfb84a7f-f393-43f0-840f-80c362df9247" providerId="ADAL" clId="{D98D1D94-E5EF-4A5F-8B22-D2A92A3A93DC}" dt="2023-11-05T06:28:12.330" v="4302" actId="20577"/>
          <ac:spMkLst>
            <pc:docMk/>
            <pc:sldMk cId="4238553409" sldId="329"/>
            <ac:spMk id="92" creationId="{89F3CD0B-6DC9-F623-70AC-D7619CAEEFA8}"/>
          </ac:spMkLst>
        </pc:spChg>
        <pc:spChg chg="mod">
          <ac:chgData name="Roy Chowdhury, Ritwik" userId="bfb84a7f-f393-43f0-840f-80c362df9247" providerId="ADAL" clId="{D98D1D94-E5EF-4A5F-8B22-D2A92A3A93DC}" dt="2023-11-05T06:28:06.148" v="4295" actId="6549"/>
          <ac:spMkLst>
            <pc:docMk/>
            <pc:sldMk cId="4238553409" sldId="329"/>
            <ac:spMk id="93" creationId="{8D7CD126-6C28-95F0-9C40-F7216C3EF511}"/>
          </ac:spMkLst>
        </pc:spChg>
        <pc:spChg chg="del">
          <ac:chgData name="Roy Chowdhury, Ritwik" userId="bfb84a7f-f393-43f0-840f-80c362df9247" providerId="ADAL" clId="{D98D1D94-E5EF-4A5F-8B22-D2A92A3A93DC}" dt="2023-11-05T00:55:52.727" v="1987" actId="478"/>
          <ac:spMkLst>
            <pc:docMk/>
            <pc:sldMk cId="4238553409" sldId="329"/>
            <ac:spMk id="95" creationId="{0CB72713-CF3F-11D9-2EF4-2331F3AA24E7}"/>
          </ac:spMkLst>
        </pc:spChg>
        <pc:spChg chg="del">
          <ac:chgData name="Roy Chowdhury, Ritwik" userId="bfb84a7f-f393-43f0-840f-80c362df9247" providerId="ADAL" clId="{D98D1D94-E5EF-4A5F-8B22-D2A92A3A93DC}" dt="2023-11-05T00:55:51.437" v="1986" actId="478"/>
          <ac:spMkLst>
            <pc:docMk/>
            <pc:sldMk cId="4238553409" sldId="329"/>
            <ac:spMk id="96" creationId="{79340289-04B3-640E-7360-AEB3C2B2777C}"/>
          </ac:spMkLst>
        </pc:spChg>
        <pc:spChg chg="mod">
          <ac:chgData name="Roy Chowdhury, Ritwik" userId="bfb84a7f-f393-43f0-840f-80c362df9247" providerId="ADAL" clId="{D98D1D94-E5EF-4A5F-8B22-D2A92A3A93DC}" dt="2023-11-05T06:26:54.314" v="4288" actId="20577"/>
          <ac:spMkLst>
            <pc:docMk/>
            <pc:sldMk cId="4238553409" sldId="329"/>
            <ac:spMk id="101" creationId="{C7ED75B2-0DBB-5BBE-415C-51136659F49E}"/>
          </ac:spMkLst>
        </pc:spChg>
        <pc:spChg chg="mod">
          <ac:chgData name="Roy Chowdhury, Ritwik" userId="bfb84a7f-f393-43f0-840f-80c362df9247" providerId="ADAL" clId="{D98D1D94-E5EF-4A5F-8B22-D2A92A3A93DC}" dt="2023-11-05T06:27:55.271" v="4291"/>
          <ac:spMkLst>
            <pc:docMk/>
            <pc:sldMk cId="4238553409" sldId="329"/>
            <ac:spMk id="102" creationId="{E19A5779-999A-00D4-44F1-C1B3D48F1209}"/>
          </ac:spMkLst>
        </pc:spChg>
        <pc:spChg chg="del">
          <ac:chgData name="Roy Chowdhury, Ritwik" userId="bfb84a7f-f393-43f0-840f-80c362df9247" providerId="ADAL" clId="{D98D1D94-E5EF-4A5F-8B22-D2A92A3A93DC}" dt="2023-11-05T00:56:13.154" v="1993" actId="478"/>
          <ac:spMkLst>
            <pc:docMk/>
            <pc:sldMk cId="4238553409" sldId="329"/>
            <ac:spMk id="104" creationId="{4589152E-0E60-7EB9-2F32-6D1317A9772E}"/>
          </ac:spMkLst>
        </pc:spChg>
        <pc:spChg chg="del">
          <ac:chgData name="Roy Chowdhury, Ritwik" userId="bfb84a7f-f393-43f0-840f-80c362df9247" providerId="ADAL" clId="{D98D1D94-E5EF-4A5F-8B22-D2A92A3A93DC}" dt="2023-11-05T00:56:15.331" v="1994" actId="478"/>
          <ac:spMkLst>
            <pc:docMk/>
            <pc:sldMk cId="4238553409" sldId="329"/>
            <ac:spMk id="105" creationId="{FE1FD7CA-7B7C-BC6D-A8F3-4A864509DB58}"/>
          </ac:spMkLst>
        </pc:spChg>
        <pc:grpChg chg="del">
          <ac:chgData name="Roy Chowdhury, Ritwik" userId="bfb84a7f-f393-43f0-840f-80c362df9247" providerId="ADAL" clId="{D98D1D94-E5EF-4A5F-8B22-D2A92A3A93DC}" dt="2023-11-05T00:55:51.437" v="1986" actId="478"/>
          <ac:grpSpMkLst>
            <pc:docMk/>
            <pc:sldMk cId="4238553409" sldId="329"/>
            <ac:grpSpMk id="91" creationId="{1E70B8A3-0C1D-5669-18AD-545ED33A49C9}"/>
          </ac:grpSpMkLst>
        </pc:grpChg>
        <pc:grpChg chg="del">
          <ac:chgData name="Roy Chowdhury, Ritwik" userId="bfb84a7f-f393-43f0-840f-80c362df9247" providerId="ADAL" clId="{D98D1D94-E5EF-4A5F-8B22-D2A92A3A93DC}" dt="2023-11-05T00:56:13.154" v="1993" actId="478"/>
          <ac:grpSpMkLst>
            <pc:docMk/>
            <pc:sldMk cId="4238553409" sldId="329"/>
            <ac:grpSpMk id="100" creationId="{FB0C1F62-E316-0637-7273-31DADF76C5B4}"/>
          </ac:grpSpMkLst>
        </pc:grpChg>
        <pc:picChg chg="add mod">
          <ac:chgData name="Roy Chowdhury, Ritwik" userId="bfb84a7f-f393-43f0-840f-80c362df9247" providerId="ADAL" clId="{D98D1D94-E5EF-4A5F-8B22-D2A92A3A93DC}" dt="2023-11-05T00:56:02.898" v="1992" actId="14100"/>
          <ac:picMkLst>
            <pc:docMk/>
            <pc:sldMk cId="4238553409" sldId="329"/>
            <ac:picMk id="33" creationId="{B96074E0-AD7B-AF84-92AD-606FA3CD0586}"/>
          </ac:picMkLst>
        </pc:picChg>
        <pc:picChg chg="add mod">
          <ac:chgData name="Roy Chowdhury, Ritwik" userId="bfb84a7f-f393-43f0-840f-80c362df9247" providerId="ADAL" clId="{D98D1D94-E5EF-4A5F-8B22-D2A92A3A93DC}" dt="2023-11-05T00:56:46.378" v="2004" actId="1076"/>
          <ac:picMkLst>
            <pc:docMk/>
            <pc:sldMk cId="4238553409" sldId="329"/>
            <ac:picMk id="34" creationId="{423E0012-6122-889F-214D-7A44FABFC8DF}"/>
          </ac:picMkLst>
        </pc:picChg>
      </pc:sldChg>
      <pc:sldChg chg="modNotesTx">
        <pc:chgData name="Roy Chowdhury, Ritwik" userId="bfb84a7f-f393-43f0-840f-80c362df9247" providerId="ADAL" clId="{D98D1D94-E5EF-4A5F-8B22-D2A92A3A93DC}" dt="2023-11-08T22:28:01.560" v="12469" actId="20577"/>
        <pc:sldMkLst>
          <pc:docMk/>
          <pc:sldMk cId="1570625822" sldId="335"/>
        </pc:sldMkLst>
      </pc:sldChg>
      <pc:sldChg chg="addSp modSp">
        <pc:chgData name="Roy Chowdhury, Ritwik" userId="bfb84a7f-f393-43f0-840f-80c362df9247" providerId="ADAL" clId="{D98D1D94-E5EF-4A5F-8B22-D2A92A3A93DC}" dt="2023-11-07T06:52:00.316" v="6997" actId="931"/>
        <pc:sldMkLst>
          <pc:docMk/>
          <pc:sldMk cId="3821254099" sldId="337"/>
        </pc:sldMkLst>
        <pc:picChg chg="add mod">
          <ac:chgData name="Roy Chowdhury, Ritwik" userId="bfb84a7f-f393-43f0-840f-80c362df9247" providerId="ADAL" clId="{D98D1D94-E5EF-4A5F-8B22-D2A92A3A93DC}" dt="2023-11-07T06:52:00.316" v="6997" actId="931"/>
          <ac:picMkLst>
            <pc:docMk/>
            <pc:sldMk cId="3821254099" sldId="337"/>
            <ac:picMk id="5" creationId="{33D4272E-CD3A-DF36-A3AA-F1EEF3922ADB}"/>
          </ac:picMkLst>
        </pc:picChg>
      </pc:sldChg>
      <pc:sldChg chg="modSp mod">
        <pc:chgData name="Roy Chowdhury, Ritwik" userId="bfb84a7f-f393-43f0-840f-80c362df9247" providerId="ADAL" clId="{D98D1D94-E5EF-4A5F-8B22-D2A92A3A93DC}" dt="2023-11-05T01:00:10.335" v="2104" actId="20577"/>
        <pc:sldMkLst>
          <pc:docMk/>
          <pc:sldMk cId="2668455773" sldId="338"/>
        </pc:sldMkLst>
        <pc:spChg chg="mod">
          <ac:chgData name="Roy Chowdhury, Ritwik" userId="bfb84a7f-f393-43f0-840f-80c362df9247" providerId="ADAL" clId="{D98D1D94-E5EF-4A5F-8B22-D2A92A3A93DC}" dt="2023-11-05T01:00:10.335" v="2104" actId="20577"/>
          <ac:spMkLst>
            <pc:docMk/>
            <pc:sldMk cId="2668455773" sldId="338"/>
            <ac:spMk id="228" creationId="{D2D10EBA-82D0-AF9D-12E9-3F8D82B8B2F4}"/>
          </ac:spMkLst>
        </pc:spChg>
      </pc:sldChg>
      <pc:sldChg chg="modNotesTx">
        <pc:chgData name="Roy Chowdhury, Ritwik" userId="bfb84a7f-f393-43f0-840f-80c362df9247" providerId="ADAL" clId="{D98D1D94-E5EF-4A5F-8B22-D2A92A3A93DC}" dt="2023-11-08T22:22:46.161" v="12465" actId="20577"/>
        <pc:sldMkLst>
          <pc:docMk/>
          <pc:sldMk cId="2612747657" sldId="341"/>
        </pc:sldMkLst>
      </pc:sldChg>
      <pc:sldChg chg="modNotesTx">
        <pc:chgData name="Roy Chowdhury, Ritwik" userId="bfb84a7f-f393-43f0-840f-80c362df9247" providerId="ADAL" clId="{D98D1D94-E5EF-4A5F-8B22-D2A92A3A93DC}" dt="2023-11-08T22:29:06.268" v="12477" actId="20577"/>
        <pc:sldMkLst>
          <pc:docMk/>
          <pc:sldMk cId="2163110923" sldId="342"/>
        </pc:sldMkLst>
      </pc:sldChg>
      <pc:sldChg chg="modNotesTx">
        <pc:chgData name="Roy Chowdhury, Ritwik" userId="bfb84a7f-f393-43f0-840f-80c362df9247" providerId="ADAL" clId="{D98D1D94-E5EF-4A5F-8B22-D2A92A3A93DC}" dt="2023-11-07T09:49:01.389" v="7924" actId="20577"/>
        <pc:sldMkLst>
          <pc:docMk/>
          <pc:sldMk cId="49457783" sldId="344"/>
        </pc:sldMkLst>
      </pc:sldChg>
      <pc:sldChg chg="ord">
        <pc:chgData name="Roy Chowdhury, Ritwik" userId="bfb84a7f-f393-43f0-840f-80c362df9247" providerId="ADAL" clId="{D98D1D94-E5EF-4A5F-8B22-D2A92A3A93DC}" dt="2023-11-07T06:44:43.948" v="6996"/>
        <pc:sldMkLst>
          <pc:docMk/>
          <pc:sldMk cId="3203526670" sldId="345"/>
        </pc:sldMkLst>
      </pc:sldChg>
      <pc:sldChg chg="modNotesTx">
        <pc:chgData name="Roy Chowdhury, Ritwik" userId="bfb84a7f-f393-43f0-840f-80c362df9247" providerId="ADAL" clId="{D98D1D94-E5EF-4A5F-8B22-D2A92A3A93DC}" dt="2023-11-08T22:22:02.302" v="12463" actId="20577"/>
        <pc:sldMkLst>
          <pc:docMk/>
          <pc:sldMk cId="733552054" sldId="347"/>
        </pc:sldMkLst>
      </pc:sldChg>
      <pc:sldChg chg="addSp delSp modSp add del mod ord modShow">
        <pc:chgData name="Roy Chowdhury, Ritwik" userId="bfb84a7f-f393-43f0-840f-80c362df9247" providerId="ADAL" clId="{D98D1D94-E5EF-4A5F-8B22-D2A92A3A93DC}" dt="2023-11-07T09:31:36.861" v="7260" actId="2696"/>
        <pc:sldMkLst>
          <pc:docMk/>
          <pc:sldMk cId="3691067364" sldId="349"/>
        </pc:sldMkLst>
        <pc:spChg chg="mod">
          <ac:chgData name="Roy Chowdhury, Ritwik" userId="bfb84a7f-f393-43f0-840f-80c362df9247" providerId="ADAL" clId="{D98D1D94-E5EF-4A5F-8B22-D2A92A3A93DC}" dt="2023-11-05T01:40:42.456" v="2461" actId="6549"/>
          <ac:spMkLst>
            <pc:docMk/>
            <pc:sldMk cId="3691067364" sldId="349"/>
            <ac:spMk id="3" creationId="{DF471B24-3F8A-491D-4589-0847EA7E104E}"/>
          </ac:spMkLst>
        </pc:spChg>
        <pc:spChg chg="mod">
          <ac:chgData name="Roy Chowdhury, Ritwik" userId="bfb84a7f-f393-43f0-840f-80c362df9247" providerId="ADAL" clId="{D98D1D94-E5EF-4A5F-8B22-D2A92A3A93DC}" dt="2023-11-05T01:41:19.193" v="2468" actId="20577"/>
          <ac:spMkLst>
            <pc:docMk/>
            <pc:sldMk cId="3691067364" sldId="349"/>
            <ac:spMk id="4" creationId="{07A5BA85-CF81-EB05-FA76-E3AFA5F57C9F}"/>
          </ac:spMkLst>
        </pc:spChg>
        <pc:spChg chg="mod">
          <ac:chgData name="Roy Chowdhury, Ritwik" userId="bfb84a7f-f393-43f0-840f-80c362df9247" providerId="ADAL" clId="{D98D1D94-E5EF-4A5F-8B22-D2A92A3A93DC}" dt="2023-11-05T01:12:46.926" v="2212" actId="20577"/>
          <ac:spMkLst>
            <pc:docMk/>
            <pc:sldMk cId="3691067364" sldId="349"/>
            <ac:spMk id="6" creationId="{8D00B77E-1094-F6A8-A1A3-B7C3F59051E4}"/>
          </ac:spMkLst>
        </pc:spChg>
        <pc:spChg chg="mod">
          <ac:chgData name="Roy Chowdhury, Ritwik" userId="bfb84a7f-f393-43f0-840f-80c362df9247" providerId="ADAL" clId="{D98D1D94-E5EF-4A5F-8B22-D2A92A3A93DC}" dt="2023-11-05T01:40:56.577" v="2462" actId="404"/>
          <ac:spMkLst>
            <pc:docMk/>
            <pc:sldMk cId="3691067364" sldId="349"/>
            <ac:spMk id="8" creationId="{81B789DA-A9B1-915E-944A-F029916D7145}"/>
          </ac:spMkLst>
        </pc:spChg>
        <pc:spChg chg="mod">
          <ac:chgData name="Roy Chowdhury, Ritwik" userId="bfb84a7f-f393-43f0-840f-80c362df9247" providerId="ADAL" clId="{D98D1D94-E5EF-4A5F-8B22-D2A92A3A93DC}" dt="2023-11-05T01:15:24.883" v="2233" actId="208"/>
          <ac:spMkLst>
            <pc:docMk/>
            <pc:sldMk cId="3691067364" sldId="349"/>
            <ac:spMk id="9" creationId="{3C81F335-BFEF-DA66-4B23-1F639633351F}"/>
          </ac:spMkLst>
        </pc:spChg>
        <pc:spChg chg="mod">
          <ac:chgData name="Roy Chowdhury, Ritwik" userId="bfb84a7f-f393-43f0-840f-80c362df9247" providerId="ADAL" clId="{D98D1D94-E5EF-4A5F-8B22-D2A92A3A93DC}" dt="2023-11-05T01:13:35.119" v="2213"/>
          <ac:spMkLst>
            <pc:docMk/>
            <pc:sldMk cId="3691067364" sldId="349"/>
            <ac:spMk id="10" creationId="{6ADEEF50-2EFC-6665-5A24-570D5604DB0F}"/>
          </ac:spMkLst>
        </pc:spChg>
        <pc:spChg chg="add del mod">
          <ac:chgData name="Roy Chowdhury, Ritwik" userId="bfb84a7f-f393-43f0-840f-80c362df9247" providerId="ADAL" clId="{D98D1D94-E5EF-4A5F-8B22-D2A92A3A93DC}" dt="2023-11-05T01:39:17.654" v="2445" actId="478"/>
          <ac:spMkLst>
            <pc:docMk/>
            <pc:sldMk cId="3691067364" sldId="349"/>
            <ac:spMk id="11" creationId="{545A0645-02BC-BFAF-0A9A-D47955B2A40F}"/>
          </ac:spMkLst>
        </pc:spChg>
        <pc:spChg chg="add del mod">
          <ac:chgData name="Roy Chowdhury, Ritwik" userId="bfb84a7f-f393-43f0-840f-80c362df9247" providerId="ADAL" clId="{D98D1D94-E5EF-4A5F-8B22-D2A92A3A93DC}" dt="2023-11-05T01:40:28.526" v="2458" actId="478"/>
          <ac:spMkLst>
            <pc:docMk/>
            <pc:sldMk cId="3691067364" sldId="349"/>
            <ac:spMk id="12" creationId="{144BD143-7EDF-A4B4-5B35-541FE3A46800}"/>
          </ac:spMkLst>
        </pc:spChg>
        <pc:spChg chg="add del">
          <ac:chgData name="Roy Chowdhury, Ritwik" userId="bfb84a7f-f393-43f0-840f-80c362df9247" providerId="ADAL" clId="{D98D1D94-E5EF-4A5F-8B22-D2A92A3A93DC}" dt="2023-11-05T01:40:08.634" v="2456" actId="22"/>
          <ac:spMkLst>
            <pc:docMk/>
            <pc:sldMk cId="3691067364" sldId="349"/>
            <ac:spMk id="14" creationId="{19D404E1-1877-F9E3-EDE6-B8D3EFEF082C}"/>
          </ac:spMkLst>
        </pc:spChg>
        <pc:grpChg chg="add mod">
          <ac:chgData name="Roy Chowdhury, Ritwik" userId="bfb84a7f-f393-43f0-840f-80c362df9247" providerId="ADAL" clId="{D98D1D94-E5EF-4A5F-8B22-D2A92A3A93DC}" dt="2023-11-05T01:15:34.887" v="2236" actId="1076"/>
          <ac:grpSpMkLst>
            <pc:docMk/>
            <pc:sldMk cId="3691067364" sldId="349"/>
            <ac:grpSpMk id="2" creationId="{2E3EC33E-504D-A2B8-F023-008FE5621E88}"/>
          </ac:grpSpMkLst>
        </pc:grpChg>
        <pc:grpChg chg="del">
          <ac:chgData name="Roy Chowdhury, Ritwik" userId="bfb84a7f-f393-43f0-840f-80c362df9247" providerId="ADAL" clId="{D98D1D94-E5EF-4A5F-8B22-D2A92A3A93DC}" dt="2023-11-05T01:12:38.489" v="2191" actId="478"/>
          <ac:grpSpMkLst>
            <pc:docMk/>
            <pc:sldMk cId="3691067364" sldId="349"/>
            <ac:grpSpMk id="7" creationId="{A443CDBF-CC29-43C1-93BB-6B292A616FB6}"/>
          </ac:grpSpMkLst>
        </pc:grpChg>
        <pc:grpChg chg="del">
          <ac:chgData name="Roy Chowdhury, Ritwik" userId="bfb84a7f-f393-43f0-840f-80c362df9247" providerId="ADAL" clId="{D98D1D94-E5EF-4A5F-8B22-D2A92A3A93DC}" dt="2023-11-05T01:12:38.975" v="2192" actId="478"/>
          <ac:grpSpMkLst>
            <pc:docMk/>
            <pc:sldMk cId="3691067364" sldId="349"/>
            <ac:grpSpMk id="88" creationId="{4CB7A62B-6C2C-7395-67F0-1AC1B7E95DA9}"/>
          </ac:grpSpMkLst>
        </pc:grpChg>
        <pc:grpChg chg="del">
          <ac:chgData name="Roy Chowdhury, Ritwik" userId="bfb84a7f-f393-43f0-840f-80c362df9247" providerId="ADAL" clId="{D98D1D94-E5EF-4A5F-8B22-D2A92A3A93DC}" dt="2023-11-05T01:12:39.479" v="2193" actId="478"/>
          <ac:grpSpMkLst>
            <pc:docMk/>
            <pc:sldMk cId="3691067364" sldId="349"/>
            <ac:grpSpMk id="97" creationId="{033A2580-E6E5-AE55-70CE-805E61A1C485}"/>
          </ac:grpSpMkLst>
        </pc:grpChg>
        <pc:picChg chg="del">
          <ac:chgData name="Roy Chowdhury, Ritwik" userId="bfb84a7f-f393-43f0-840f-80c362df9247" providerId="ADAL" clId="{D98D1D94-E5EF-4A5F-8B22-D2A92A3A93DC}" dt="2023-11-05T01:12:40.118" v="2194" actId="478"/>
          <ac:picMkLst>
            <pc:docMk/>
            <pc:sldMk cId="3691067364" sldId="349"/>
            <ac:picMk id="33" creationId="{B96074E0-AD7B-AF84-92AD-606FA3CD0586}"/>
          </ac:picMkLst>
        </pc:picChg>
        <pc:picChg chg="del">
          <ac:chgData name="Roy Chowdhury, Ritwik" userId="bfb84a7f-f393-43f0-840f-80c362df9247" providerId="ADAL" clId="{D98D1D94-E5EF-4A5F-8B22-D2A92A3A93DC}" dt="2023-11-05T01:12:40.839" v="2195" actId="478"/>
          <ac:picMkLst>
            <pc:docMk/>
            <pc:sldMk cId="3691067364" sldId="349"/>
            <ac:picMk id="34" creationId="{423E0012-6122-889F-214D-7A44FABFC8DF}"/>
          </ac:picMkLst>
        </pc:picChg>
      </pc:sldChg>
      <pc:sldChg chg="addSp delSp modSp add del mod modShow">
        <pc:chgData name="Roy Chowdhury, Ritwik" userId="bfb84a7f-f393-43f0-840f-80c362df9247" providerId="ADAL" clId="{D98D1D94-E5EF-4A5F-8B22-D2A92A3A93DC}" dt="2023-11-07T09:31:39.098" v="7261" actId="2696"/>
        <pc:sldMkLst>
          <pc:docMk/>
          <pc:sldMk cId="1625480638" sldId="350"/>
        </pc:sldMkLst>
        <pc:spChg chg="mod">
          <ac:chgData name="Roy Chowdhury, Ritwik" userId="bfb84a7f-f393-43f0-840f-80c362df9247" providerId="ADAL" clId="{D98D1D94-E5EF-4A5F-8B22-D2A92A3A93DC}" dt="2023-11-05T02:22:27.509" v="2768" actId="20577"/>
          <ac:spMkLst>
            <pc:docMk/>
            <pc:sldMk cId="1625480638" sldId="350"/>
            <ac:spMk id="6" creationId="{8D00B77E-1094-F6A8-A1A3-B7C3F59051E4}"/>
          </ac:spMkLst>
        </pc:spChg>
        <pc:spChg chg="del">
          <ac:chgData name="Roy Chowdhury, Ritwik" userId="bfb84a7f-f393-43f0-840f-80c362df9247" providerId="ADAL" clId="{D98D1D94-E5EF-4A5F-8B22-D2A92A3A93DC}" dt="2023-11-05T01:32:14.655" v="2432" actId="478"/>
          <ac:spMkLst>
            <pc:docMk/>
            <pc:sldMk cId="1625480638" sldId="350"/>
            <ac:spMk id="11" creationId="{545A0645-02BC-BFAF-0A9A-D47955B2A40F}"/>
          </ac:spMkLst>
        </pc:spChg>
        <pc:spChg chg="del">
          <ac:chgData name="Roy Chowdhury, Ritwik" userId="bfb84a7f-f393-43f0-840f-80c362df9247" providerId="ADAL" clId="{D98D1D94-E5EF-4A5F-8B22-D2A92A3A93DC}" dt="2023-11-05T01:32:14.655" v="2432" actId="478"/>
          <ac:spMkLst>
            <pc:docMk/>
            <pc:sldMk cId="1625480638" sldId="350"/>
            <ac:spMk id="12" creationId="{144BD143-7EDF-A4B4-5B35-541FE3A46800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4" creationId="{E41B539D-7F10-C4E1-597A-09DC69E17364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5" creationId="{5B12781C-FCB9-CBBA-9187-BB2D4358A5CF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6" creationId="{E581963D-2D75-D1AE-102B-CC8E10FC544E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7" creationId="{630D5AF1-5C1A-05C0-50F3-E61D4C62185B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8" creationId="{22516AB7-8464-719B-041C-D4374BF4A636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19" creationId="{6FA8B44B-457A-85C4-1274-7016558015A7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20" creationId="{D9EEFB1A-4ACB-3384-B415-516F74B49413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21" creationId="{63FED2E3-A3AB-22B1-2447-2D5B45367583}"/>
          </ac:spMkLst>
        </pc:spChg>
        <pc:spChg chg="mod">
          <ac:chgData name="Roy Chowdhury, Ritwik" userId="bfb84a7f-f393-43f0-840f-80c362df9247" providerId="ADAL" clId="{D98D1D94-E5EF-4A5F-8B22-D2A92A3A93DC}" dt="2023-11-05T01:32:16.054" v="2433"/>
          <ac:spMkLst>
            <pc:docMk/>
            <pc:sldMk cId="1625480638" sldId="350"/>
            <ac:spMk id="22" creationId="{60320722-17CC-F27E-5BA4-26A980D81579}"/>
          </ac:spMkLst>
        </pc:spChg>
        <pc:spChg chg="add del mod topLvl">
          <ac:chgData name="Roy Chowdhury, Ritwik" userId="bfb84a7f-f393-43f0-840f-80c362df9247" providerId="ADAL" clId="{D98D1D94-E5EF-4A5F-8B22-D2A92A3A93DC}" dt="2023-11-05T02:08:48.153" v="2518" actId="478"/>
          <ac:spMkLst>
            <pc:docMk/>
            <pc:sldMk cId="1625480638" sldId="350"/>
            <ac:spMk id="29" creationId="{88834D33-139C-0122-9C01-B14101382A07}"/>
          </ac:spMkLst>
        </pc:spChg>
        <pc:spChg chg="add del mod topLvl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30" creationId="{8B663F2D-72C7-9591-DE2C-0326099DA116}"/>
          </ac:spMkLst>
        </pc:spChg>
        <pc:spChg chg="mod topLvl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31" creationId="{31E7599D-66F0-0A3D-07A2-C3B2C5340D61}"/>
          </ac:spMkLst>
        </pc:spChg>
        <pc:spChg chg="add del mod">
          <ac:chgData name="Roy Chowdhury, Ritwik" userId="bfb84a7f-f393-43f0-840f-80c362df9247" providerId="ADAL" clId="{D98D1D94-E5EF-4A5F-8B22-D2A92A3A93DC}" dt="2023-11-05T02:07:51.469" v="2491"/>
          <ac:spMkLst>
            <pc:docMk/>
            <pc:sldMk cId="1625480638" sldId="350"/>
            <ac:spMk id="32" creationId="{7B4F57C5-1325-19D6-FEB7-6C96680A078D}"/>
          </ac:spMkLst>
        </pc:spChg>
        <pc:spChg chg="add mod topLvl">
          <ac:chgData name="Roy Chowdhury, Ritwik" userId="bfb84a7f-f393-43f0-840f-80c362df9247" providerId="ADAL" clId="{D98D1D94-E5EF-4A5F-8B22-D2A92A3A93DC}" dt="2023-11-05T04:44:35.775" v="3920" actId="207"/>
          <ac:spMkLst>
            <pc:docMk/>
            <pc:sldMk cId="1625480638" sldId="350"/>
            <ac:spMk id="34" creationId="{769A3466-EB58-8859-E4BB-004064F26A04}"/>
          </ac:spMkLst>
        </pc:spChg>
        <pc:spChg chg="add del mod">
          <ac:chgData name="Roy Chowdhury, Ritwik" userId="bfb84a7f-f393-43f0-840f-80c362df9247" providerId="ADAL" clId="{D98D1D94-E5EF-4A5F-8B22-D2A92A3A93DC}" dt="2023-11-05T02:11:17.617" v="2540"/>
          <ac:spMkLst>
            <pc:docMk/>
            <pc:sldMk cId="1625480638" sldId="350"/>
            <ac:spMk id="36" creationId="{50D986C0-62C5-DB02-B36B-7820DF667AAD}"/>
          </ac:spMkLst>
        </pc:spChg>
        <pc:spChg chg="add del mod">
          <ac:chgData name="Roy Chowdhury, Ritwik" userId="bfb84a7f-f393-43f0-840f-80c362df9247" providerId="ADAL" clId="{D98D1D94-E5EF-4A5F-8B22-D2A92A3A93DC}" dt="2023-11-05T02:11:17.617" v="2540"/>
          <ac:spMkLst>
            <pc:docMk/>
            <pc:sldMk cId="1625480638" sldId="350"/>
            <ac:spMk id="37" creationId="{490BD420-B409-7876-5187-1E34E0DA3F3B}"/>
          </ac:spMkLst>
        </pc:spChg>
        <pc:spChg chg="add del mod">
          <ac:chgData name="Roy Chowdhury, Ritwik" userId="bfb84a7f-f393-43f0-840f-80c362df9247" providerId="ADAL" clId="{D98D1D94-E5EF-4A5F-8B22-D2A92A3A93DC}" dt="2023-11-05T02:11:17.617" v="2540"/>
          <ac:spMkLst>
            <pc:docMk/>
            <pc:sldMk cId="1625480638" sldId="350"/>
            <ac:spMk id="38" creationId="{8FE42E19-341B-FC1E-D6FF-F325555C60FF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39" creationId="{D900971B-1A49-9892-A8A8-DCC6E5BAED71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40" creationId="{93D7346A-336F-F28E-AFC4-A39B000F240A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43" creationId="{90CA8ADC-05B5-00A8-8371-60C3301E189B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44" creationId="{2139ADF4-D088-8185-6485-3DF951666154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45" creationId="{8BBB751A-248D-2B42-0904-DAD8B5CC19F9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46" creationId="{35B9058D-24B2-FC51-BC90-B50D9C51D5E3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55" creationId="{38CE0E0B-197D-F47F-52D6-083534FE7A33}"/>
          </ac:spMkLst>
        </pc:spChg>
        <pc:spChg chg="add mod">
          <ac:chgData name="Roy Chowdhury, Ritwik" userId="bfb84a7f-f393-43f0-840f-80c362df9247" providerId="ADAL" clId="{D98D1D94-E5EF-4A5F-8B22-D2A92A3A93DC}" dt="2023-11-05T02:46:36.357" v="3121" actId="164"/>
          <ac:spMkLst>
            <pc:docMk/>
            <pc:sldMk cId="1625480638" sldId="350"/>
            <ac:spMk id="56" creationId="{CC9FB4B7-6206-2BB2-4A0A-D5D98E0F98A2}"/>
          </ac:spMkLst>
        </pc:spChg>
        <pc:grpChg chg="del">
          <ac:chgData name="Roy Chowdhury, Ritwik" userId="bfb84a7f-f393-43f0-840f-80c362df9247" providerId="ADAL" clId="{D98D1D94-E5EF-4A5F-8B22-D2A92A3A93DC}" dt="2023-11-05T01:32:14.655" v="2432" actId="478"/>
          <ac:grpSpMkLst>
            <pc:docMk/>
            <pc:sldMk cId="1625480638" sldId="350"/>
            <ac:grpSpMk id="2" creationId="{2E3EC33E-504D-A2B8-F023-008FE5621E88}"/>
          </ac:grpSpMkLst>
        </pc:grpChg>
        <pc:grpChg chg="add del mod">
          <ac:chgData name="Roy Chowdhury, Ritwik" userId="bfb84a7f-f393-43f0-840f-80c362df9247" providerId="ADAL" clId="{D98D1D94-E5EF-4A5F-8B22-D2A92A3A93DC}" dt="2023-11-05T02:06:00.680" v="2469" actId="478"/>
          <ac:grpSpMkLst>
            <pc:docMk/>
            <pc:sldMk cId="1625480638" sldId="350"/>
            <ac:grpSpMk id="5" creationId="{C7CACE45-E4B8-65C7-B306-6BD91CD39521}"/>
          </ac:grpSpMkLst>
        </pc:grpChg>
        <pc:grpChg chg="mod">
          <ac:chgData name="Roy Chowdhury, Ritwik" userId="bfb84a7f-f393-43f0-840f-80c362df9247" providerId="ADAL" clId="{D98D1D94-E5EF-4A5F-8B22-D2A92A3A93DC}" dt="2023-11-05T01:32:16.054" v="2433"/>
          <ac:grpSpMkLst>
            <pc:docMk/>
            <pc:sldMk cId="1625480638" sldId="350"/>
            <ac:grpSpMk id="7" creationId="{3680CFDE-B3A5-929E-7F3E-5F798B0AF3D9}"/>
          </ac:grpSpMkLst>
        </pc:grpChg>
        <pc:grpChg chg="mod">
          <ac:chgData name="Roy Chowdhury, Ritwik" userId="bfb84a7f-f393-43f0-840f-80c362df9247" providerId="ADAL" clId="{D98D1D94-E5EF-4A5F-8B22-D2A92A3A93DC}" dt="2023-11-05T01:32:16.054" v="2433"/>
          <ac:grpSpMkLst>
            <pc:docMk/>
            <pc:sldMk cId="1625480638" sldId="350"/>
            <ac:grpSpMk id="13" creationId="{C404F0CB-BCEE-C682-747C-9A7872B2690F}"/>
          </ac:grpSpMkLst>
        </pc:grpChg>
        <pc:grpChg chg="add del mod">
          <ac:chgData name="Roy Chowdhury, Ritwik" userId="bfb84a7f-f393-43f0-840f-80c362df9247" providerId="ADAL" clId="{D98D1D94-E5EF-4A5F-8B22-D2A92A3A93DC}" dt="2023-11-05T02:06:56.260" v="2474" actId="165"/>
          <ac:grpSpMkLst>
            <pc:docMk/>
            <pc:sldMk cId="1625480638" sldId="350"/>
            <ac:grpSpMk id="28" creationId="{5A1197E7-B40A-A272-1C82-DCE1FF07EE77}"/>
          </ac:grpSpMkLst>
        </pc:grpChg>
        <pc:grpChg chg="add del mod">
          <ac:chgData name="Roy Chowdhury, Ritwik" userId="bfb84a7f-f393-43f0-840f-80c362df9247" providerId="ADAL" clId="{D98D1D94-E5EF-4A5F-8B22-D2A92A3A93DC}" dt="2023-11-05T02:09:58.991" v="2525" actId="165"/>
          <ac:grpSpMkLst>
            <pc:docMk/>
            <pc:sldMk cId="1625480638" sldId="350"/>
            <ac:grpSpMk id="33" creationId="{307F4053-FAB1-0CE3-8060-B73B09DDBF11}"/>
          </ac:grpSpMkLst>
        </pc:grpChg>
        <pc:grpChg chg="add del mod">
          <ac:chgData name="Roy Chowdhury, Ritwik" userId="bfb84a7f-f393-43f0-840f-80c362df9247" providerId="ADAL" clId="{D98D1D94-E5EF-4A5F-8B22-D2A92A3A93DC}" dt="2023-11-05T02:11:12.608" v="2538" actId="165"/>
          <ac:grpSpMkLst>
            <pc:docMk/>
            <pc:sldMk cId="1625480638" sldId="350"/>
            <ac:grpSpMk id="35" creationId="{49F73A2A-E5DD-9198-9C18-A9EE67162F86}"/>
          </ac:grpSpMkLst>
        </pc:grpChg>
        <pc:grpChg chg="add mod">
          <ac:chgData name="Roy Chowdhury, Ritwik" userId="bfb84a7f-f393-43f0-840f-80c362df9247" providerId="ADAL" clId="{D98D1D94-E5EF-4A5F-8B22-D2A92A3A93DC}" dt="2023-11-05T02:46:44.721" v="3122" actId="1076"/>
          <ac:grpSpMkLst>
            <pc:docMk/>
            <pc:sldMk cId="1625480638" sldId="350"/>
            <ac:grpSpMk id="57" creationId="{0A4826A1-CE9E-6FB8-DBD1-935DF07DA336}"/>
          </ac:grpSpMkLst>
        </pc:grpChg>
        <pc:picChg chg="add mod">
          <ac:chgData name="Roy Chowdhury, Ritwik" userId="bfb84a7f-f393-43f0-840f-80c362df9247" providerId="ADAL" clId="{D98D1D94-E5EF-4A5F-8B22-D2A92A3A93DC}" dt="2023-11-05T02:46:36.357" v="3121" actId="164"/>
          <ac:picMkLst>
            <pc:docMk/>
            <pc:sldMk cId="1625480638" sldId="350"/>
            <ac:picMk id="42" creationId="{A026FC29-5B40-5340-51C7-FBEBD130D19A}"/>
          </ac:picMkLst>
        </pc:picChg>
        <pc:picChg chg="add mod">
          <ac:chgData name="Roy Chowdhury, Ritwik" userId="bfb84a7f-f393-43f0-840f-80c362df9247" providerId="ADAL" clId="{D98D1D94-E5EF-4A5F-8B22-D2A92A3A93DC}" dt="2023-11-05T02:46:36.357" v="3121" actId="164"/>
          <ac:picMkLst>
            <pc:docMk/>
            <pc:sldMk cId="1625480638" sldId="350"/>
            <ac:picMk id="48" creationId="{A7E1413C-E329-D55C-290D-7AD2E0ED72B2}"/>
          </ac:picMkLst>
        </pc:picChg>
        <pc:picChg chg="add mod">
          <ac:chgData name="Roy Chowdhury, Ritwik" userId="bfb84a7f-f393-43f0-840f-80c362df9247" providerId="ADAL" clId="{D98D1D94-E5EF-4A5F-8B22-D2A92A3A93DC}" dt="2023-11-05T02:46:36.357" v="3121" actId="164"/>
          <ac:picMkLst>
            <pc:docMk/>
            <pc:sldMk cId="1625480638" sldId="350"/>
            <ac:picMk id="50" creationId="{C07BDCA9-4D6C-F21C-E26F-2112FC38F982}"/>
          </ac:picMkLst>
        </pc:picChg>
        <pc:picChg chg="add mod">
          <ac:chgData name="Roy Chowdhury, Ritwik" userId="bfb84a7f-f393-43f0-840f-80c362df9247" providerId="ADAL" clId="{D98D1D94-E5EF-4A5F-8B22-D2A92A3A93DC}" dt="2023-11-05T02:46:36.357" v="3121" actId="164"/>
          <ac:picMkLst>
            <pc:docMk/>
            <pc:sldMk cId="1625480638" sldId="350"/>
            <ac:picMk id="52" creationId="{95824E37-6929-2BF2-B06E-AC6C91B3C3F3}"/>
          </ac:picMkLst>
        </pc:picChg>
        <pc:picChg chg="add mod">
          <ac:chgData name="Roy Chowdhury, Ritwik" userId="bfb84a7f-f393-43f0-840f-80c362df9247" providerId="ADAL" clId="{D98D1D94-E5EF-4A5F-8B22-D2A92A3A93DC}" dt="2023-11-05T02:46:36.357" v="3121" actId="164"/>
          <ac:picMkLst>
            <pc:docMk/>
            <pc:sldMk cId="1625480638" sldId="350"/>
            <ac:picMk id="54" creationId="{FC109025-8629-9A3E-34C7-4F00EFEC3813}"/>
          </ac:picMkLst>
        </pc:picChg>
        <pc:cxnChg chg="mod">
          <ac:chgData name="Roy Chowdhury, Ritwik" userId="bfb84a7f-f393-43f0-840f-80c362df9247" providerId="ADAL" clId="{D98D1D94-E5EF-4A5F-8B22-D2A92A3A93DC}" dt="2023-11-05T02:06:00.680" v="2469" actId="478"/>
          <ac:cxnSpMkLst>
            <pc:docMk/>
            <pc:sldMk cId="1625480638" sldId="350"/>
            <ac:cxnSpMk id="23" creationId="{B7E2E216-2332-7199-F92A-ECDE04C15BBE}"/>
          </ac:cxnSpMkLst>
        </pc:cxnChg>
        <pc:cxnChg chg="mod">
          <ac:chgData name="Roy Chowdhury, Ritwik" userId="bfb84a7f-f393-43f0-840f-80c362df9247" providerId="ADAL" clId="{D98D1D94-E5EF-4A5F-8B22-D2A92A3A93DC}" dt="2023-11-05T02:06:00.680" v="2469" actId="478"/>
          <ac:cxnSpMkLst>
            <pc:docMk/>
            <pc:sldMk cId="1625480638" sldId="350"/>
            <ac:cxnSpMk id="24" creationId="{1452E511-AACC-34F7-9187-F6A60F4943B0}"/>
          </ac:cxnSpMkLst>
        </pc:cxnChg>
        <pc:cxnChg chg="mod">
          <ac:chgData name="Roy Chowdhury, Ritwik" userId="bfb84a7f-f393-43f0-840f-80c362df9247" providerId="ADAL" clId="{D98D1D94-E5EF-4A5F-8B22-D2A92A3A93DC}" dt="2023-11-05T02:06:00.680" v="2469" actId="478"/>
          <ac:cxnSpMkLst>
            <pc:docMk/>
            <pc:sldMk cId="1625480638" sldId="350"/>
            <ac:cxnSpMk id="25" creationId="{4CBD2FC9-1870-3318-3BE8-183AD5CA90A0}"/>
          </ac:cxnSpMkLst>
        </pc:cxnChg>
        <pc:cxnChg chg="mod">
          <ac:chgData name="Roy Chowdhury, Ritwik" userId="bfb84a7f-f393-43f0-840f-80c362df9247" providerId="ADAL" clId="{D98D1D94-E5EF-4A5F-8B22-D2A92A3A93DC}" dt="2023-11-05T02:06:00.680" v="2469" actId="478"/>
          <ac:cxnSpMkLst>
            <pc:docMk/>
            <pc:sldMk cId="1625480638" sldId="350"/>
            <ac:cxnSpMk id="26" creationId="{B90A87C7-ABA5-4F99-FB64-B3128B97B876}"/>
          </ac:cxnSpMkLst>
        </pc:cxnChg>
        <pc:cxnChg chg="mod">
          <ac:chgData name="Roy Chowdhury, Ritwik" userId="bfb84a7f-f393-43f0-840f-80c362df9247" providerId="ADAL" clId="{D98D1D94-E5EF-4A5F-8B22-D2A92A3A93DC}" dt="2023-11-05T02:06:00.680" v="2469" actId="478"/>
          <ac:cxnSpMkLst>
            <pc:docMk/>
            <pc:sldMk cId="1625480638" sldId="350"/>
            <ac:cxnSpMk id="27" creationId="{6B193C6D-3FCE-6E82-4E74-23742CD9E328}"/>
          </ac:cxnSpMkLst>
        </pc:cxnChg>
      </pc:sldChg>
      <pc:sldChg chg="addSp delSp modSp add mod modClrScheme chgLayout">
        <pc:chgData name="Roy Chowdhury, Ritwik" userId="bfb84a7f-f393-43f0-840f-80c362df9247" providerId="ADAL" clId="{D98D1D94-E5EF-4A5F-8B22-D2A92A3A93DC}" dt="2023-11-08T06:22:37.924" v="11980" actId="120"/>
        <pc:sldMkLst>
          <pc:docMk/>
          <pc:sldMk cId="1428870141" sldId="352"/>
        </pc:sldMkLst>
        <pc:spChg chg="mod">
          <ac:chgData name="Roy Chowdhury, Ritwik" userId="bfb84a7f-f393-43f0-840f-80c362df9247" providerId="ADAL" clId="{D98D1D94-E5EF-4A5F-8B22-D2A92A3A93DC}" dt="2023-11-05T03:26:50.592" v="3180" actId="207"/>
          <ac:spMkLst>
            <pc:docMk/>
            <pc:sldMk cId="1428870141" sldId="352"/>
            <ac:spMk id="3" creationId="{4D1B76A3-4AE4-56C1-4B5B-EB3A7B484C43}"/>
          </ac:spMkLst>
        </pc:spChg>
        <pc:spChg chg="mod">
          <ac:chgData name="Roy Chowdhury, Ritwik" userId="bfb84a7f-f393-43f0-840f-80c362df9247" providerId="ADAL" clId="{D98D1D94-E5EF-4A5F-8B22-D2A92A3A93DC}" dt="2023-11-05T03:30:49.876" v="3197" actId="20577"/>
          <ac:spMkLst>
            <pc:docMk/>
            <pc:sldMk cId="1428870141" sldId="352"/>
            <ac:spMk id="5" creationId="{F0B42516-9D4C-8136-49F3-76CEECFDAEAA}"/>
          </ac:spMkLst>
        </pc:spChg>
        <pc:spChg chg="mod">
          <ac:chgData name="Roy Chowdhury, Ritwik" userId="bfb84a7f-f393-43f0-840f-80c362df9247" providerId="ADAL" clId="{D98D1D94-E5EF-4A5F-8B22-D2A92A3A93DC}" dt="2023-11-08T06:22:37.924" v="11980" actId="120"/>
          <ac:spMkLst>
            <pc:docMk/>
            <pc:sldMk cId="1428870141" sldId="352"/>
            <ac:spMk id="6" creationId="{8D00B77E-1094-F6A8-A1A3-B7C3F59051E4}"/>
          </ac:spMkLst>
        </pc:spChg>
        <pc:spChg chg="mod">
          <ac:chgData name="Roy Chowdhury, Ritwik" userId="bfb84a7f-f393-43f0-840f-80c362df9247" providerId="ADAL" clId="{D98D1D94-E5EF-4A5F-8B22-D2A92A3A93DC}" dt="2023-11-05T03:25:41.544" v="3176" actId="207"/>
          <ac:spMkLst>
            <pc:docMk/>
            <pc:sldMk cId="1428870141" sldId="352"/>
            <ac:spMk id="7" creationId="{E6EEA39C-4A9E-8DF5-E239-89F85543B19B}"/>
          </ac:spMkLst>
        </pc:spChg>
        <pc:spChg chg="mod">
          <ac:chgData name="Roy Chowdhury, Ritwik" userId="bfb84a7f-f393-43f0-840f-80c362df9247" providerId="ADAL" clId="{D98D1D94-E5EF-4A5F-8B22-D2A92A3A93DC}" dt="2023-11-05T03:26:33.747" v="3179" actId="207"/>
          <ac:spMkLst>
            <pc:docMk/>
            <pc:sldMk cId="1428870141" sldId="352"/>
            <ac:spMk id="8" creationId="{71E46800-AFE6-96E1-663A-99F0365CA6B0}"/>
          </ac:spMkLst>
        </pc:spChg>
        <pc:spChg chg="add mod">
          <ac:chgData name="Roy Chowdhury, Ritwik" userId="bfb84a7f-f393-43f0-840f-80c362df9247" providerId="ADAL" clId="{D98D1D94-E5EF-4A5F-8B22-D2A92A3A93DC}" dt="2023-11-07T09:31:15.967" v="7256" actId="20577"/>
          <ac:spMkLst>
            <pc:docMk/>
            <pc:sldMk cId="1428870141" sldId="352"/>
            <ac:spMk id="9" creationId="{709C991E-8140-455E-F17F-56AEDDF39CC9}"/>
          </ac:spMkLst>
        </pc:spChg>
        <pc:spChg chg="add del mod topLvl">
          <ac:chgData name="Roy Chowdhury, Ritwik" userId="bfb84a7f-f393-43f0-840f-80c362df9247" providerId="ADAL" clId="{D98D1D94-E5EF-4A5F-8B22-D2A92A3A93DC}" dt="2023-11-05T03:55:19.569" v="3332" actId="478"/>
          <ac:spMkLst>
            <pc:docMk/>
            <pc:sldMk cId="1428870141" sldId="352"/>
            <ac:spMk id="11" creationId="{6E687631-CA9D-240D-D50A-8979B4C2150C}"/>
          </ac:spMkLst>
        </pc:spChg>
        <pc:spChg chg="add del mod">
          <ac:chgData name="Roy Chowdhury, Ritwik" userId="bfb84a7f-f393-43f0-840f-80c362df9247" providerId="ADAL" clId="{D98D1D94-E5EF-4A5F-8B22-D2A92A3A93DC}" dt="2023-11-05T03:56:13.596" v="3342" actId="478"/>
          <ac:spMkLst>
            <pc:docMk/>
            <pc:sldMk cId="1428870141" sldId="352"/>
            <ac:spMk id="12" creationId="{B161DBCA-A7EB-906B-BDD0-03E9B48E9423}"/>
          </ac:spMkLst>
        </pc:spChg>
        <pc:spChg chg="add mod">
          <ac:chgData name="Roy Chowdhury, Ritwik" userId="bfb84a7f-f393-43f0-840f-80c362df9247" providerId="ADAL" clId="{D98D1D94-E5EF-4A5F-8B22-D2A92A3A93DC}" dt="2023-11-05T20:21:59.212" v="4932" actId="207"/>
          <ac:spMkLst>
            <pc:docMk/>
            <pc:sldMk cId="1428870141" sldId="352"/>
            <ac:spMk id="15" creationId="{FFF64D36-7A35-8260-7F1B-3B11E5C4AF02}"/>
          </ac:spMkLst>
        </pc:spChg>
        <pc:spChg chg="add mod">
          <ac:chgData name="Roy Chowdhury, Ritwik" userId="bfb84a7f-f393-43f0-840f-80c362df9247" providerId="ADAL" clId="{D98D1D94-E5EF-4A5F-8B22-D2A92A3A93DC}" dt="2023-11-05T04:27:35.142" v="3666" actId="14100"/>
          <ac:spMkLst>
            <pc:docMk/>
            <pc:sldMk cId="1428870141" sldId="352"/>
            <ac:spMk id="18" creationId="{26E4B215-3452-905E-AD86-5CC11EE46EE5}"/>
          </ac:spMkLst>
        </pc:spChg>
        <pc:spChg chg="add mod">
          <ac:chgData name="Roy Chowdhury, Ritwik" userId="bfb84a7f-f393-43f0-840f-80c362df9247" providerId="ADAL" clId="{D98D1D94-E5EF-4A5F-8B22-D2A92A3A93DC}" dt="2023-11-07T09:31:19.886" v="7258" actId="20577"/>
          <ac:spMkLst>
            <pc:docMk/>
            <pc:sldMk cId="1428870141" sldId="352"/>
            <ac:spMk id="19" creationId="{72DC391A-8F31-4C4A-B49E-A220175C6096}"/>
          </ac:spMkLst>
        </pc:spChg>
        <pc:spChg chg="add mod">
          <ac:chgData name="Roy Chowdhury, Ritwik" userId="bfb84a7f-f393-43f0-840f-80c362df9247" providerId="ADAL" clId="{D98D1D94-E5EF-4A5F-8B22-D2A92A3A93DC}" dt="2023-11-06T22:41:07.378" v="6273"/>
          <ac:spMkLst>
            <pc:docMk/>
            <pc:sldMk cId="1428870141" sldId="352"/>
            <ac:spMk id="20" creationId="{28315E8B-3DD9-4773-35A6-8B0EA29AD904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30" creationId="{8B663F2D-72C7-9591-DE2C-0326099DA116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31" creationId="{31E7599D-66F0-0A3D-07A2-C3B2C5340D61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34" creationId="{769A3466-EB58-8859-E4BB-004064F26A04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39" creationId="{D900971B-1A49-9892-A8A8-DCC6E5BAED71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40" creationId="{93D7346A-336F-F28E-AFC4-A39B000F240A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43" creationId="{90CA8ADC-05B5-00A8-8371-60C3301E189B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44" creationId="{2139ADF4-D088-8185-6485-3DF951666154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45" creationId="{8BBB751A-248D-2B42-0904-DAD8B5CC19F9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46" creationId="{35B9058D-24B2-FC51-BC90-B50D9C51D5E3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55" creationId="{38CE0E0B-197D-F47F-52D6-083534FE7A33}"/>
          </ac:spMkLst>
        </pc:spChg>
        <pc:spChg chg="del">
          <ac:chgData name="Roy Chowdhury, Ritwik" userId="bfb84a7f-f393-43f0-840f-80c362df9247" providerId="ADAL" clId="{D98D1D94-E5EF-4A5F-8B22-D2A92A3A93DC}" dt="2023-11-05T02:46:51.622" v="3123" actId="478"/>
          <ac:spMkLst>
            <pc:docMk/>
            <pc:sldMk cId="1428870141" sldId="352"/>
            <ac:spMk id="56" creationId="{CC9FB4B7-6206-2BB2-4A0A-D5D98E0F98A2}"/>
          </ac:spMkLst>
        </pc:spChg>
        <pc:grpChg chg="add mod">
          <ac:chgData name="Roy Chowdhury, Ritwik" userId="bfb84a7f-f393-43f0-840f-80c362df9247" providerId="ADAL" clId="{D98D1D94-E5EF-4A5F-8B22-D2A92A3A93DC}" dt="2023-11-05T03:57:20.760" v="3348" actId="1076"/>
          <ac:grpSpMkLst>
            <pc:docMk/>
            <pc:sldMk cId="1428870141" sldId="352"/>
            <ac:grpSpMk id="2" creationId="{DA5181A8-5446-1BBF-A879-79EB273B05AE}"/>
          </ac:grpSpMkLst>
        </pc:grpChg>
        <pc:grpChg chg="mod">
          <ac:chgData name="Roy Chowdhury, Ritwik" userId="bfb84a7f-f393-43f0-840f-80c362df9247" providerId="ADAL" clId="{D98D1D94-E5EF-4A5F-8B22-D2A92A3A93DC}" dt="2023-11-05T03:24:50.004" v="3173" actId="207"/>
          <ac:grpSpMkLst>
            <pc:docMk/>
            <pc:sldMk cId="1428870141" sldId="352"/>
            <ac:grpSpMk id="4" creationId="{3075A22D-B6F3-536E-8204-4CF194FF0C2F}"/>
          </ac:grpSpMkLst>
        </pc:grpChg>
        <pc:grpChg chg="add del mod">
          <ac:chgData name="Roy Chowdhury, Ritwik" userId="bfb84a7f-f393-43f0-840f-80c362df9247" providerId="ADAL" clId="{D98D1D94-E5EF-4A5F-8B22-D2A92A3A93DC}" dt="2023-11-05T03:55:19.569" v="3332" actId="478"/>
          <ac:grpSpMkLst>
            <pc:docMk/>
            <pc:sldMk cId="1428870141" sldId="352"/>
            <ac:grpSpMk id="17" creationId="{1675B940-66D6-5164-B34F-7142DE0C8314}"/>
          </ac:grpSpMkLst>
        </pc:grpChg>
        <pc:picChg chg="add mod">
          <ac:chgData name="Roy Chowdhury, Ritwik" userId="bfb84a7f-f393-43f0-840f-80c362df9247" providerId="ADAL" clId="{D98D1D94-E5EF-4A5F-8B22-D2A92A3A93DC}" dt="2023-11-05T03:44:07.994" v="3259" actId="14861"/>
          <ac:picMkLst>
            <pc:docMk/>
            <pc:sldMk cId="1428870141" sldId="352"/>
            <ac:picMk id="10" creationId="{7D03CE54-5BC1-A1A2-32FF-D91923176A1A}"/>
          </ac:picMkLst>
        </pc:picChg>
        <pc:picChg chg="add del mod topLvl">
          <ac:chgData name="Roy Chowdhury, Ritwik" userId="bfb84a7f-f393-43f0-840f-80c362df9247" providerId="ADAL" clId="{D98D1D94-E5EF-4A5F-8B22-D2A92A3A93DC}" dt="2023-11-05T03:55:20.688" v="3333" actId="478"/>
          <ac:picMkLst>
            <pc:docMk/>
            <pc:sldMk cId="1428870141" sldId="352"/>
            <ac:picMk id="14" creationId="{C8170A14-AE51-1F44-AF8D-79633F544C75}"/>
          </ac:picMkLst>
        </pc:picChg>
        <pc:picChg chg="add mod">
          <ac:chgData name="Roy Chowdhury, Ritwik" userId="bfb84a7f-f393-43f0-840f-80c362df9247" providerId="ADAL" clId="{D98D1D94-E5EF-4A5F-8B22-D2A92A3A93DC}" dt="2023-11-05T20:24:13.496" v="4937" actId="208"/>
          <ac:picMkLst>
            <pc:docMk/>
            <pc:sldMk cId="1428870141" sldId="352"/>
            <ac:picMk id="16" creationId="{A1A13B73-2398-DFF8-CA9A-60F8858E9645}"/>
          </ac:picMkLst>
        </pc:picChg>
        <pc:picChg chg="add mod">
          <ac:chgData name="Roy Chowdhury, Ritwik" userId="bfb84a7f-f393-43f0-840f-80c362df9247" providerId="ADAL" clId="{D98D1D94-E5EF-4A5F-8B22-D2A92A3A93DC}" dt="2023-11-05T03:55:44.067" v="3339" actId="14861"/>
          <ac:picMkLst>
            <pc:docMk/>
            <pc:sldMk cId="1428870141" sldId="352"/>
            <ac:picMk id="22" creationId="{2A98A7DA-D744-579C-4C79-4EA14D5A54DD}"/>
          </ac:picMkLst>
        </pc:picChg>
        <pc:picChg chg="add mod">
          <ac:chgData name="Roy Chowdhury, Ritwik" userId="bfb84a7f-f393-43f0-840f-80c362df9247" providerId="ADAL" clId="{D98D1D94-E5EF-4A5F-8B22-D2A92A3A93DC}" dt="2023-11-05T03:57:31.025" v="3352" actId="14861"/>
          <ac:picMkLst>
            <pc:docMk/>
            <pc:sldMk cId="1428870141" sldId="352"/>
            <ac:picMk id="24" creationId="{926D06E7-7D5F-E200-F5E7-5E9C972B710E}"/>
          </ac:picMkLst>
        </pc:picChg>
        <pc:picChg chg="del">
          <ac:chgData name="Roy Chowdhury, Ritwik" userId="bfb84a7f-f393-43f0-840f-80c362df9247" providerId="ADAL" clId="{D98D1D94-E5EF-4A5F-8B22-D2A92A3A93DC}" dt="2023-11-05T02:46:51.622" v="3123" actId="478"/>
          <ac:picMkLst>
            <pc:docMk/>
            <pc:sldMk cId="1428870141" sldId="352"/>
            <ac:picMk id="42" creationId="{A026FC29-5B40-5340-51C7-FBEBD130D19A}"/>
          </ac:picMkLst>
        </pc:picChg>
        <pc:picChg chg="del">
          <ac:chgData name="Roy Chowdhury, Ritwik" userId="bfb84a7f-f393-43f0-840f-80c362df9247" providerId="ADAL" clId="{D98D1D94-E5EF-4A5F-8B22-D2A92A3A93DC}" dt="2023-11-05T02:46:51.622" v="3123" actId="478"/>
          <ac:picMkLst>
            <pc:docMk/>
            <pc:sldMk cId="1428870141" sldId="352"/>
            <ac:picMk id="48" creationId="{A7E1413C-E329-D55C-290D-7AD2E0ED72B2}"/>
          </ac:picMkLst>
        </pc:picChg>
        <pc:picChg chg="del">
          <ac:chgData name="Roy Chowdhury, Ritwik" userId="bfb84a7f-f393-43f0-840f-80c362df9247" providerId="ADAL" clId="{D98D1D94-E5EF-4A5F-8B22-D2A92A3A93DC}" dt="2023-11-05T02:46:51.622" v="3123" actId="478"/>
          <ac:picMkLst>
            <pc:docMk/>
            <pc:sldMk cId="1428870141" sldId="352"/>
            <ac:picMk id="50" creationId="{C07BDCA9-4D6C-F21C-E26F-2112FC38F982}"/>
          </ac:picMkLst>
        </pc:picChg>
        <pc:picChg chg="del">
          <ac:chgData name="Roy Chowdhury, Ritwik" userId="bfb84a7f-f393-43f0-840f-80c362df9247" providerId="ADAL" clId="{D98D1D94-E5EF-4A5F-8B22-D2A92A3A93DC}" dt="2023-11-05T02:46:51.622" v="3123" actId="478"/>
          <ac:picMkLst>
            <pc:docMk/>
            <pc:sldMk cId="1428870141" sldId="352"/>
            <ac:picMk id="52" creationId="{95824E37-6929-2BF2-B06E-AC6C91B3C3F3}"/>
          </ac:picMkLst>
        </pc:picChg>
        <pc:picChg chg="del">
          <ac:chgData name="Roy Chowdhury, Ritwik" userId="bfb84a7f-f393-43f0-840f-80c362df9247" providerId="ADAL" clId="{D98D1D94-E5EF-4A5F-8B22-D2A92A3A93DC}" dt="2023-11-05T02:46:51.622" v="3123" actId="478"/>
          <ac:picMkLst>
            <pc:docMk/>
            <pc:sldMk cId="1428870141" sldId="352"/>
            <ac:picMk id="54" creationId="{FC109025-8629-9A3E-34C7-4F00EFEC3813}"/>
          </ac:picMkLst>
        </pc:picChg>
      </pc:sldChg>
      <pc:sldChg chg="modSp mod">
        <pc:chgData name="Roy Chowdhury, Ritwik" userId="bfb84a7f-f393-43f0-840f-80c362df9247" providerId="ADAL" clId="{D98D1D94-E5EF-4A5F-8B22-D2A92A3A93DC}" dt="2023-11-07T05:16:33.434" v="6511" actId="20577"/>
        <pc:sldMkLst>
          <pc:docMk/>
          <pc:sldMk cId="13900367" sldId="356"/>
        </pc:sldMkLst>
        <pc:spChg chg="mod">
          <ac:chgData name="Roy Chowdhury, Ritwik" userId="bfb84a7f-f393-43f0-840f-80c362df9247" providerId="ADAL" clId="{D98D1D94-E5EF-4A5F-8B22-D2A92A3A93DC}" dt="2023-11-07T05:16:33.434" v="6511" actId="20577"/>
          <ac:spMkLst>
            <pc:docMk/>
            <pc:sldMk cId="13900367" sldId="356"/>
            <ac:spMk id="2" creationId="{D38E5C8C-3841-BCDE-2788-4F1BD656772E}"/>
          </ac:spMkLst>
        </pc:spChg>
      </pc:sldChg>
      <pc:sldChg chg="modSp mod">
        <pc:chgData name="Roy Chowdhury, Ritwik" userId="bfb84a7f-f393-43f0-840f-80c362df9247" providerId="ADAL" clId="{D98D1D94-E5EF-4A5F-8B22-D2A92A3A93DC}" dt="2023-11-07T07:54:57.547" v="7253" actId="20577"/>
        <pc:sldMkLst>
          <pc:docMk/>
          <pc:sldMk cId="196079218" sldId="360"/>
        </pc:sldMkLst>
        <pc:spChg chg="mod">
          <ac:chgData name="Roy Chowdhury, Ritwik" userId="bfb84a7f-f393-43f0-840f-80c362df9247" providerId="ADAL" clId="{D98D1D94-E5EF-4A5F-8B22-D2A92A3A93DC}" dt="2023-11-07T07:54:57.547" v="7253" actId="20577"/>
          <ac:spMkLst>
            <pc:docMk/>
            <pc:sldMk cId="196079218" sldId="360"/>
            <ac:spMk id="27" creationId="{02D62AF9-F02F-1649-298A-37C592AFA5A1}"/>
          </ac:spMkLst>
        </pc:spChg>
      </pc:sldChg>
      <pc:sldChg chg="addSp delSp modSp add del mod modShow">
        <pc:chgData name="Roy Chowdhury, Ritwik" userId="bfb84a7f-f393-43f0-840f-80c362df9247" providerId="ADAL" clId="{D98D1D94-E5EF-4A5F-8B22-D2A92A3A93DC}" dt="2023-11-05T19:35:00.283" v="4553" actId="2696"/>
        <pc:sldMkLst>
          <pc:docMk/>
          <pc:sldMk cId="3523412908" sldId="361"/>
        </pc:sldMkLst>
        <pc:spChg chg="mod">
          <ac:chgData name="Roy Chowdhury, Ritwik" userId="bfb84a7f-f393-43f0-840f-80c362df9247" providerId="ADAL" clId="{D98D1D94-E5EF-4A5F-8B22-D2A92A3A93DC}" dt="2023-11-05T04:01:27.813" v="3378" actId="20577"/>
          <ac:spMkLst>
            <pc:docMk/>
            <pc:sldMk cId="3523412908" sldId="361"/>
            <ac:spMk id="6" creationId="{8D00B77E-1094-F6A8-A1A3-B7C3F59051E4}"/>
          </ac:spMkLst>
        </pc:spChg>
        <pc:spChg chg="mod">
          <ac:chgData name="Roy Chowdhury, Ritwik" userId="bfb84a7f-f393-43f0-840f-80c362df9247" providerId="ADAL" clId="{D98D1D94-E5EF-4A5F-8B22-D2A92A3A93DC}" dt="2023-11-05T04:13:54.023" v="3461" actId="207"/>
          <ac:spMkLst>
            <pc:docMk/>
            <pc:sldMk cId="3523412908" sldId="361"/>
            <ac:spMk id="7" creationId="{E6EEA39C-4A9E-8DF5-E239-89F85543B19B}"/>
          </ac:spMkLst>
        </pc:spChg>
        <pc:spChg chg="add mod">
          <ac:chgData name="Roy Chowdhury, Ritwik" userId="bfb84a7f-f393-43f0-840f-80c362df9247" providerId="ADAL" clId="{D98D1D94-E5EF-4A5F-8B22-D2A92A3A93DC}" dt="2023-11-05T04:23:20.327" v="3663" actId="208"/>
          <ac:spMkLst>
            <pc:docMk/>
            <pc:sldMk cId="3523412908" sldId="361"/>
            <ac:spMk id="13" creationId="{BAA45B1D-F460-C916-23B8-7382D4CF3871}"/>
          </ac:spMkLst>
        </pc:spChg>
        <pc:spChg chg="mod">
          <ac:chgData name="Roy Chowdhury, Ritwik" userId="bfb84a7f-f393-43f0-840f-80c362df9247" providerId="ADAL" clId="{D98D1D94-E5EF-4A5F-8B22-D2A92A3A93DC}" dt="2023-11-05T03:59:48.315" v="3360" actId="164"/>
          <ac:spMkLst>
            <pc:docMk/>
            <pc:sldMk cId="3523412908" sldId="361"/>
            <ac:spMk id="15" creationId="{FFF64D36-7A35-8260-7F1B-3B11E5C4AF02}"/>
          </ac:spMkLst>
        </pc:spChg>
        <pc:spChg chg="del">
          <ac:chgData name="Roy Chowdhury, Ritwik" userId="bfb84a7f-f393-43f0-840f-80c362df9247" providerId="ADAL" clId="{D98D1D94-E5EF-4A5F-8B22-D2A92A3A93DC}" dt="2023-11-05T03:59:37.099" v="3357" actId="478"/>
          <ac:spMkLst>
            <pc:docMk/>
            <pc:sldMk cId="3523412908" sldId="361"/>
            <ac:spMk id="18" creationId="{26E4B215-3452-905E-AD86-5CC11EE46EE5}"/>
          </ac:spMkLst>
        </pc:spChg>
        <pc:spChg chg="del">
          <ac:chgData name="Roy Chowdhury, Ritwik" userId="bfb84a7f-f393-43f0-840f-80c362df9247" providerId="ADAL" clId="{D98D1D94-E5EF-4A5F-8B22-D2A92A3A93DC}" dt="2023-11-05T03:59:34.740" v="3355" actId="478"/>
          <ac:spMkLst>
            <pc:docMk/>
            <pc:sldMk cId="3523412908" sldId="361"/>
            <ac:spMk id="19" creationId="{72DC391A-8F31-4C4A-B49E-A220175C6096}"/>
          </ac:spMkLst>
        </pc:spChg>
        <pc:spChg chg="del">
          <ac:chgData name="Roy Chowdhury, Ritwik" userId="bfb84a7f-f393-43f0-840f-80c362df9247" providerId="ADAL" clId="{D98D1D94-E5EF-4A5F-8B22-D2A92A3A93DC}" dt="2023-11-05T03:59:35.971" v="3356" actId="478"/>
          <ac:spMkLst>
            <pc:docMk/>
            <pc:sldMk cId="3523412908" sldId="361"/>
            <ac:spMk id="20" creationId="{28315E8B-3DD9-4773-35A6-8B0EA29AD904}"/>
          </ac:spMkLst>
        </pc:spChg>
        <pc:spChg chg="add mod">
          <ac:chgData name="Roy Chowdhury, Ritwik" userId="bfb84a7f-f393-43f0-840f-80c362df9247" providerId="ADAL" clId="{D98D1D94-E5EF-4A5F-8B22-D2A92A3A93DC}" dt="2023-11-05T04:20:38.854" v="3583" actId="404"/>
          <ac:spMkLst>
            <pc:docMk/>
            <pc:sldMk cId="3523412908" sldId="361"/>
            <ac:spMk id="44" creationId="{B17073A9-39AC-430F-F743-B945233925E1}"/>
          </ac:spMkLst>
        </pc:spChg>
        <pc:spChg chg="add mod">
          <ac:chgData name="Roy Chowdhury, Ritwik" userId="bfb84a7f-f393-43f0-840f-80c362df9247" providerId="ADAL" clId="{D98D1D94-E5EF-4A5F-8B22-D2A92A3A93DC}" dt="2023-11-05T04:20:43.338" v="3584" actId="1076"/>
          <ac:spMkLst>
            <pc:docMk/>
            <pc:sldMk cId="3523412908" sldId="361"/>
            <ac:spMk id="47" creationId="{ACF1A688-684E-84C9-4582-7872459E1D35}"/>
          </ac:spMkLst>
        </pc:spChg>
        <pc:spChg chg="add mod">
          <ac:chgData name="Roy Chowdhury, Ritwik" userId="bfb84a7f-f393-43f0-840f-80c362df9247" providerId="ADAL" clId="{D98D1D94-E5EF-4A5F-8B22-D2A92A3A93DC}" dt="2023-11-05T04:20:23.481" v="3579" actId="404"/>
          <ac:spMkLst>
            <pc:docMk/>
            <pc:sldMk cId="3523412908" sldId="361"/>
            <ac:spMk id="48" creationId="{C69523AB-F0C0-2ADA-DFBA-7B516600DAEE}"/>
          </ac:spMkLst>
        </pc:spChg>
        <pc:spChg chg="add mod">
          <ac:chgData name="Roy Chowdhury, Ritwik" userId="bfb84a7f-f393-43f0-840f-80c362df9247" providerId="ADAL" clId="{D98D1D94-E5EF-4A5F-8B22-D2A92A3A93DC}" dt="2023-11-05T04:20:23.481" v="3579" actId="404"/>
          <ac:spMkLst>
            <pc:docMk/>
            <pc:sldMk cId="3523412908" sldId="361"/>
            <ac:spMk id="49" creationId="{81EEE404-BF2C-DC8D-4A63-8EF2312E00AC}"/>
          </ac:spMkLst>
        </pc:spChg>
        <pc:spChg chg="add mod">
          <ac:chgData name="Roy Chowdhury, Ritwik" userId="bfb84a7f-f393-43f0-840f-80c362df9247" providerId="ADAL" clId="{D98D1D94-E5EF-4A5F-8B22-D2A92A3A93DC}" dt="2023-11-05T04:20:23.481" v="3579" actId="404"/>
          <ac:spMkLst>
            <pc:docMk/>
            <pc:sldMk cId="3523412908" sldId="361"/>
            <ac:spMk id="50" creationId="{A8348C85-FB8D-6977-7FE3-DFC032083D2A}"/>
          </ac:spMkLst>
        </pc:spChg>
        <pc:spChg chg="add mod">
          <ac:chgData name="Roy Chowdhury, Ritwik" userId="bfb84a7f-f393-43f0-840f-80c362df9247" providerId="ADAL" clId="{D98D1D94-E5EF-4A5F-8B22-D2A92A3A93DC}" dt="2023-11-05T04:20:23.481" v="3579" actId="404"/>
          <ac:spMkLst>
            <pc:docMk/>
            <pc:sldMk cId="3523412908" sldId="361"/>
            <ac:spMk id="51" creationId="{9D70D7C2-FA07-46D3-BE34-C92FE7F2CE5F}"/>
          </ac:spMkLst>
        </pc:spChg>
        <pc:spChg chg="add mod">
          <ac:chgData name="Roy Chowdhury, Ritwik" userId="bfb84a7f-f393-43f0-840f-80c362df9247" providerId="ADAL" clId="{D98D1D94-E5EF-4A5F-8B22-D2A92A3A93DC}" dt="2023-11-05T04:20:54.467" v="3585" actId="404"/>
          <ac:spMkLst>
            <pc:docMk/>
            <pc:sldMk cId="3523412908" sldId="361"/>
            <ac:spMk id="52" creationId="{4AC67224-E2CB-C7BF-D79B-5DF41E2C37C1}"/>
          </ac:spMkLst>
        </pc:spChg>
        <pc:spChg chg="add del mod">
          <ac:chgData name="Roy Chowdhury, Ritwik" userId="bfb84a7f-f393-43f0-840f-80c362df9247" providerId="ADAL" clId="{D98D1D94-E5EF-4A5F-8B22-D2A92A3A93DC}" dt="2023-11-05T04:22:29.855" v="3634" actId="478"/>
          <ac:spMkLst>
            <pc:docMk/>
            <pc:sldMk cId="3523412908" sldId="361"/>
            <ac:spMk id="53" creationId="{E1378E14-A3F1-6026-A0F8-D431D92E96E3}"/>
          </ac:spMkLst>
        </pc:spChg>
        <pc:spChg chg="add mod">
          <ac:chgData name="Roy Chowdhury, Ritwik" userId="bfb84a7f-f393-43f0-840f-80c362df9247" providerId="ADAL" clId="{D98D1D94-E5EF-4A5F-8B22-D2A92A3A93DC}" dt="2023-11-05T04:35:13.054" v="3826" actId="1076"/>
          <ac:spMkLst>
            <pc:docMk/>
            <pc:sldMk cId="3523412908" sldId="361"/>
            <ac:spMk id="54" creationId="{E38512A5-3AEA-06B8-C332-3FC288C954C3}"/>
          </ac:spMkLst>
        </pc:spChg>
        <pc:grpChg chg="mod">
          <ac:chgData name="Roy Chowdhury, Ritwik" userId="bfb84a7f-f393-43f0-840f-80c362df9247" providerId="ADAL" clId="{D98D1D94-E5EF-4A5F-8B22-D2A92A3A93DC}" dt="2023-11-05T03:59:48.315" v="3360" actId="164"/>
          <ac:grpSpMkLst>
            <pc:docMk/>
            <pc:sldMk cId="3523412908" sldId="361"/>
            <ac:grpSpMk id="2" creationId="{DA5181A8-5446-1BBF-A879-79EB273B05AE}"/>
          </ac:grpSpMkLst>
        </pc:grpChg>
        <pc:grpChg chg="add mod">
          <ac:chgData name="Roy Chowdhury, Ritwik" userId="bfb84a7f-f393-43f0-840f-80c362df9247" providerId="ADAL" clId="{D98D1D94-E5EF-4A5F-8B22-D2A92A3A93DC}" dt="2023-11-05T04:00:48.046" v="3365" actId="1076"/>
          <ac:grpSpMkLst>
            <pc:docMk/>
            <pc:sldMk cId="3523412908" sldId="361"/>
            <ac:grpSpMk id="9" creationId="{C583B5DC-E0E7-3A97-CAFA-3F82C715AAA7}"/>
          </ac:grpSpMkLst>
        </pc:grpChg>
        <pc:picChg chg="mod">
          <ac:chgData name="Roy Chowdhury, Ritwik" userId="bfb84a7f-f393-43f0-840f-80c362df9247" providerId="ADAL" clId="{D98D1D94-E5EF-4A5F-8B22-D2A92A3A93DC}" dt="2023-11-05T04:13:37.943" v="3459" actId="207"/>
          <ac:picMkLst>
            <pc:docMk/>
            <pc:sldMk cId="3523412908" sldId="361"/>
            <ac:picMk id="10" creationId="{7D03CE54-5BC1-A1A2-32FF-D91923176A1A}"/>
          </ac:picMkLst>
        </pc:picChg>
        <pc:picChg chg="mod">
          <ac:chgData name="Roy Chowdhury, Ritwik" userId="bfb84a7f-f393-43f0-840f-80c362df9247" providerId="ADAL" clId="{D98D1D94-E5EF-4A5F-8B22-D2A92A3A93DC}" dt="2023-11-05T03:59:48.315" v="3360" actId="164"/>
          <ac:picMkLst>
            <pc:docMk/>
            <pc:sldMk cId="3523412908" sldId="361"/>
            <ac:picMk id="16" creationId="{A1A13B73-2398-DFF8-CA9A-60F8858E9645}"/>
          </ac:picMkLst>
        </pc:picChg>
        <pc:picChg chg="mod">
          <ac:chgData name="Roy Chowdhury, Ritwik" userId="bfb84a7f-f393-43f0-840f-80c362df9247" providerId="ADAL" clId="{D98D1D94-E5EF-4A5F-8B22-D2A92A3A93DC}" dt="2023-11-05T03:59:48.315" v="3360" actId="164"/>
          <ac:picMkLst>
            <pc:docMk/>
            <pc:sldMk cId="3523412908" sldId="361"/>
            <ac:picMk id="22" creationId="{2A98A7DA-D744-579C-4C79-4EA14D5A54DD}"/>
          </ac:picMkLst>
        </pc:picChg>
        <pc:picChg chg="mod">
          <ac:chgData name="Roy Chowdhury, Ritwik" userId="bfb84a7f-f393-43f0-840f-80c362df9247" providerId="ADAL" clId="{D98D1D94-E5EF-4A5F-8B22-D2A92A3A93DC}" dt="2023-11-05T03:59:48.315" v="3360" actId="164"/>
          <ac:picMkLst>
            <pc:docMk/>
            <pc:sldMk cId="3523412908" sldId="361"/>
            <ac:picMk id="24" creationId="{926D06E7-7D5F-E200-F5E7-5E9C972B710E}"/>
          </ac:picMkLst>
        </pc:picChg>
        <pc:picChg chg="add mod">
          <ac:chgData name="Roy Chowdhury, Ritwik" userId="bfb84a7f-f393-43f0-840f-80c362df9247" providerId="ADAL" clId="{D98D1D94-E5EF-4A5F-8B22-D2A92A3A93DC}" dt="2023-11-05T04:27:53.382" v="3667" actId="207"/>
          <ac:picMkLst>
            <pc:docMk/>
            <pc:sldMk cId="3523412908" sldId="361"/>
            <ac:picMk id="43" creationId="{9FA1BC66-540C-5FFB-9ED4-12586309F0FA}"/>
          </ac:picMkLst>
        </pc:picChg>
        <pc:cxnChg chg="add mod">
          <ac:chgData name="Roy Chowdhury, Ritwik" userId="bfb84a7f-f393-43f0-840f-80c362df9247" providerId="ADAL" clId="{D98D1D94-E5EF-4A5F-8B22-D2A92A3A93DC}" dt="2023-11-05T04:04:02.386" v="3383" actId="692"/>
          <ac:cxnSpMkLst>
            <pc:docMk/>
            <pc:sldMk cId="3523412908" sldId="361"/>
            <ac:cxnSpMk id="12" creationId="{108ED43C-10A1-F217-B5A2-E9824FB22CBA}"/>
          </ac:cxnSpMkLst>
        </pc:cxnChg>
        <pc:cxnChg chg="add mod">
          <ac:chgData name="Roy Chowdhury, Ritwik" userId="bfb84a7f-f393-43f0-840f-80c362df9247" providerId="ADAL" clId="{D98D1D94-E5EF-4A5F-8B22-D2A92A3A93DC}" dt="2023-11-05T04:05:59.282" v="3397" actId="1076"/>
          <ac:cxnSpMkLst>
            <pc:docMk/>
            <pc:sldMk cId="3523412908" sldId="361"/>
            <ac:cxnSpMk id="14" creationId="{E61614B8-7DC7-53E6-DFCC-00664FDA3FF8}"/>
          </ac:cxnSpMkLst>
        </pc:cxnChg>
        <pc:cxnChg chg="add mod ord">
          <ac:chgData name="Roy Chowdhury, Ritwik" userId="bfb84a7f-f393-43f0-840f-80c362df9247" providerId="ADAL" clId="{D98D1D94-E5EF-4A5F-8B22-D2A92A3A93DC}" dt="2023-11-05T04:35:09.254" v="3825" actId="1076"/>
          <ac:cxnSpMkLst>
            <pc:docMk/>
            <pc:sldMk cId="3523412908" sldId="361"/>
            <ac:cxnSpMk id="21" creationId="{C1A01F16-59C7-E7AB-5FBF-17681C282F23}"/>
          </ac:cxnSpMkLst>
        </pc:cxnChg>
        <pc:cxnChg chg="add del mod">
          <ac:chgData name="Roy Chowdhury, Ritwik" userId="bfb84a7f-f393-43f0-840f-80c362df9247" providerId="ADAL" clId="{D98D1D94-E5EF-4A5F-8B22-D2A92A3A93DC}" dt="2023-11-05T04:09:00.759" v="3423" actId="478"/>
          <ac:cxnSpMkLst>
            <pc:docMk/>
            <pc:sldMk cId="3523412908" sldId="361"/>
            <ac:cxnSpMk id="30" creationId="{7125B590-4C4C-1743-6071-1C4B9378DAFC}"/>
          </ac:cxnSpMkLst>
        </pc:cxnChg>
        <pc:cxnChg chg="add del mod">
          <ac:chgData name="Roy Chowdhury, Ritwik" userId="bfb84a7f-f393-43f0-840f-80c362df9247" providerId="ADAL" clId="{D98D1D94-E5EF-4A5F-8B22-D2A92A3A93DC}" dt="2023-11-05T04:09:49.595" v="3430" actId="478"/>
          <ac:cxnSpMkLst>
            <pc:docMk/>
            <pc:sldMk cId="3523412908" sldId="361"/>
            <ac:cxnSpMk id="31" creationId="{6E628A36-2DE8-18B7-EE40-FAAF2C2BF1FB}"/>
          </ac:cxnSpMkLst>
        </pc:cxnChg>
        <pc:cxnChg chg="add del mod">
          <ac:chgData name="Roy Chowdhury, Ritwik" userId="bfb84a7f-f393-43f0-840f-80c362df9247" providerId="ADAL" clId="{D98D1D94-E5EF-4A5F-8B22-D2A92A3A93DC}" dt="2023-11-05T04:10:34.532" v="3440" actId="478"/>
          <ac:cxnSpMkLst>
            <pc:docMk/>
            <pc:sldMk cId="3523412908" sldId="361"/>
            <ac:cxnSpMk id="32" creationId="{98B7BD8C-3342-4823-3E41-009988CE633E}"/>
          </ac:cxnSpMkLst>
        </pc:cxnChg>
        <pc:cxnChg chg="add del mod">
          <ac:chgData name="Roy Chowdhury, Ritwik" userId="bfb84a7f-f393-43f0-840f-80c362df9247" providerId="ADAL" clId="{D98D1D94-E5EF-4A5F-8B22-D2A92A3A93DC}" dt="2023-11-05T04:10:06.868" v="3436" actId="478"/>
          <ac:cxnSpMkLst>
            <pc:docMk/>
            <pc:sldMk cId="3523412908" sldId="361"/>
            <ac:cxnSpMk id="33" creationId="{1F57C193-0601-B543-30DB-3547C27062A0}"/>
          </ac:cxnSpMkLst>
        </pc:cxnChg>
        <pc:cxnChg chg="add mod">
          <ac:chgData name="Roy Chowdhury, Ritwik" userId="bfb84a7f-f393-43f0-840f-80c362df9247" providerId="ADAL" clId="{D98D1D94-E5EF-4A5F-8B22-D2A92A3A93DC}" dt="2023-11-05T04:15:33.496" v="3481" actId="1076"/>
          <ac:cxnSpMkLst>
            <pc:docMk/>
            <pc:sldMk cId="3523412908" sldId="361"/>
            <ac:cxnSpMk id="34" creationId="{0614C61B-B73B-AE66-8DEE-DF5CBC2A4EF9}"/>
          </ac:cxnSpMkLst>
        </pc:cxnChg>
        <pc:cxnChg chg="add mod">
          <ac:chgData name="Roy Chowdhury, Ritwik" userId="bfb84a7f-f393-43f0-840f-80c362df9247" providerId="ADAL" clId="{D98D1D94-E5EF-4A5F-8B22-D2A92A3A93DC}" dt="2023-11-05T04:15:47.079" v="3483" actId="1076"/>
          <ac:cxnSpMkLst>
            <pc:docMk/>
            <pc:sldMk cId="3523412908" sldId="361"/>
            <ac:cxnSpMk id="36" creationId="{B241B22E-D95A-DD7E-07A4-A40F7618DD46}"/>
          </ac:cxnSpMkLst>
        </pc:cxnChg>
        <pc:cxnChg chg="add mod">
          <ac:chgData name="Roy Chowdhury, Ritwik" userId="bfb84a7f-f393-43f0-840f-80c362df9247" providerId="ADAL" clId="{D98D1D94-E5EF-4A5F-8B22-D2A92A3A93DC}" dt="2023-11-05T04:10:16.502" v="3437" actId="1076"/>
          <ac:cxnSpMkLst>
            <pc:docMk/>
            <pc:sldMk cId="3523412908" sldId="361"/>
            <ac:cxnSpMk id="37" creationId="{BAC2DF24-B6CB-4092-77C6-48ED708AA8BC}"/>
          </ac:cxnSpMkLst>
        </pc:cxnChg>
        <pc:cxnChg chg="add mod">
          <ac:chgData name="Roy Chowdhury, Ritwik" userId="bfb84a7f-f393-43f0-840f-80c362df9247" providerId="ADAL" clId="{D98D1D94-E5EF-4A5F-8B22-D2A92A3A93DC}" dt="2023-11-05T04:10:50.082" v="3443" actId="1076"/>
          <ac:cxnSpMkLst>
            <pc:docMk/>
            <pc:sldMk cId="3523412908" sldId="361"/>
            <ac:cxnSpMk id="38" creationId="{08051B9F-1B34-6C03-57DE-ED44B43A1054}"/>
          </ac:cxnSpMkLst>
        </pc:cxnChg>
        <pc:cxnChg chg="add mod">
          <ac:chgData name="Roy Chowdhury, Ritwik" userId="bfb84a7f-f393-43f0-840f-80c362df9247" providerId="ADAL" clId="{D98D1D94-E5EF-4A5F-8B22-D2A92A3A93DC}" dt="2023-11-05T04:18:06.926" v="3553" actId="1076"/>
          <ac:cxnSpMkLst>
            <pc:docMk/>
            <pc:sldMk cId="3523412908" sldId="361"/>
            <ac:cxnSpMk id="39" creationId="{7DCEEF62-7598-907A-8309-B1F17E7F11D6}"/>
          </ac:cxnSpMkLst>
        </pc:cxnChg>
        <pc:cxnChg chg="add mod">
          <ac:chgData name="Roy Chowdhury, Ritwik" userId="bfb84a7f-f393-43f0-840f-80c362df9247" providerId="ADAL" clId="{D98D1D94-E5EF-4A5F-8B22-D2A92A3A93DC}" dt="2023-11-05T04:18:02.177" v="3552" actId="1076"/>
          <ac:cxnSpMkLst>
            <pc:docMk/>
            <pc:sldMk cId="3523412908" sldId="361"/>
            <ac:cxnSpMk id="40" creationId="{AF6B321A-DC71-9313-DBBB-3DCE0F4B0D78}"/>
          </ac:cxnSpMkLst>
        </pc:cxnChg>
        <pc:cxnChg chg="add mod">
          <ac:chgData name="Roy Chowdhury, Ritwik" userId="bfb84a7f-f393-43f0-840f-80c362df9247" providerId="ADAL" clId="{D98D1D94-E5EF-4A5F-8B22-D2A92A3A93DC}" dt="2023-11-05T04:17:29.295" v="3540" actId="1076"/>
          <ac:cxnSpMkLst>
            <pc:docMk/>
            <pc:sldMk cId="3523412908" sldId="361"/>
            <ac:cxnSpMk id="41" creationId="{429D8619-7311-F23C-44D0-D858BF49EDE7}"/>
          </ac:cxnSpMkLst>
        </pc:cxnChg>
      </pc:sldChg>
      <pc:sldChg chg="addSp delSp modSp add del mod">
        <pc:chgData name="Roy Chowdhury, Ritwik" userId="bfb84a7f-f393-43f0-840f-80c362df9247" providerId="ADAL" clId="{D98D1D94-E5EF-4A5F-8B22-D2A92A3A93DC}" dt="2023-11-05T20:17:23.485" v="4891" actId="2696"/>
        <pc:sldMkLst>
          <pc:docMk/>
          <pc:sldMk cId="611943257" sldId="363"/>
        </pc:sldMkLst>
        <pc:spChg chg="mod">
          <ac:chgData name="Roy Chowdhury, Ritwik" userId="bfb84a7f-f393-43f0-840f-80c362df9247" providerId="ADAL" clId="{D98D1D94-E5EF-4A5F-8B22-D2A92A3A93DC}" dt="2023-11-05T04:33:44.629" v="3813" actId="20577"/>
          <ac:spMkLst>
            <pc:docMk/>
            <pc:sldMk cId="611943257" sldId="363"/>
            <ac:spMk id="6" creationId="{8D00B77E-1094-F6A8-A1A3-B7C3F59051E4}"/>
          </ac:spMkLst>
        </pc:spChg>
        <pc:spChg chg="add del mod">
          <ac:chgData name="Roy Chowdhury, Ritwik" userId="bfb84a7f-f393-43f0-840f-80c362df9247" providerId="ADAL" clId="{D98D1D94-E5EF-4A5F-8B22-D2A92A3A93DC}" dt="2023-11-05T04:33:07.941" v="3717"/>
          <ac:spMkLst>
            <pc:docMk/>
            <pc:sldMk cId="611943257" sldId="363"/>
            <ac:spMk id="11" creationId="{272C661F-0943-2D5F-3156-51F32E6F6D39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13" creationId="{BAA45B1D-F460-C916-23B8-7382D4CF3871}"/>
          </ac:spMkLst>
        </pc:spChg>
        <pc:spChg chg="add mod">
          <ac:chgData name="Roy Chowdhury, Ritwik" userId="bfb84a7f-f393-43f0-840f-80c362df9247" providerId="ADAL" clId="{D98D1D94-E5EF-4A5F-8B22-D2A92A3A93DC}" dt="2023-11-05T04:33:52.397" v="3816" actId="20577"/>
          <ac:spMkLst>
            <pc:docMk/>
            <pc:sldMk cId="611943257" sldId="363"/>
            <ac:spMk id="17" creationId="{EF5ACB22-CB1C-EF7D-6C6B-7D8BC7103AA6}"/>
          </ac:spMkLst>
        </pc:spChg>
        <pc:spChg chg="add mod">
          <ac:chgData name="Roy Chowdhury, Ritwik" userId="bfb84a7f-f393-43f0-840f-80c362df9247" providerId="ADAL" clId="{D98D1D94-E5EF-4A5F-8B22-D2A92A3A93DC}" dt="2023-11-05T19:42:52.313" v="4558" actId="1076"/>
          <ac:spMkLst>
            <pc:docMk/>
            <pc:sldMk cId="611943257" sldId="363"/>
            <ac:spMk id="18" creationId="{2AB97867-3131-5C10-8007-60A40F05DC72}"/>
          </ac:spMkLst>
        </pc:spChg>
        <pc:spChg chg="del">
          <ac:chgData name="Roy Chowdhury, Ritwik" userId="bfb84a7f-f393-43f0-840f-80c362df9247" providerId="ADAL" clId="{D98D1D94-E5EF-4A5F-8B22-D2A92A3A93DC}" dt="2023-11-05T04:32:31.702" v="3700" actId="478"/>
          <ac:spMkLst>
            <pc:docMk/>
            <pc:sldMk cId="611943257" sldId="363"/>
            <ac:spMk id="44" creationId="{B17073A9-39AC-430F-F743-B945233925E1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47" creationId="{ACF1A688-684E-84C9-4582-7872459E1D35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48" creationId="{C69523AB-F0C0-2ADA-DFBA-7B516600DAEE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49" creationId="{81EEE404-BF2C-DC8D-4A63-8EF2312E00AC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50" creationId="{A8348C85-FB8D-6977-7FE3-DFC032083D2A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51" creationId="{9D70D7C2-FA07-46D3-BE34-C92FE7F2CE5F}"/>
          </ac:spMkLst>
        </pc:spChg>
        <pc:spChg chg="del">
          <ac:chgData name="Roy Chowdhury, Ritwik" userId="bfb84a7f-f393-43f0-840f-80c362df9247" providerId="ADAL" clId="{D98D1D94-E5EF-4A5F-8B22-D2A92A3A93DC}" dt="2023-11-05T04:32:30.397" v="3699" actId="478"/>
          <ac:spMkLst>
            <pc:docMk/>
            <pc:sldMk cId="611943257" sldId="363"/>
            <ac:spMk id="52" creationId="{4AC67224-E2CB-C7BF-D79B-5DF41E2C37C1}"/>
          </ac:spMkLst>
        </pc:spChg>
        <pc:spChg chg="del">
          <ac:chgData name="Roy Chowdhury, Ritwik" userId="bfb84a7f-f393-43f0-840f-80c362df9247" providerId="ADAL" clId="{D98D1D94-E5EF-4A5F-8B22-D2A92A3A93DC}" dt="2023-11-05T04:32:28.915" v="3698" actId="478"/>
          <ac:spMkLst>
            <pc:docMk/>
            <pc:sldMk cId="611943257" sldId="363"/>
            <ac:spMk id="54" creationId="{E38512A5-3AEA-06B8-C332-3FC288C954C3}"/>
          </ac:spMkLst>
        </pc:spChg>
        <pc:grpChg chg="del">
          <ac:chgData name="Roy Chowdhury, Ritwik" userId="bfb84a7f-f393-43f0-840f-80c362df9247" providerId="ADAL" clId="{D98D1D94-E5EF-4A5F-8B22-D2A92A3A93DC}" dt="2023-11-05T04:32:24.997" v="3697" actId="478"/>
          <ac:grpSpMkLst>
            <pc:docMk/>
            <pc:sldMk cId="611943257" sldId="363"/>
            <ac:grpSpMk id="9" creationId="{C583B5DC-E0E7-3A97-CAFA-3F82C715AAA7}"/>
          </ac:grpSpMkLst>
        </pc:grpChg>
        <pc:picChg chg="del">
          <ac:chgData name="Roy Chowdhury, Ritwik" userId="bfb84a7f-f393-43f0-840f-80c362df9247" providerId="ADAL" clId="{D98D1D94-E5EF-4A5F-8B22-D2A92A3A93DC}" dt="2023-11-05T04:32:28.915" v="3698" actId="478"/>
          <ac:picMkLst>
            <pc:docMk/>
            <pc:sldMk cId="611943257" sldId="363"/>
            <ac:picMk id="43" creationId="{9FA1BC66-540C-5FFB-9ED4-12586309F0FA}"/>
          </ac:picMkLst>
        </pc:pic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12" creationId="{108ED43C-10A1-F217-B5A2-E9824FB22CBA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14" creationId="{E61614B8-7DC7-53E6-DFCC-00664FDA3FF8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21" creationId="{C1A01F16-59C7-E7AB-5FBF-17681C282F23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34" creationId="{0614C61B-B73B-AE66-8DEE-DF5CBC2A4EF9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36" creationId="{B241B22E-D95A-DD7E-07A4-A40F7618DD46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37" creationId="{BAC2DF24-B6CB-4092-77C6-48ED708AA8BC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38" creationId="{08051B9F-1B34-6C03-57DE-ED44B43A1054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39" creationId="{7DCEEF62-7598-907A-8309-B1F17E7F11D6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40" creationId="{AF6B321A-DC71-9313-DBBB-3DCE0F4B0D78}"/>
          </ac:cxnSpMkLst>
        </pc:cxnChg>
        <pc:cxnChg chg="del">
          <ac:chgData name="Roy Chowdhury, Ritwik" userId="bfb84a7f-f393-43f0-840f-80c362df9247" providerId="ADAL" clId="{D98D1D94-E5EF-4A5F-8B22-D2A92A3A93DC}" dt="2023-11-05T04:32:28.915" v="3698" actId="478"/>
          <ac:cxnSpMkLst>
            <pc:docMk/>
            <pc:sldMk cId="611943257" sldId="363"/>
            <ac:cxnSpMk id="41" creationId="{429D8619-7311-F23C-44D0-D858BF49EDE7}"/>
          </ac:cxnSpMkLst>
        </pc:cxnChg>
      </pc:sldChg>
      <pc:sldChg chg="addSp delSp modSp add mod ord">
        <pc:chgData name="Roy Chowdhury, Ritwik" userId="bfb84a7f-f393-43f0-840f-80c362df9247" providerId="ADAL" clId="{D98D1D94-E5EF-4A5F-8B22-D2A92A3A93DC}" dt="2023-11-08T06:22:41.459" v="11981" actId="120"/>
        <pc:sldMkLst>
          <pc:docMk/>
          <pc:sldMk cId="1825859938" sldId="364"/>
        </pc:sldMkLst>
        <pc:spChg chg="mod">
          <ac:chgData name="Roy Chowdhury, Ritwik" userId="bfb84a7f-f393-43f0-840f-80c362df9247" providerId="ADAL" clId="{D98D1D94-E5EF-4A5F-8B22-D2A92A3A93DC}" dt="2023-11-08T06:22:41.459" v="11981" actId="120"/>
          <ac:spMkLst>
            <pc:docMk/>
            <pc:sldMk cId="1825859938" sldId="364"/>
            <ac:spMk id="6" creationId="{8D00B77E-1094-F6A8-A1A3-B7C3F59051E4}"/>
          </ac:spMkLst>
        </pc:spChg>
        <pc:spChg chg="mod">
          <ac:chgData name="Roy Chowdhury, Ritwik" userId="bfb84a7f-f393-43f0-840f-80c362df9247" providerId="ADAL" clId="{D98D1D94-E5EF-4A5F-8B22-D2A92A3A93DC}" dt="2023-11-05T20:22:38.621" v="4936" actId="207"/>
          <ac:spMkLst>
            <pc:docMk/>
            <pc:sldMk cId="1825859938" sldId="364"/>
            <ac:spMk id="13" creationId="{BAA45B1D-F460-C916-23B8-7382D4CF3871}"/>
          </ac:spMkLst>
        </pc:spChg>
        <pc:spChg chg="mod">
          <ac:chgData name="Roy Chowdhury, Ritwik" userId="bfb84a7f-f393-43f0-840f-80c362df9247" providerId="ADAL" clId="{D98D1D94-E5EF-4A5F-8B22-D2A92A3A93DC}" dt="2023-11-05T20:22:20.181" v="4934" actId="207"/>
          <ac:spMkLst>
            <pc:docMk/>
            <pc:sldMk cId="1825859938" sldId="364"/>
            <ac:spMk id="15" creationId="{FFF64D36-7A35-8260-7F1B-3B11E5C4AF02}"/>
          </ac:spMkLst>
        </pc:spChg>
        <pc:spChg chg="mod">
          <ac:chgData name="Roy Chowdhury, Ritwik" userId="bfb84a7f-f393-43f0-840f-80c362df9247" providerId="ADAL" clId="{D98D1D94-E5EF-4A5F-8B22-D2A92A3A93DC}" dt="2023-11-05T19:36:15.657" v="4555" actId="122"/>
          <ac:spMkLst>
            <pc:docMk/>
            <pc:sldMk cId="1825859938" sldId="364"/>
            <ac:spMk id="32" creationId="{1C506611-5356-EA3B-2CEC-E7169200AFF4}"/>
          </ac:spMkLst>
        </pc:spChg>
        <pc:spChg chg="mod">
          <ac:chgData name="Roy Chowdhury, Ritwik" userId="bfb84a7f-f393-43f0-840f-80c362df9247" providerId="ADAL" clId="{D98D1D94-E5EF-4A5F-8B22-D2A92A3A93DC}" dt="2023-11-05T04:41:28.293" v="3908" actId="403"/>
          <ac:spMkLst>
            <pc:docMk/>
            <pc:sldMk cId="1825859938" sldId="364"/>
            <ac:spMk id="33" creationId="{808F247B-81B5-1AFB-57CB-0DBBD24094A7}"/>
          </ac:spMkLst>
        </pc:spChg>
        <pc:spChg chg="mod">
          <ac:chgData name="Roy Chowdhury, Ritwik" userId="bfb84a7f-f393-43f0-840f-80c362df9247" providerId="ADAL" clId="{D98D1D94-E5EF-4A5F-8B22-D2A92A3A93DC}" dt="2023-11-05T04:41:28.293" v="3908" actId="403"/>
          <ac:spMkLst>
            <pc:docMk/>
            <pc:sldMk cId="1825859938" sldId="364"/>
            <ac:spMk id="35" creationId="{60FFA093-D360-187B-5C10-2A4E92B50265}"/>
          </ac:spMkLst>
        </pc:spChg>
        <pc:spChg chg="mod">
          <ac:chgData name="Roy Chowdhury, Ritwik" userId="bfb84a7f-f393-43f0-840f-80c362df9247" providerId="ADAL" clId="{D98D1D94-E5EF-4A5F-8B22-D2A92A3A93DC}" dt="2023-11-05T04:41:11.694" v="3906" actId="403"/>
          <ac:spMkLst>
            <pc:docMk/>
            <pc:sldMk cId="1825859938" sldId="364"/>
            <ac:spMk id="44" creationId="{B17073A9-39AC-430F-F743-B945233925E1}"/>
          </ac:spMkLst>
        </pc:spChg>
        <pc:spChg chg="mod">
          <ac:chgData name="Roy Chowdhury, Ritwik" userId="bfb84a7f-f393-43f0-840f-80c362df9247" providerId="ADAL" clId="{D98D1D94-E5EF-4A5F-8B22-D2A92A3A93DC}" dt="2023-11-05T04:41:11.694" v="3906" actId="403"/>
          <ac:spMkLst>
            <pc:docMk/>
            <pc:sldMk cId="1825859938" sldId="364"/>
            <ac:spMk id="47" creationId="{ACF1A688-684E-84C9-4582-7872459E1D35}"/>
          </ac:spMkLst>
        </pc:spChg>
        <pc:spChg chg="mod">
          <ac:chgData name="Roy Chowdhury, Ritwik" userId="bfb84a7f-f393-43f0-840f-80c362df9247" providerId="ADAL" clId="{D98D1D94-E5EF-4A5F-8B22-D2A92A3A93DC}" dt="2023-11-05T04:42:05.480" v="3911" actId="1076"/>
          <ac:spMkLst>
            <pc:docMk/>
            <pc:sldMk cId="1825859938" sldId="364"/>
            <ac:spMk id="48" creationId="{C69523AB-F0C0-2ADA-DFBA-7B516600DAEE}"/>
          </ac:spMkLst>
        </pc:spChg>
        <pc:spChg chg="del">
          <ac:chgData name="Roy Chowdhury, Ritwik" userId="bfb84a7f-f393-43f0-840f-80c362df9247" providerId="ADAL" clId="{D98D1D94-E5EF-4A5F-8B22-D2A92A3A93DC}" dt="2023-11-05T04:39:06.043" v="3871" actId="478"/>
          <ac:spMkLst>
            <pc:docMk/>
            <pc:sldMk cId="1825859938" sldId="364"/>
            <ac:spMk id="49" creationId="{81EEE404-BF2C-DC8D-4A63-8EF2312E00AC}"/>
          </ac:spMkLst>
        </pc:spChg>
        <pc:spChg chg="del">
          <ac:chgData name="Roy Chowdhury, Ritwik" userId="bfb84a7f-f393-43f0-840f-80c362df9247" providerId="ADAL" clId="{D98D1D94-E5EF-4A5F-8B22-D2A92A3A93DC}" dt="2023-11-05T04:39:09.579" v="3875" actId="478"/>
          <ac:spMkLst>
            <pc:docMk/>
            <pc:sldMk cId="1825859938" sldId="364"/>
            <ac:spMk id="50" creationId="{A8348C85-FB8D-6977-7FE3-DFC032083D2A}"/>
          </ac:spMkLst>
        </pc:spChg>
        <pc:spChg chg="del">
          <ac:chgData name="Roy Chowdhury, Ritwik" userId="bfb84a7f-f393-43f0-840f-80c362df9247" providerId="ADAL" clId="{D98D1D94-E5EF-4A5F-8B22-D2A92A3A93DC}" dt="2023-11-05T04:39:11.755" v="3877" actId="478"/>
          <ac:spMkLst>
            <pc:docMk/>
            <pc:sldMk cId="1825859938" sldId="364"/>
            <ac:spMk id="51" creationId="{9D70D7C2-FA07-46D3-BE34-C92FE7F2CE5F}"/>
          </ac:spMkLst>
        </pc:spChg>
        <pc:spChg chg="del">
          <ac:chgData name="Roy Chowdhury, Ritwik" userId="bfb84a7f-f393-43f0-840f-80c362df9247" providerId="ADAL" clId="{D98D1D94-E5EF-4A5F-8B22-D2A92A3A93DC}" dt="2023-11-05T04:39:13.011" v="3878" actId="478"/>
          <ac:spMkLst>
            <pc:docMk/>
            <pc:sldMk cId="1825859938" sldId="364"/>
            <ac:spMk id="52" creationId="{4AC67224-E2CB-C7BF-D79B-5DF41E2C37C1}"/>
          </ac:spMkLst>
        </pc:spChg>
        <pc:spChg chg="add del mod">
          <ac:chgData name="Roy Chowdhury, Ritwik" userId="bfb84a7f-f393-43f0-840f-80c362df9247" providerId="ADAL" clId="{D98D1D94-E5EF-4A5F-8B22-D2A92A3A93DC}" dt="2023-11-05T19:42:45.342" v="4556" actId="21"/>
          <ac:spMkLst>
            <pc:docMk/>
            <pc:sldMk cId="1825859938" sldId="364"/>
            <ac:spMk id="53" creationId="{B9329DA3-679D-77A2-FCE6-07D8133AF347}"/>
          </ac:spMkLst>
        </pc:spChg>
        <pc:spChg chg="mod">
          <ac:chgData name="Roy Chowdhury, Ritwik" userId="bfb84a7f-f393-43f0-840f-80c362df9247" providerId="ADAL" clId="{D98D1D94-E5EF-4A5F-8B22-D2A92A3A93DC}" dt="2023-11-05T04:41:01.825" v="3905" actId="1076"/>
          <ac:spMkLst>
            <pc:docMk/>
            <pc:sldMk cId="1825859938" sldId="364"/>
            <ac:spMk id="54" creationId="{E38512A5-3AEA-06B8-C332-3FC288C954C3}"/>
          </ac:spMkLst>
        </pc:spChg>
        <pc:grpChg chg="add mod">
          <ac:chgData name="Roy Chowdhury, Ritwik" userId="bfb84a7f-f393-43f0-840f-80c362df9247" providerId="ADAL" clId="{D98D1D94-E5EF-4A5F-8B22-D2A92A3A93DC}" dt="2023-11-05T04:41:17.828" v="3907" actId="14100"/>
          <ac:grpSpMkLst>
            <pc:docMk/>
            <pc:sldMk cId="1825859938" sldId="364"/>
            <ac:grpSpMk id="29" creationId="{54D4A468-FC7F-483B-F00C-B7C78714E469}"/>
          </ac:grpSpMkLst>
        </pc:grpChg>
        <pc:grpChg chg="add mod">
          <ac:chgData name="Roy Chowdhury, Ritwik" userId="bfb84a7f-f393-43f0-840f-80c362df9247" providerId="ADAL" clId="{D98D1D94-E5EF-4A5F-8B22-D2A92A3A93DC}" dt="2023-11-05T04:41:33.108" v="3909" actId="14100"/>
          <ac:grpSpMkLst>
            <pc:docMk/>
            <pc:sldMk cId="1825859938" sldId="364"/>
            <ac:grpSpMk id="30" creationId="{11107986-B6A4-EB4C-3570-45928176EB8A}"/>
          </ac:grpSpMkLst>
        </pc:grpChg>
        <pc:picChg chg="del">
          <ac:chgData name="Roy Chowdhury, Ritwik" userId="bfb84a7f-f393-43f0-840f-80c362df9247" providerId="ADAL" clId="{D98D1D94-E5EF-4A5F-8B22-D2A92A3A93DC}" dt="2023-11-05T19:24:45.308" v="4540" actId="478"/>
          <ac:picMkLst>
            <pc:docMk/>
            <pc:sldMk cId="1825859938" sldId="364"/>
            <ac:picMk id="16" creationId="{A1A13B73-2398-DFF8-CA9A-60F8858E9645}"/>
          </ac:picMkLst>
        </pc:picChg>
        <pc:picChg chg="mod">
          <ac:chgData name="Roy Chowdhury, Ritwik" userId="bfb84a7f-f393-43f0-840f-80c362df9247" providerId="ADAL" clId="{D98D1D94-E5EF-4A5F-8B22-D2A92A3A93DC}" dt="2023-11-05T20:24:25.280" v="4939" actId="208"/>
          <ac:picMkLst>
            <pc:docMk/>
            <pc:sldMk cId="1825859938" sldId="364"/>
            <ac:picMk id="43" creationId="{9FA1BC66-540C-5FFB-9ED4-12586309F0FA}"/>
          </ac:picMkLst>
        </pc:picChg>
        <pc:picChg chg="add mod">
          <ac:chgData name="Roy Chowdhury, Ritwik" userId="bfb84a7f-f393-43f0-840f-80c362df9247" providerId="ADAL" clId="{D98D1D94-E5EF-4A5F-8B22-D2A92A3A93DC}" dt="2023-11-05T20:24:20.599" v="4938" actId="208"/>
          <ac:picMkLst>
            <pc:docMk/>
            <pc:sldMk cId="1825859938" sldId="364"/>
            <ac:picMk id="55" creationId="{196E5364-7661-3ABD-9026-D719245D4DB6}"/>
          </ac:picMkLst>
        </pc:picChg>
        <pc:cxnChg chg="del">
          <ac:chgData name="Roy Chowdhury, Ritwik" userId="bfb84a7f-f393-43f0-840f-80c362df9247" providerId="ADAL" clId="{D98D1D94-E5EF-4A5F-8B22-D2A92A3A93DC}" dt="2023-11-05T04:35:41.091" v="3829" actId="478"/>
          <ac:cxnSpMkLst>
            <pc:docMk/>
            <pc:sldMk cId="1825859938" sldId="364"/>
            <ac:cxnSpMk id="14" creationId="{E61614B8-7DC7-53E6-DFCC-00664FDA3FF8}"/>
          </ac:cxnSpMkLst>
        </pc:cxnChg>
        <pc:cxnChg chg="add mod">
          <ac:chgData name="Roy Chowdhury, Ritwik" userId="bfb84a7f-f393-43f0-840f-80c362df9247" providerId="ADAL" clId="{D98D1D94-E5EF-4A5F-8B22-D2A92A3A93DC}" dt="2023-11-05T04:38:50.450" v="3866" actId="164"/>
          <ac:cxnSpMkLst>
            <pc:docMk/>
            <pc:sldMk cId="1825859938" sldId="364"/>
            <ac:cxnSpMk id="18" creationId="{419701E9-C631-ECCD-CD98-432C5F7E8ECB}"/>
          </ac:cxnSpMkLst>
        </pc:cxnChg>
        <pc:cxnChg chg="mod ord">
          <ac:chgData name="Roy Chowdhury, Ritwik" userId="bfb84a7f-f393-43f0-840f-80c362df9247" providerId="ADAL" clId="{D98D1D94-E5EF-4A5F-8B22-D2A92A3A93DC}" dt="2023-11-05T04:36:10.088" v="3836" actId="1076"/>
          <ac:cxnSpMkLst>
            <pc:docMk/>
            <pc:sldMk cId="1825859938" sldId="364"/>
            <ac:cxnSpMk id="21" creationId="{C1A01F16-59C7-E7AB-5FBF-17681C282F23}"/>
          </ac:cxnSpMkLst>
        </pc:cxnChg>
        <pc:cxnChg chg="add del mod">
          <ac:chgData name="Roy Chowdhury, Ritwik" userId="bfb84a7f-f393-43f0-840f-80c362df9247" providerId="ADAL" clId="{D98D1D94-E5EF-4A5F-8B22-D2A92A3A93DC}" dt="2023-11-05T04:38:50.450" v="3866" actId="164"/>
          <ac:cxnSpMkLst>
            <pc:docMk/>
            <pc:sldMk cId="1825859938" sldId="364"/>
            <ac:cxnSpMk id="27" creationId="{B29E6026-DB72-346E-084E-2DB0E448E4FF}"/>
          </ac:cxnSpMkLst>
        </pc:cxnChg>
        <pc:cxnChg chg="add mod">
          <ac:chgData name="Roy Chowdhury, Ritwik" userId="bfb84a7f-f393-43f0-840f-80c362df9247" providerId="ADAL" clId="{D98D1D94-E5EF-4A5F-8B22-D2A92A3A93DC}" dt="2023-11-05T04:41:47.896" v="3910" actId="1076"/>
          <ac:cxnSpMkLst>
            <pc:docMk/>
            <pc:sldMk cId="1825859938" sldId="364"/>
            <ac:cxnSpMk id="28" creationId="{AB3C3AF7-3E7C-8812-068B-64D61F4A9ACE}"/>
          </ac:cxnSpMkLst>
        </pc:cxnChg>
        <pc:cxnChg chg="mod">
          <ac:chgData name="Roy Chowdhury, Ritwik" userId="bfb84a7f-f393-43f0-840f-80c362df9247" providerId="ADAL" clId="{D98D1D94-E5EF-4A5F-8B22-D2A92A3A93DC}" dt="2023-11-05T04:38:54.997" v="3867"/>
          <ac:cxnSpMkLst>
            <pc:docMk/>
            <pc:sldMk cId="1825859938" sldId="364"/>
            <ac:cxnSpMk id="31" creationId="{6B6275C9-783D-0A9A-3524-8850341D3FE6}"/>
          </ac:cxnSpMkLst>
        </pc:cxnChg>
        <pc:cxnChg chg="mod">
          <ac:chgData name="Roy Chowdhury, Ritwik" userId="bfb84a7f-f393-43f0-840f-80c362df9247" providerId="ADAL" clId="{D98D1D94-E5EF-4A5F-8B22-D2A92A3A93DC}" dt="2023-11-05T04:38:50.450" v="3866" actId="164"/>
          <ac:cxnSpMkLst>
            <pc:docMk/>
            <pc:sldMk cId="1825859938" sldId="364"/>
            <ac:cxnSpMk id="34" creationId="{0614C61B-B73B-AE66-8DEE-DF5CBC2A4EF9}"/>
          </ac:cxnSpMkLst>
        </pc:cxnChg>
        <pc:cxnChg chg="del">
          <ac:chgData name="Roy Chowdhury, Ritwik" userId="bfb84a7f-f393-43f0-840f-80c362df9247" providerId="ADAL" clId="{D98D1D94-E5EF-4A5F-8B22-D2A92A3A93DC}" dt="2023-11-05T04:38:15.243" v="3862" actId="478"/>
          <ac:cxnSpMkLst>
            <pc:docMk/>
            <pc:sldMk cId="1825859938" sldId="364"/>
            <ac:cxnSpMk id="36" creationId="{B241B22E-D95A-DD7E-07A4-A40F7618DD46}"/>
          </ac:cxnSpMkLst>
        </pc:cxnChg>
        <pc:cxnChg chg="del">
          <ac:chgData name="Roy Chowdhury, Ritwik" userId="bfb84a7f-f393-43f0-840f-80c362df9247" providerId="ADAL" clId="{D98D1D94-E5EF-4A5F-8B22-D2A92A3A93DC}" dt="2023-11-05T04:39:07.086" v="3872" actId="478"/>
          <ac:cxnSpMkLst>
            <pc:docMk/>
            <pc:sldMk cId="1825859938" sldId="364"/>
            <ac:cxnSpMk id="37" creationId="{BAC2DF24-B6CB-4092-77C6-48ED708AA8BC}"/>
          </ac:cxnSpMkLst>
        </pc:cxnChg>
        <pc:cxnChg chg="del">
          <ac:chgData name="Roy Chowdhury, Ritwik" userId="bfb84a7f-f393-43f0-840f-80c362df9247" providerId="ADAL" clId="{D98D1D94-E5EF-4A5F-8B22-D2A92A3A93DC}" dt="2023-11-05T04:39:07.707" v="3873" actId="478"/>
          <ac:cxnSpMkLst>
            <pc:docMk/>
            <pc:sldMk cId="1825859938" sldId="364"/>
            <ac:cxnSpMk id="38" creationId="{08051B9F-1B34-6C03-57DE-ED44B43A1054}"/>
          </ac:cxnSpMkLst>
        </pc:cxnChg>
        <pc:cxnChg chg="del">
          <ac:chgData name="Roy Chowdhury, Ritwik" userId="bfb84a7f-f393-43f0-840f-80c362df9247" providerId="ADAL" clId="{D98D1D94-E5EF-4A5F-8B22-D2A92A3A93DC}" dt="2023-11-05T04:39:08.601" v="3874" actId="478"/>
          <ac:cxnSpMkLst>
            <pc:docMk/>
            <pc:sldMk cId="1825859938" sldId="364"/>
            <ac:cxnSpMk id="39" creationId="{7DCEEF62-7598-907A-8309-B1F17E7F11D6}"/>
          </ac:cxnSpMkLst>
        </pc:cxnChg>
        <pc:cxnChg chg="del">
          <ac:chgData name="Roy Chowdhury, Ritwik" userId="bfb84a7f-f393-43f0-840f-80c362df9247" providerId="ADAL" clId="{D98D1D94-E5EF-4A5F-8B22-D2A92A3A93DC}" dt="2023-11-05T04:39:10.466" v="3876" actId="478"/>
          <ac:cxnSpMkLst>
            <pc:docMk/>
            <pc:sldMk cId="1825859938" sldId="364"/>
            <ac:cxnSpMk id="40" creationId="{AF6B321A-DC71-9313-DBBB-3DCE0F4B0D78}"/>
          </ac:cxnSpMkLst>
        </pc:cxnChg>
        <pc:cxnChg chg="del">
          <ac:chgData name="Roy Chowdhury, Ritwik" userId="bfb84a7f-f393-43f0-840f-80c362df9247" providerId="ADAL" clId="{D98D1D94-E5EF-4A5F-8B22-D2A92A3A93DC}" dt="2023-11-05T04:39:13.913" v="3879" actId="478"/>
          <ac:cxnSpMkLst>
            <pc:docMk/>
            <pc:sldMk cId="1825859938" sldId="364"/>
            <ac:cxnSpMk id="41" creationId="{429D8619-7311-F23C-44D0-D858BF49EDE7}"/>
          </ac:cxnSpMkLst>
        </pc:cxnChg>
        <pc:cxnChg chg="mod">
          <ac:chgData name="Roy Chowdhury, Ritwik" userId="bfb84a7f-f393-43f0-840f-80c362df9247" providerId="ADAL" clId="{D98D1D94-E5EF-4A5F-8B22-D2A92A3A93DC}" dt="2023-11-05T04:38:54.997" v="3867"/>
          <ac:cxnSpMkLst>
            <pc:docMk/>
            <pc:sldMk cId="1825859938" sldId="364"/>
            <ac:cxnSpMk id="42" creationId="{BB2337B6-BAC9-4876-1C4C-6F9E5190227B}"/>
          </ac:cxnSpMkLst>
        </pc:cxnChg>
        <pc:cxnChg chg="mod">
          <ac:chgData name="Roy Chowdhury, Ritwik" userId="bfb84a7f-f393-43f0-840f-80c362df9247" providerId="ADAL" clId="{D98D1D94-E5EF-4A5F-8B22-D2A92A3A93DC}" dt="2023-11-05T04:38:54.997" v="3867"/>
          <ac:cxnSpMkLst>
            <pc:docMk/>
            <pc:sldMk cId="1825859938" sldId="364"/>
            <ac:cxnSpMk id="45" creationId="{8BE49145-4F73-BC47-8249-67F197E0897E}"/>
          </ac:cxnSpMkLst>
        </pc:cxnChg>
        <pc:cxnChg chg="mod">
          <ac:chgData name="Roy Chowdhury, Ritwik" userId="bfb84a7f-f393-43f0-840f-80c362df9247" providerId="ADAL" clId="{D98D1D94-E5EF-4A5F-8B22-D2A92A3A93DC}" dt="2023-11-05T04:38:54.997" v="3867"/>
          <ac:cxnSpMkLst>
            <pc:docMk/>
            <pc:sldMk cId="1825859938" sldId="364"/>
            <ac:cxnSpMk id="46" creationId="{2D63B602-A61D-D35D-CEDF-CA13BB60F494}"/>
          </ac:cxnSpMkLst>
        </pc:cxnChg>
      </pc:sldChg>
      <pc:sldChg chg="addSp delSp modSp add mod modNotesTx">
        <pc:chgData name="Roy Chowdhury, Ritwik" userId="bfb84a7f-f393-43f0-840f-80c362df9247" providerId="ADAL" clId="{D98D1D94-E5EF-4A5F-8B22-D2A92A3A93DC}" dt="2023-11-08T22:28:33.847" v="12471" actId="5793"/>
        <pc:sldMkLst>
          <pc:docMk/>
          <pc:sldMk cId="4271637465" sldId="369"/>
        </pc:sldMkLst>
        <pc:spChg chg="mod">
          <ac:chgData name="Roy Chowdhury, Ritwik" userId="bfb84a7f-f393-43f0-840f-80c362df9247" providerId="ADAL" clId="{D98D1D94-E5EF-4A5F-8B22-D2A92A3A93DC}" dt="2023-11-05T21:35:26.618" v="5564" actId="208"/>
          <ac:spMkLst>
            <pc:docMk/>
            <pc:sldMk cId="4271637465" sldId="369"/>
            <ac:spMk id="5" creationId="{E708F384-35B0-06C5-FA0F-5A379A8FCFAF}"/>
          </ac:spMkLst>
        </pc:spChg>
        <pc:spChg chg="del">
          <ac:chgData name="Roy Chowdhury, Ritwik" userId="bfb84a7f-f393-43f0-840f-80c362df9247" providerId="ADAL" clId="{D98D1D94-E5EF-4A5F-8B22-D2A92A3A93DC}" dt="2023-11-06T19:32:46.090" v="5883" actId="478"/>
          <ac:spMkLst>
            <pc:docMk/>
            <pc:sldMk cId="4271637465" sldId="369"/>
            <ac:spMk id="6" creationId="{8D00B77E-1094-F6A8-A1A3-B7C3F59051E4}"/>
          </ac:spMkLst>
        </pc:spChg>
        <pc:spChg chg="add del">
          <ac:chgData name="Roy Chowdhury, Ritwik" userId="bfb84a7f-f393-43f0-840f-80c362df9247" providerId="ADAL" clId="{D98D1D94-E5EF-4A5F-8B22-D2A92A3A93DC}" dt="2023-11-06T19:06:09.196" v="5610" actId="478"/>
          <ac:spMkLst>
            <pc:docMk/>
            <pc:sldMk cId="4271637465" sldId="369"/>
            <ac:spMk id="8" creationId="{70CE805A-AB69-282C-2E0C-F43A05485ABE}"/>
          </ac:spMkLst>
        </pc:spChg>
        <pc:spChg chg="add del mod">
          <ac:chgData name="Roy Chowdhury, Ritwik" userId="bfb84a7f-f393-43f0-840f-80c362df9247" providerId="ADAL" clId="{D98D1D94-E5EF-4A5F-8B22-D2A92A3A93DC}" dt="2023-11-06T19:18:13.062" v="5716" actId="478"/>
          <ac:spMkLst>
            <pc:docMk/>
            <pc:sldMk cId="4271637465" sldId="369"/>
            <ac:spMk id="14" creationId="{F7782644-A1F9-D172-A98E-AB7B948CEDAF}"/>
          </ac:spMkLst>
        </pc:spChg>
        <pc:spChg chg="add mod ord topLvl">
          <ac:chgData name="Roy Chowdhury, Ritwik" userId="bfb84a7f-f393-43f0-840f-80c362df9247" providerId="ADAL" clId="{D98D1D94-E5EF-4A5F-8B22-D2A92A3A93DC}" dt="2023-11-06T19:53:22.993" v="6090" actId="1076"/>
          <ac:spMkLst>
            <pc:docMk/>
            <pc:sldMk cId="4271637465" sldId="369"/>
            <ac:spMk id="15" creationId="{7A8A87F1-4132-F2BE-B313-98D61A46E1AB}"/>
          </ac:spMkLst>
        </pc:spChg>
        <pc:spChg chg="add mod">
          <ac:chgData name="Roy Chowdhury, Ritwik" userId="bfb84a7f-f393-43f0-840f-80c362df9247" providerId="ADAL" clId="{D98D1D94-E5EF-4A5F-8B22-D2A92A3A93DC}" dt="2023-11-06T19:23:24.408" v="5737" actId="571"/>
          <ac:spMkLst>
            <pc:docMk/>
            <pc:sldMk cId="4271637465" sldId="369"/>
            <ac:spMk id="16" creationId="{3878F03C-3CF2-6B10-BB66-9597C39B78C9}"/>
          </ac:spMkLst>
        </pc:spChg>
        <pc:spChg chg="add mod">
          <ac:chgData name="Roy Chowdhury, Ritwik" userId="bfb84a7f-f393-43f0-840f-80c362df9247" providerId="ADAL" clId="{D98D1D94-E5EF-4A5F-8B22-D2A92A3A93DC}" dt="2023-11-06T19:23:24.408" v="5737" actId="571"/>
          <ac:spMkLst>
            <pc:docMk/>
            <pc:sldMk cId="4271637465" sldId="369"/>
            <ac:spMk id="17" creationId="{DC6D376E-C559-092E-9B92-73D7E7574A88}"/>
          </ac:spMkLst>
        </pc:spChg>
        <pc:spChg chg="add del mod">
          <ac:chgData name="Roy Chowdhury, Ritwik" userId="bfb84a7f-f393-43f0-840f-80c362df9247" providerId="ADAL" clId="{D98D1D94-E5EF-4A5F-8B22-D2A92A3A93DC}" dt="2023-11-06T19:32:51.377" v="5884" actId="478"/>
          <ac:spMkLst>
            <pc:docMk/>
            <pc:sldMk cId="4271637465" sldId="369"/>
            <ac:spMk id="20" creationId="{64B8D08A-F059-4755-CFA0-B5BF0E7AE4D6}"/>
          </ac:spMkLst>
        </pc:spChg>
        <pc:spChg chg="add mod">
          <ac:chgData name="Roy Chowdhury, Ritwik" userId="bfb84a7f-f393-43f0-840f-80c362df9247" providerId="ADAL" clId="{D98D1D94-E5EF-4A5F-8B22-D2A92A3A93DC}" dt="2023-11-06T19:32:56.713" v="5885"/>
          <ac:spMkLst>
            <pc:docMk/>
            <pc:sldMk cId="4271637465" sldId="369"/>
            <ac:spMk id="21" creationId="{2F2BBDCF-14DC-CCAD-9E0A-0FA4DF8DE8B6}"/>
          </ac:spMkLst>
        </pc:spChg>
        <pc:spChg chg="mod topLvl">
          <ac:chgData name="Roy Chowdhury, Ritwik" userId="bfb84a7f-f393-43f0-840f-80c362df9247" providerId="ADAL" clId="{D98D1D94-E5EF-4A5F-8B22-D2A92A3A93DC}" dt="2023-11-06T19:53:14.043" v="6089" actId="403"/>
          <ac:spMkLst>
            <pc:docMk/>
            <pc:sldMk cId="4271637465" sldId="369"/>
            <ac:spMk id="35" creationId="{62AA1F35-0C41-EC8B-5746-F73715F357F0}"/>
          </ac:spMkLst>
        </pc:spChg>
        <pc:spChg chg="mod">
          <ac:chgData name="Roy Chowdhury, Ritwik" userId="bfb84a7f-f393-43f0-840f-80c362df9247" providerId="ADAL" clId="{D98D1D94-E5EF-4A5F-8B22-D2A92A3A93DC}" dt="2023-11-06T18:57:12.594" v="5568" actId="14100"/>
          <ac:spMkLst>
            <pc:docMk/>
            <pc:sldMk cId="4271637465" sldId="369"/>
            <ac:spMk id="45" creationId="{E5EEFBE5-4BCC-AD02-A244-B63E79F89E3E}"/>
          </ac:spMkLst>
        </pc:spChg>
        <pc:spChg chg="mod">
          <ac:chgData name="Roy Chowdhury, Ritwik" userId="bfb84a7f-f393-43f0-840f-80c362df9247" providerId="ADAL" clId="{D98D1D94-E5EF-4A5F-8B22-D2A92A3A93DC}" dt="2023-11-05T21:23:51.369" v="5431" actId="1076"/>
          <ac:spMkLst>
            <pc:docMk/>
            <pc:sldMk cId="4271637465" sldId="369"/>
            <ac:spMk id="49" creationId="{500EB067-F212-0B0D-DE10-67F2F0DE43F9}"/>
          </ac:spMkLst>
        </pc:spChg>
        <pc:spChg chg="mod">
          <ac:chgData name="Roy Chowdhury, Ritwik" userId="bfb84a7f-f393-43f0-840f-80c362df9247" providerId="ADAL" clId="{D98D1D94-E5EF-4A5F-8B22-D2A92A3A93DC}" dt="2023-11-06T18:58:52.827" v="5602" actId="14100"/>
          <ac:spMkLst>
            <pc:docMk/>
            <pc:sldMk cId="4271637465" sldId="369"/>
            <ac:spMk id="50" creationId="{67937100-8696-DC67-5784-4700BA93AF89}"/>
          </ac:spMkLst>
        </pc:spChg>
        <pc:spChg chg="mod">
          <ac:chgData name="Roy Chowdhury, Ritwik" userId="bfb84a7f-f393-43f0-840f-80c362df9247" providerId="ADAL" clId="{D98D1D94-E5EF-4A5F-8B22-D2A92A3A93DC}" dt="2023-11-06T18:57:51.070" v="5585" actId="20577"/>
          <ac:spMkLst>
            <pc:docMk/>
            <pc:sldMk cId="4271637465" sldId="369"/>
            <ac:spMk id="89" creationId="{2B9C7FC8-1FBE-900D-308E-2D0E4B5AA5E1}"/>
          </ac:spMkLst>
        </pc:spChg>
        <pc:spChg chg="mod">
          <ac:chgData name="Roy Chowdhury, Ritwik" userId="bfb84a7f-f393-43f0-840f-80c362df9247" providerId="ADAL" clId="{D98D1D94-E5EF-4A5F-8B22-D2A92A3A93DC}" dt="2023-11-05T21:15:41.971" v="5186" actId="20577"/>
          <ac:spMkLst>
            <pc:docMk/>
            <pc:sldMk cId="4271637465" sldId="369"/>
            <ac:spMk id="92" creationId="{89F3CD0B-6DC9-F623-70AC-D7619CAEEFA8}"/>
          </ac:spMkLst>
        </pc:spChg>
        <pc:spChg chg="mod">
          <ac:chgData name="Roy Chowdhury, Ritwik" userId="bfb84a7f-f393-43f0-840f-80c362df9247" providerId="ADAL" clId="{D98D1D94-E5EF-4A5F-8B22-D2A92A3A93DC}" dt="2023-11-05T21:11:31.626" v="4957" actId="21"/>
          <ac:spMkLst>
            <pc:docMk/>
            <pc:sldMk cId="4271637465" sldId="369"/>
            <ac:spMk id="93" creationId="{8D7CD126-6C28-95F0-9C40-F7216C3EF511}"/>
          </ac:spMkLst>
        </pc:spChg>
        <pc:spChg chg="mod">
          <ac:chgData name="Roy Chowdhury, Ritwik" userId="bfb84a7f-f393-43f0-840f-80c362df9247" providerId="ADAL" clId="{D98D1D94-E5EF-4A5F-8B22-D2A92A3A93DC}" dt="2023-11-06T18:58:03.763" v="5586" actId="14100"/>
          <ac:spMkLst>
            <pc:docMk/>
            <pc:sldMk cId="4271637465" sldId="369"/>
            <ac:spMk id="98" creationId="{4270CC02-28C7-C697-6AB6-26FD6E51CDEC}"/>
          </ac:spMkLst>
        </pc:spChg>
        <pc:spChg chg="mod">
          <ac:chgData name="Roy Chowdhury, Ritwik" userId="bfb84a7f-f393-43f0-840f-80c362df9247" providerId="ADAL" clId="{D98D1D94-E5EF-4A5F-8B22-D2A92A3A93DC}" dt="2023-11-05T21:20:47.217" v="5323" actId="20577"/>
          <ac:spMkLst>
            <pc:docMk/>
            <pc:sldMk cId="4271637465" sldId="369"/>
            <ac:spMk id="101" creationId="{C7ED75B2-0DBB-5BBE-415C-51136659F49E}"/>
          </ac:spMkLst>
        </pc:spChg>
        <pc:spChg chg="mod">
          <ac:chgData name="Roy Chowdhury, Ritwik" userId="bfb84a7f-f393-43f0-840f-80c362df9247" providerId="ADAL" clId="{D98D1D94-E5EF-4A5F-8B22-D2A92A3A93DC}" dt="2023-11-06T18:58:20.263" v="5598" actId="313"/>
          <ac:spMkLst>
            <pc:docMk/>
            <pc:sldMk cId="4271637465" sldId="369"/>
            <ac:spMk id="102" creationId="{E19A5779-999A-00D4-44F1-C1B3D48F1209}"/>
          </ac:spMkLst>
        </pc:spChg>
        <pc:grpChg chg="add mod">
          <ac:chgData name="Roy Chowdhury, Ritwik" userId="bfb84a7f-f393-43f0-840f-80c362df9247" providerId="ADAL" clId="{D98D1D94-E5EF-4A5F-8B22-D2A92A3A93DC}" dt="2023-11-06T18:58:37.739" v="5599" actId="164"/>
          <ac:grpSpMkLst>
            <pc:docMk/>
            <pc:sldMk cId="4271637465" sldId="369"/>
            <ac:grpSpMk id="2" creationId="{1855827E-6DBB-C85C-667E-876313CEC58B}"/>
          </ac:grpSpMkLst>
        </pc:grpChg>
        <pc:grpChg chg="add mod">
          <ac:chgData name="Roy Chowdhury, Ritwik" userId="bfb84a7f-f393-43f0-840f-80c362df9247" providerId="ADAL" clId="{D98D1D94-E5EF-4A5F-8B22-D2A92A3A93DC}" dt="2023-11-06T18:58:37.739" v="5599" actId="164"/>
          <ac:grpSpMkLst>
            <pc:docMk/>
            <pc:sldMk cId="4271637465" sldId="369"/>
            <ac:grpSpMk id="3" creationId="{7A4E742D-0723-9558-DCA5-668D68AD1BF0}"/>
          </ac:grpSpMkLst>
        </pc:grpChg>
        <pc:grpChg chg="add mod">
          <ac:chgData name="Roy Chowdhury, Ritwik" userId="bfb84a7f-f393-43f0-840f-80c362df9247" providerId="ADAL" clId="{D98D1D94-E5EF-4A5F-8B22-D2A92A3A93DC}" dt="2023-11-06T19:54:03.730" v="6092" actId="1076"/>
          <ac:grpSpMkLst>
            <pc:docMk/>
            <pc:sldMk cId="4271637465" sldId="369"/>
            <ac:grpSpMk id="4" creationId="{D6D245F5-1A42-7097-8DAF-EE5147EF409A}"/>
          </ac:grpSpMkLst>
        </pc:grpChg>
        <pc:grpChg chg="mod">
          <ac:chgData name="Roy Chowdhury, Ritwik" userId="bfb84a7f-f393-43f0-840f-80c362df9247" providerId="ADAL" clId="{D98D1D94-E5EF-4A5F-8B22-D2A92A3A93DC}" dt="2023-11-06T18:58:37.739" v="5599" actId="164"/>
          <ac:grpSpMkLst>
            <pc:docMk/>
            <pc:sldMk cId="4271637465" sldId="369"/>
            <ac:grpSpMk id="7" creationId="{A443CDBF-CC29-43C1-93BB-6B292A616FB6}"/>
          </ac:grpSpMkLst>
        </pc:grpChg>
        <pc:grpChg chg="add del mod">
          <ac:chgData name="Roy Chowdhury, Ritwik" userId="bfb84a7f-f393-43f0-840f-80c362df9247" providerId="ADAL" clId="{D98D1D94-E5EF-4A5F-8B22-D2A92A3A93DC}" dt="2023-11-06T19:26:26.603" v="5742" actId="165"/>
          <ac:grpSpMkLst>
            <pc:docMk/>
            <pc:sldMk cId="4271637465" sldId="369"/>
            <ac:grpSpMk id="18" creationId="{FEE9461F-D8D4-F162-5777-DE6941A05299}"/>
          </ac:grpSpMkLst>
        </pc:grpChg>
        <pc:grpChg chg="add mod">
          <ac:chgData name="Roy Chowdhury, Ritwik" userId="bfb84a7f-f393-43f0-840f-80c362df9247" providerId="ADAL" clId="{D98D1D94-E5EF-4A5F-8B22-D2A92A3A93DC}" dt="2023-11-06T19:54:24.976" v="6093" actId="1076"/>
          <ac:grpSpMkLst>
            <pc:docMk/>
            <pc:sldMk cId="4271637465" sldId="369"/>
            <ac:grpSpMk id="19" creationId="{1133B82D-6593-D68D-88DA-B2F5412AA424}"/>
          </ac:grpSpMkLst>
        </pc:grpChg>
        <pc:grpChg chg="mod">
          <ac:chgData name="Roy Chowdhury, Ritwik" userId="bfb84a7f-f393-43f0-840f-80c362df9247" providerId="ADAL" clId="{D98D1D94-E5EF-4A5F-8B22-D2A92A3A93DC}" dt="2023-11-05T21:04:29.670" v="4950" actId="164"/>
          <ac:grpSpMkLst>
            <pc:docMk/>
            <pc:sldMk cId="4271637465" sldId="369"/>
            <ac:grpSpMk id="88" creationId="{4CB7A62B-6C2C-7395-67F0-1AC1B7E95DA9}"/>
          </ac:grpSpMkLst>
        </pc:grpChg>
        <pc:grpChg chg="mod">
          <ac:chgData name="Roy Chowdhury, Ritwik" userId="bfb84a7f-f393-43f0-840f-80c362df9247" providerId="ADAL" clId="{D98D1D94-E5EF-4A5F-8B22-D2A92A3A93DC}" dt="2023-11-05T21:04:32.428" v="4951" actId="164"/>
          <ac:grpSpMkLst>
            <pc:docMk/>
            <pc:sldMk cId="4271637465" sldId="369"/>
            <ac:grpSpMk id="97" creationId="{033A2580-E6E5-AE55-70CE-805E61A1C485}"/>
          </ac:grpSpMkLst>
        </pc:grpChg>
        <pc:picChg chg="add del mod ord">
          <ac:chgData name="Roy Chowdhury, Ritwik" userId="bfb84a7f-f393-43f0-840f-80c362df9247" providerId="ADAL" clId="{D98D1D94-E5EF-4A5F-8B22-D2A92A3A93DC}" dt="2023-11-06T19:18:15.210" v="5718" actId="478"/>
          <ac:picMkLst>
            <pc:docMk/>
            <pc:sldMk cId="4271637465" sldId="369"/>
            <ac:picMk id="10" creationId="{BC5EB3C0-C76A-12A7-D3B8-9CE8B2DC04B4}"/>
          </ac:picMkLst>
        </pc:picChg>
        <pc:picChg chg="mod">
          <ac:chgData name="Roy Chowdhury, Ritwik" userId="bfb84a7f-f393-43f0-840f-80c362df9247" providerId="ADAL" clId="{D98D1D94-E5EF-4A5F-8B22-D2A92A3A93DC}" dt="2023-11-05T21:04:29.670" v="4950" actId="164"/>
          <ac:picMkLst>
            <pc:docMk/>
            <pc:sldMk cId="4271637465" sldId="369"/>
            <ac:picMk id="33" creationId="{B96074E0-AD7B-AF84-92AD-606FA3CD0586}"/>
          </ac:picMkLst>
        </pc:picChg>
        <pc:picChg chg="mod">
          <ac:chgData name="Roy Chowdhury, Ritwik" userId="bfb84a7f-f393-43f0-840f-80c362df9247" providerId="ADAL" clId="{D98D1D94-E5EF-4A5F-8B22-D2A92A3A93DC}" dt="2023-11-05T21:04:32.428" v="4951" actId="164"/>
          <ac:picMkLst>
            <pc:docMk/>
            <pc:sldMk cId="4271637465" sldId="369"/>
            <ac:picMk id="34" creationId="{423E0012-6122-889F-214D-7A44FABFC8DF}"/>
          </ac:picMkLst>
        </pc:picChg>
        <pc:cxnChg chg="add del mod ord">
          <ac:chgData name="Roy Chowdhury, Ritwik" userId="bfb84a7f-f393-43f0-840f-80c362df9247" providerId="ADAL" clId="{D98D1D94-E5EF-4A5F-8B22-D2A92A3A93DC}" dt="2023-11-06T19:18:14.168" v="5717" actId="478"/>
          <ac:cxnSpMkLst>
            <pc:docMk/>
            <pc:sldMk cId="4271637465" sldId="369"/>
            <ac:cxnSpMk id="12" creationId="{13EB881D-8B36-23AD-77CC-78685FDAD07C}"/>
          </ac:cxnSpMkLst>
        </pc:cxnChg>
      </pc:sldChg>
      <pc:sldChg chg="modNotesTx">
        <pc:chgData name="Roy Chowdhury, Ritwik" userId="bfb84a7f-f393-43f0-840f-80c362df9247" providerId="ADAL" clId="{D98D1D94-E5EF-4A5F-8B22-D2A92A3A93DC}" dt="2023-11-08T22:29:21.928" v="12478" actId="20577"/>
        <pc:sldMkLst>
          <pc:docMk/>
          <pc:sldMk cId="3649468413" sldId="370"/>
        </pc:sldMkLst>
      </pc:sldChg>
      <pc:sldChg chg="modSp mod modNotesTx">
        <pc:chgData name="Roy Chowdhury, Ritwik" userId="bfb84a7f-f393-43f0-840f-80c362df9247" providerId="ADAL" clId="{D98D1D94-E5EF-4A5F-8B22-D2A92A3A93DC}" dt="2023-11-08T22:28:49.968" v="12474" actId="20577"/>
        <pc:sldMkLst>
          <pc:docMk/>
          <pc:sldMk cId="2267929564" sldId="371"/>
        </pc:sldMkLst>
        <pc:spChg chg="mod">
          <ac:chgData name="Roy Chowdhury, Ritwik" userId="bfb84a7f-f393-43f0-840f-80c362df9247" providerId="ADAL" clId="{D98D1D94-E5EF-4A5F-8B22-D2A92A3A93DC}" dt="2023-11-07T07:21:56.334" v="7094" actId="20577"/>
          <ac:spMkLst>
            <pc:docMk/>
            <pc:sldMk cId="2267929564" sldId="371"/>
            <ac:spMk id="3" creationId="{62A1BD13-29CB-D6ED-22CC-D90A70D0279D}"/>
          </ac:spMkLst>
        </pc:spChg>
      </pc:sldChg>
      <pc:sldChg chg="modSp mod modNotesTx">
        <pc:chgData name="Roy Chowdhury, Ritwik" userId="bfb84a7f-f393-43f0-840f-80c362df9247" providerId="ADAL" clId="{D98D1D94-E5EF-4A5F-8B22-D2A92A3A93DC}" dt="2023-11-08T22:29:29.912" v="12479" actId="20577"/>
        <pc:sldMkLst>
          <pc:docMk/>
          <pc:sldMk cId="160926467" sldId="372"/>
        </pc:sldMkLst>
        <pc:spChg chg="mod">
          <ac:chgData name="Roy Chowdhury, Ritwik" userId="bfb84a7f-f393-43f0-840f-80c362df9247" providerId="ADAL" clId="{D98D1D94-E5EF-4A5F-8B22-D2A92A3A93DC}" dt="2023-11-08T22:09:31.457" v="12429" actId="20577"/>
          <ac:spMkLst>
            <pc:docMk/>
            <pc:sldMk cId="160926467" sldId="372"/>
            <ac:spMk id="438" creationId="{84FAB29A-455F-08B2-B433-78FF60A92CE4}"/>
          </ac:spMkLst>
        </pc:spChg>
      </pc:sldChg>
      <pc:sldChg chg="modNotesTx">
        <pc:chgData name="Roy Chowdhury, Ritwik" userId="bfb84a7f-f393-43f0-840f-80c362df9247" providerId="ADAL" clId="{D98D1D94-E5EF-4A5F-8B22-D2A92A3A93DC}" dt="2023-11-08T22:29:40.017" v="12481" actId="20577"/>
        <pc:sldMkLst>
          <pc:docMk/>
          <pc:sldMk cId="1357425586" sldId="373"/>
        </pc:sldMkLst>
      </pc:sldChg>
      <pc:sldChg chg="addSp delSp modSp add mod modClrScheme modAnim chgLayout modNotesTx">
        <pc:chgData name="Roy Chowdhury, Ritwik" userId="bfb84a7f-f393-43f0-840f-80c362df9247" providerId="ADAL" clId="{D98D1D94-E5EF-4A5F-8B22-D2A92A3A93DC}" dt="2023-11-08T22:27:43.875" v="12467" actId="20577"/>
        <pc:sldMkLst>
          <pc:docMk/>
          <pc:sldMk cId="722401933" sldId="374"/>
        </pc:sldMkLst>
        <pc:spChg chg="mod">
          <ac:chgData name="Roy Chowdhury, Ritwik" userId="bfb84a7f-f393-43f0-840f-80c362df9247" providerId="ADAL" clId="{D98D1D94-E5EF-4A5F-8B22-D2A92A3A93DC}" dt="2023-11-05T19:22:34.122" v="4532" actId="403"/>
          <ac:spMkLst>
            <pc:docMk/>
            <pc:sldMk cId="722401933" sldId="374"/>
            <ac:spMk id="3" creationId="{6FBA7A78-83C8-CB87-216A-2B0B62BA1E20}"/>
          </ac:spMkLst>
        </pc:spChg>
        <pc:spChg chg="mod">
          <ac:chgData name="Roy Chowdhury, Ritwik" userId="bfb84a7f-f393-43f0-840f-80c362df9247" providerId="ADAL" clId="{D98D1D94-E5EF-4A5F-8B22-D2A92A3A93DC}" dt="2023-11-05T19:22:34.122" v="4532" actId="403"/>
          <ac:spMkLst>
            <pc:docMk/>
            <pc:sldMk cId="722401933" sldId="374"/>
            <ac:spMk id="4" creationId="{0060669F-F91A-AFFA-FEFC-0005EC27C77A}"/>
          </ac:spMkLst>
        </pc:spChg>
        <pc:spChg chg="mod">
          <ac:chgData name="Roy Chowdhury, Ritwik" userId="bfb84a7f-f393-43f0-840f-80c362df9247" providerId="ADAL" clId="{D98D1D94-E5EF-4A5F-8B22-D2A92A3A93DC}" dt="2023-11-05T19:22:34.122" v="4532" actId="403"/>
          <ac:spMkLst>
            <pc:docMk/>
            <pc:sldMk cId="722401933" sldId="374"/>
            <ac:spMk id="5" creationId="{A62886E0-6321-8280-7EA7-6D1E6DF204CC}"/>
          </ac:spMkLst>
        </pc:spChg>
        <pc:spChg chg="mod">
          <ac:chgData name="Roy Chowdhury, Ritwik" userId="bfb84a7f-f393-43f0-840f-80c362df9247" providerId="ADAL" clId="{D98D1D94-E5EF-4A5F-8B22-D2A92A3A93DC}" dt="2023-11-08T06:22:31.357" v="11979" actId="120"/>
          <ac:spMkLst>
            <pc:docMk/>
            <pc:sldMk cId="722401933" sldId="374"/>
            <ac:spMk id="6" creationId="{8D00B77E-1094-F6A8-A1A3-B7C3F59051E4}"/>
          </ac:spMkLst>
        </pc:spChg>
        <pc:spChg chg="add mod">
          <ac:chgData name="Roy Chowdhury, Ritwik" userId="bfb84a7f-f393-43f0-840f-80c362df9247" providerId="ADAL" clId="{D98D1D94-E5EF-4A5F-8B22-D2A92A3A93DC}" dt="2023-11-06T22:20:41.464" v="6199"/>
          <ac:spMkLst>
            <pc:docMk/>
            <pc:sldMk cId="722401933" sldId="374"/>
            <ac:spMk id="7" creationId="{A0AE81C3-9CE7-9933-AC2F-09A8C83F7B86}"/>
          </ac:spMkLst>
        </pc:spChg>
        <pc:spChg chg="del mod">
          <ac:chgData name="Roy Chowdhury, Ritwik" userId="bfb84a7f-f393-43f0-840f-80c362df9247" providerId="ADAL" clId="{D98D1D94-E5EF-4A5F-8B22-D2A92A3A93DC}" dt="2023-11-05T19:10:21.524" v="4398" actId="478"/>
          <ac:spMkLst>
            <pc:docMk/>
            <pc:sldMk cId="722401933" sldId="374"/>
            <ac:spMk id="8" creationId="{18BDF2E9-56AE-D1EB-6FFA-4462152D1AE8}"/>
          </ac:spMkLst>
        </pc:spChg>
        <pc:spChg chg="del mod">
          <ac:chgData name="Roy Chowdhury, Ritwik" userId="bfb84a7f-f393-43f0-840f-80c362df9247" providerId="ADAL" clId="{D98D1D94-E5EF-4A5F-8B22-D2A92A3A93DC}" dt="2023-11-05T19:10:25.364" v="4399" actId="478"/>
          <ac:spMkLst>
            <pc:docMk/>
            <pc:sldMk cId="722401933" sldId="374"/>
            <ac:spMk id="9" creationId="{614FB229-FB0C-1AC6-42A6-EFCFFC2FD9F7}"/>
          </ac:spMkLst>
        </pc:spChg>
        <pc:spChg chg="mod">
          <ac:chgData name="Roy Chowdhury, Ritwik" userId="bfb84a7f-f393-43f0-840f-80c362df9247" providerId="ADAL" clId="{D98D1D94-E5EF-4A5F-8B22-D2A92A3A93DC}" dt="2023-11-05T19:20:38.919" v="4508" actId="1076"/>
          <ac:spMkLst>
            <pc:docMk/>
            <pc:sldMk cId="722401933" sldId="374"/>
            <ac:spMk id="11" creationId="{860D2633-D247-EA0F-B9CB-5DB1A6F17126}"/>
          </ac:spMkLst>
        </pc:spChg>
        <pc:spChg chg="mod">
          <ac:chgData name="Roy Chowdhury, Ritwik" userId="bfb84a7f-f393-43f0-840f-80c362df9247" providerId="ADAL" clId="{D98D1D94-E5EF-4A5F-8B22-D2A92A3A93DC}" dt="2023-11-05T19:20:38.919" v="4508" actId="1076"/>
          <ac:spMkLst>
            <pc:docMk/>
            <pc:sldMk cId="722401933" sldId="374"/>
            <ac:spMk id="12" creationId="{2F0529DB-3E8F-6027-73E5-A0F975588F48}"/>
          </ac:spMkLst>
        </pc:spChg>
        <pc:spChg chg="mod">
          <ac:chgData name="Roy Chowdhury, Ritwik" userId="bfb84a7f-f393-43f0-840f-80c362df9247" providerId="ADAL" clId="{D98D1D94-E5EF-4A5F-8B22-D2A92A3A93DC}" dt="2023-11-06T22:48:01.363" v="6357" actId="113"/>
          <ac:spMkLst>
            <pc:docMk/>
            <pc:sldMk cId="722401933" sldId="374"/>
            <ac:spMk id="13" creationId="{0DAFE0EB-AD2A-2C73-12E6-AF5E4DA1B3A3}"/>
          </ac:spMkLst>
        </pc:spChg>
        <pc:spChg chg="del mod">
          <ac:chgData name="Roy Chowdhury, Ritwik" userId="bfb84a7f-f393-43f0-840f-80c362df9247" providerId="ADAL" clId="{D98D1D94-E5EF-4A5F-8B22-D2A92A3A93DC}" dt="2023-11-05T19:10:16.758" v="4396" actId="478"/>
          <ac:spMkLst>
            <pc:docMk/>
            <pc:sldMk cId="722401933" sldId="374"/>
            <ac:spMk id="15" creationId="{8FF85FA7-FA95-5821-3DC3-98F4AB3766F4}"/>
          </ac:spMkLst>
        </pc:spChg>
        <pc:spChg chg="del mod">
          <ac:chgData name="Roy Chowdhury, Ritwik" userId="bfb84a7f-f393-43f0-840f-80c362df9247" providerId="ADAL" clId="{D98D1D94-E5EF-4A5F-8B22-D2A92A3A93DC}" dt="2023-11-05T19:10:18.374" v="4397" actId="478"/>
          <ac:spMkLst>
            <pc:docMk/>
            <pc:sldMk cId="722401933" sldId="374"/>
            <ac:spMk id="16" creationId="{89007472-41BB-E6E4-B895-EE08E3E25498}"/>
          </ac:spMkLst>
        </pc:spChg>
        <pc:spChg chg="del mod">
          <ac:chgData name="Roy Chowdhury, Ritwik" userId="bfb84a7f-f393-43f0-840f-80c362df9247" providerId="ADAL" clId="{D98D1D94-E5EF-4A5F-8B22-D2A92A3A93DC}" dt="2023-11-05T19:10:14.102" v="4395" actId="478"/>
          <ac:spMkLst>
            <pc:docMk/>
            <pc:sldMk cId="722401933" sldId="374"/>
            <ac:spMk id="17" creationId="{677C2718-A8BE-0BDB-E452-75A33E62F261}"/>
          </ac:spMkLst>
        </pc:spChg>
        <pc:spChg chg="mod">
          <ac:chgData name="Roy Chowdhury, Ritwik" userId="bfb84a7f-f393-43f0-840f-80c362df9247" providerId="ADAL" clId="{D98D1D94-E5EF-4A5F-8B22-D2A92A3A93DC}" dt="2023-11-05T19:20:27.638" v="4506" actId="1076"/>
          <ac:spMkLst>
            <pc:docMk/>
            <pc:sldMk cId="722401933" sldId="374"/>
            <ac:spMk id="19" creationId="{06416CF6-A4D0-5E18-BAA9-FFE3CE4B06F5}"/>
          </ac:spMkLst>
        </pc:spChg>
        <pc:spChg chg="mod">
          <ac:chgData name="Roy Chowdhury, Ritwik" userId="bfb84a7f-f393-43f0-840f-80c362df9247" providerId="ADAL" clId="{D98D1D94-E5EF-4A5F-8B22-D2A92A3A93DC}" dt="2023-11-05T19:20:27.638" v="4506" actId="1076"/>
          <ac:spMkLst>
            <pc:docMk/>
            <pc:sldMk cId="722401933" sldId="374"/>
            <ac:spMk id="20" creationId="{12D521EC-CE24-3446-D3B4-85D69E0E3024}"/>
          </ac:spMkLst>
        </pc:spChg>
        <pc:spChg chg="mod">
          <ac:chgData name="Roy Chowdhury, Ritwik" userId="bfb84a7f-f393-43f0-840f-80c362df9247" providerId="ADAL" clId="{D98D1D94-E5EF-4A5F-8B22-D2A92A3A93DC}" dt="2023-11-06T22:47:57.063" v="6356" actId="113"/>
          <ac:spMkLst>
            <pc:docMk/>
            <pc:sldMk cId="722401933" sldId="374"/>
            <ac:spMk id="21" creationId="{0ABFB8E1-F4F9-4DF0-6E38-CFA2D675144B}"/>
          </ac:spMkLst>
        </pc:spChg>
        <pc:spChg chg="del mod">
          <ac:chgData name="Roy Chowdhury, Ritwik" userId="bfb84a7f-f393-43f0-840f-80c362df9247" providerId="ADAL" clId="{D98D1D94-E5EF-4A5F-8B22-D2A92A3A93DC}" dt="2023-11-05T19:10:11.707" v="4394" actId="478"/>
          <ac:spMkLst>
            <pc:docMk/>
            <pc:sldMk cId="722401933" sldId="374"/>
            <ac:spMk id="22" creationId="{041452C2-B078-9B62-B5F4-9567250EF4E7}"/>
          </ac:spMkLst>
        </pc:spChg>
        <pc:spChg chg="mod">
          <ac:chgData name="Roy Chowdhury, Ritwik" userId="bfb84a7f-f393-43f0-840f-80c362df9247" providerId="ADAL" clId="{D98D1D94-E5EF-4A5F-8B22-D2A92A3A93DC}" dt="2023-11-05T19:19:42.143" v="4501" actId="1076"/>
          <ac:spMkLst>
            <pc:docMk/>
            <pc:sldMk cId="722401933" sldId="374"/>
            <ac:spMk id="24" creationId="{9167E2CB-FD57-4B10-3B1D-A94AEF0C349A}"/>
          </ac:spMkLst>
        </pc:spChg>
        <pc:spChg chg="mod">
          <ac:chgData name="Roy Chowdhury, Ritwik" userId="bfb84a7f-f393-43f0-840f-80c362df9247" providerId="ADAL" clId="{D98D1D94-E5EF-4A5F-8B22-D2A92A3A93DC}" dt="2023-11-05T19:19:42.143" v="4501" actId="1076"/>
          <ac:spMkLst>
            <pc:docMk/>
            <pc:sldMk cId="722401933" sldId="374"/>
            <ac:spMk id="25" creationId="{E2D908CF-A6B3-DAE0-F221-9DA44396183F}"/>
          </ac:spMkLst>
        </pc:spChg>
        <pc:spChg chg="mod">
          <ac:chgData name="Roy Chowdhury, Ritwik" userId="bfb84a7f-f393-43f0-840f-80c362df9247" providerId="ADAL" clId="{D98D1D94-E5EF-4A5F-8B22-D2A92A3A93DC}" dt="2023-11-06T22:48:14.121" v="6363" actId="20577"/>
          <ac:spMkLst>
            <pc:docMk/>
            <pc:sldMk cId="722401933" sldId="374"/>
            <ac:spMk id="26" creationId="{DFEDFFEC-19C7-99E4-ED32-0CC83A36F6A4}"/>
          </ac:spMkLst>
        </pc:spChg>
        <pc:spChg chg="del mod">
          <ac:chgData name="Roy Chowdhury, Ritwik" userId="bfb84a7f-f393-43f0-840f-80c362df9247" providerId="ADAL" clId="{D98D1D94-E5EF-4A5F-8B22-D2A92A3A93DC}" dt="2023-11-05T19:08:14.437" v="4374" actId="478"/>
          <ac:spMkLst>
            <pc:docMk/>
            <pc:sldMk cId="722401933" sldId="374"/>
            <ac:spMk id="27" creationId="{5C687D44-3694-162A-180A-39B6F7602730}"/>
          </ac:spMkLst>
        </pc:spChg>
        <pc:spChg chg="del mod">
          <ac:chgData name="Roy Chowdhury, Ritwik" userId="bfb84a7f-f393-43f0-840f-80c362df9247" providerId="ADAL" clId="{D98D1D94-E5EF-4A5F-8B22-D2A92A3A93DC}" dt="2023-11-05T19:08:24.593" v="4378" actId="478"/>
          <ac:spMkLst>
            <pc:docMk/>
            <pc:sldMk cId="722401933" sldId="374"/>
            <ac:spMk id="28" creationId="{FD3B2F10-2DD3-5CF6-F367-0F5B62E96663}"/>
          </ac:spMkLst>
        </pc:spChg>
        <pc:spChg chg="del mod">
          <ac:chgData name="Roy Chowdhury, Ritwik" userId="bfb84a7f-f393-43f0-840f-80c362df9247" providerId="ADAL" clId="{D98D1D94-E5EF-4A5F-8B22-D2A92A3A93DC}" dt="2023-11-05T19:08:20.049" v="4376" actId="478"/>
          <ac:spMkLst>
            <pc:docMk/>
            <pc:sldMk cId="722401933" sldId="374"/>
            <ac:spMk id="29" creationId="{664420E7-79FC-8F5A-B427-4369075DBA93}"/>
          </ac:spMkLst>
        </pc:spChg>
        <pc:spChg chg="del mod">
          <ac:chgData name="Roy Chowdhury, Ritwik" userId="bfb84a7f-f393-43f0-840f-80c362df9247" providerId="ADAL" clId="{D98D1D94-E5EF-4A5F-8B22-D2A92A3A93DC}" dt="2023-11-05T19:08:22.858" v="4377" actId="478"/>
          <ac:spMkLst>
            <pc:docMk/>
            <pc:sldMk cId="722401933" sldId="374"/>
            <ac:spMk id="32" creationId="{A01D9A66-1F49-5648-FC52-3F0E5CD619BA}"/>
          </ac:spMkLst>
        </pc:spChg>
        <pc:spChg chg="del mod">
          <ac:chgData name="Roy Chowdhury, Ritwik" userId="bfb84a7f-f393-43f0-840f-80c362df9247" providerId="ADAL" clId="{D98D1D94-E5EF-4A5F-8B22-D2A92A3A93DC}" dt="2023-11-05T19:08:17.054" v="4375" actId="478"/>
          <ac:spMkLst>
            <pc:docMk/>
            <pc:sldMk cId="722401933" sldId="374"/>
            <ac:spMk id="33" creationId="{293D07B3-E067-76FD-0671-053653F1220D}"/>
          </ac:spMkLst>
        </pc:spChg>
        <pc:spChg chg="mod">
          <ac:chgData name="Roy Chowdhury, Ritwik" userId="bfb84a7f-f393-43f0-840f-80c362df9247" providerId="ADAL" clId="{D98D1D94-E5EF-4A5F-8B22-D2A92A3A93DC}" dt="2023-11-05T19:20:00.903" v="4503" actId="1076"/>
          <ac:spMkLst>
            <pc:docMk/>
            <pc:sldMk cId="722401933" sldId="374"/>
            <ac:spMk id="36" creationId="{D3D5E2EE-149A-130D-2D52-08105C1685C2}"/>
          </ac:spMkLst>
        </pc:spChg>
        <pc:spChg chg="mod">
          <ac:chgData name="Roy Chowdhury, Ritwik" userId="bfb84a7f-f393-43f0-840f-80c362df9247" providerId="ADAL" clId="{D98D1D94-E5EF-4A5F-8B22-D2A92A3A93DC}" dt="2023-11-05T19:20:00.903" v="4503" actId="1076"/>
          <ac:spMkLst>
            <pc:docMk/>
            <pc:sldMk cId="722401933" sldId="374"/>
            <ac:spMk id="37" creationId="{15C519E3-F083-DC3D-EB49-63526000E416}"/>
          </ac:spMkLst>
        </pc:spChg>
        <pc:spChg chg="mod">
          <ac:chgData name="Roy Chowdhury, Ritwik" userId="bfb84a7f-f393-43f0-840f-80c362df9247" providerId="ADAL" clId="{D98D1D94-E5EF-4A5F-8B22-D2A92A3A93DC}" dt="2023-11-06T22:47:52.860" v="6355" actId="113"/>
          <ac:spMkLst>
            <pc:docMk/>
            <pc:sldMk cId="722401933" sldId="374"/>
            <ac:spMk id="38" creationId="{3C447AF3-E4FC-2DB5-6ADB-936FA338B947}"/>
          </ac:spMkLst>
        </pc:spChg>
        <pc:spChg chg="del mod">
          <ac:chgData name="Roy Chowdhury, Ritwik" userId="bfb84a7f-f393-43f0-840f-80c362df9247" providerId="ADAL" clId="{D98D1D94-E5EF-4A5F-8B22-D2A92A3A93DC}" dt="2023-11-05T19:10:08.860" v="4393" actId="478"/>
          <ac:spMkLst>
            <pc:docMk/>
            <pc:sldMk cId="722401933" sldId="374"/>
            <ac:spMk id="41" creationId="{D5511F00-0898-D8D2-B53A-24811A18B78A}"/>
          </ac:spMkLst>
        </pc:spChg>
        <pc:spChg chg="add mod">
          <ac:chgData name="Roy Chowdhury, Ritwik" userId="bfb84a7f-f393-43f0-840f-80c362df9247" providerId="ADAL" clId="{D98D1D94-E5EF-4A5F-8B22-D2A92A3A93DC}" dt="2023-11-05T19:19:42.143" v="4501" actId="1076"/>
          <ac:spMkLst>
            <pc:docMk/>
            <pc:sldMk cId="722401933" sldId="374"/>
            <ac:spMk id="51" creationId="{71A1A608-2C81-4CB7-2AE1-49A426A57F6B}"/>
          </ac:spMkLst>
        </pc:spChg>
        <pc:spChg chg="add mod">
          <ac:chgData name="Roy Chowdhury, Ritwik" userId="bfb84a7f-f393-43f0-840f-80c362df9247" providerId="ADAL" clId="{D98D1D94-E5EF-4A5F-8B22-D2A92A3A93DC}" dt="2023-11-05T19:20:00.903" v="4503" actId="1076"/>
          <ac:spMkLst>
            <pc:docMk/>
            <pc:sldMk cId="722401933" sldId="374"/>
            <ac:spMk id="58" creationId="{3D6611C9-7137-4F74-D578-E13EA2905503}"/>
          </ac:spMkLst>
        </pc:spChg>
        <pc:spChg chg="add mod">
          <ac:chgData name="Roy Chowdhury, Ritwik" userId="bfb84a7f-f393-43f0-840f-80c362df9247" providerId="ADAL" clId="{D98D1D94-E5EF-4A5F-8B22-D2A92A3A93DC}" dt="2023-11-06T22:20:30.498" v="6196" actId="20577"/>
          <ac:spMkLst>
            <pc:docMk/>
            <pc:sldMk cId="722401933" sldId="374"/>
            <ac:spMk id="60" creationId="{8AFC1279-FC81-A2EF-7A77-173CBFB4AC94}"/>
          </ac:spMkLst>
        </pc:spChg>
        <pc:spChg chg="add mod">
          <ac:chgData name="Roy Chowdhury, Ritwik" userId="bfb84a7f-f393-43f0-840f-80c362df9247" providerId="ADAL" clId="{D98D1D94-E5EF-4A5F-8B22-D2A92A3A93DC}" dt="2023-11-05T19:22:19.037" v="4529" actId="1076"/>
          <ac:spMkLst>
            <pc:docMk/>
            <pc:sldMk cId="722401933" sldId="374"/>
            <ac:spMk id="62" creationId="{F8A08B79-B0D1-0BEF-D8A7-D563D5DF3611}"/>
          </ac:spMkLst>
        </pc:spChg>
        <pc:spChg chg="add mod">
          <ac:chgData name="Roy Chowdhury, Ritwik" userId="bfb84a7f-f393-43f0-840f-80c362df9247" providerId="ADAL" clId="{D98D1D94-E5EF-4A5F-8B22-D2A92A3A93DC}" dt="2023-11-05T19:22:46.880" v="4534" actId="1076"/>
          <ac:spMkLst>
            <pc:docMk/>
            <pc:sldMk cId="722401933" sldId="374"/>
            <ac:spMk id="64" creationId="{240F5CAC-B813-2E0A-E947-B870ED8926FA}"/>
          </ac:spMkLst>
        </pc:spChg>
        <pc:grpChg chg="add mod">
          <ac:chgData name="Roy Chowdhury, Ritwik" userId="bfb84a7f-f393-43f0-840f-80c362df9247" providerId="ADAL" clId="{D98D1D94-E5EF-4A5F-8B22-D2A92A3A93DC}" dt="2023-11-05T19:22:34.122" v="4532" actId="403"/>
          <ac:grpSpMkLst>
            <pc:docMk/>
            <pc:sldMk cId="722401933" sldId="374"/>
            <ac:grpSpMk id="2" creationId="{040C57D8-9104-5504-1BFD-C4905C59FCA0}"/>
          </ac:grpSpMkLst>
        </pc:grpChg>
        <pc:grpChg chg="del mod">
          <ac:chgData name="Roy Chowdhury, Ritwik" userId="bfb84a7f-f393-43f0-840f-80c362df9247" providerId="ADAL" clId="{D98D1D94-E5EF-4A5F-8B22-D2A92A3A93DC}" dt="2023-11-05T19:10:21.524" v="4398" actId="478"/>
          <ac:grpSpMkLst>
            <pc:docMk/>
            <pc:sldMk cId="722401933" sldId="374"/>
            <ac:grpSpMk id="7" creationId="{8CC491D3-DE7C-5A9C-9D1D-6F04098683F7}"/>
          </ac:grpSpMkLst>
        </pc:grpChg>
        <pc:grpChg chg="add mod">
          <ac:chgData name="Roy Chowdhury, Ritwik" userId="bfb84a7f-f393-43f0-840f-80c362df9247" providerId="ADAL" clId="{D98D1D94-E5EF-4A5F-8B22-D2A92A3A93DC}" dt="2023-11-05T19:20:38.919" v="4508" actId="1076"/>
          <ac:grpSpMkLst>
            <pc:docMk/>
            <pc:sldMk cId="722401933" sldId="374"/>
            <ac:grpSpMk id="10" creationId="{ABC7AC85-E4FF-AEF1-DE25-90AC246A8226}"/>
          </ac:grpSpMkLst>
        </pc:grpChg>
        <pc:grpChg chg="del mod">
          <ac:chgData name="Roy Chowdhury, Ritwik" userId="bfb84a7f-f393-43f0-840f-80c362df9247" providerId="ADAL" clId="{D98D1D94-E5EF-4A5F-8B22-D2A92A3A93DC}" dt="2023-11-05T19:10:16.758" v="4396" actId="478"/>
          <ac:grpSpMkLst>
            <pc:docMk/>
            <pc:sldMk cId="722401933" sldId="374"/>
            <ac:grpSpMk id="14" creationId="{9744D153-03AD-13C0-2348-C741C333DED5}"/>
          </ac:grpSpMkLst>
        </pc:grpChg>
        <pc:grpChg chg="add mod">
          <ac:chgData name="Roy Chowdhury, Ritwik" userId="bfb84a7f-f393-43f0-840f-80c362df9247" providerId="ADAL" clId="{D98D1D94-E5EF-4A5F-8B22-D2A92A3A93DC}" dt="2023-11-05T19:20:27.638" v="4506" actId="1076"/>
          <ac:grpSpMkLst>
            <pc:docMk/>
            <pc:sldMk cId="722401933" sldId="374"/>
            <ac:grpSpMk id="18" creationId="{C4A5936B-6465-F2DB-F0B0-2B0EB9A02D9F}"/>
          </ac:grpSpMkLst>
        </pc:grpChg>
        <pc:grpChg chg="add mod">
          <ac:chgData name="Roy Chowdhury, Ritwik" userId="bfb84a7f-f393-43f0-840f-80c362df9247" providerId="ADAL" clId="{D98D1D94-E5EF-4A5F-8B22-D2A92A3A93DC}" dt="2023-11-05T19:19:42.143" v="4501" actId="1076"/>
          <ac:grpSpMkLst>
            <pc:docMk/>
            <pc:sldMk cId="722401933" sldId="374"/>
            <ac:grpSpMk id="23" creationId="{4D989F56-9176-DA09-62BD-24445A7971EC}"/>
          </ac:grpSpMkLst>
        </pc:grpChg>
        <pc:grpChg chg="add mod">
          <ac:chgData name="Roy Chowdhury, Ritwik" userId="bfb84a7f-f393-43f0-840f-80c362df9247" providerId="ADAL" clId="{D98D1D94-E5EF-4A5F-8B22-D2A92A3A93DC}" dt="2023-11-05T19:20:00.903" v="4503" actId="1076"/>
          <ac:grpSpMkLst>
            <pc:docMk/>
            <pc:sldMk cId="722401933" sldId="374"/>
            <ac:grpSpMk id="35" creationId="{0CA47C5B-6FF5-EC81-F606-0247BA3DF4EC}"/>
          </ac:grpSpMkLst>
        </pc:grpChg>
        <pc:grpChg chg="del mod">
          <ac:chgData name="Roy Chowdhury, Ritwik" userId="bfb84a7f-f393-43f0-840f-80c362df9247" providerId="ADAL" clId="{D98D1D94-E5EF-4A5F-8B22-D2A92A3A93DC}" dt="2023-11-05T19:08:32.846" v="4379" actId="478"/>
          <ac:grpSpMkLst>
            <pc:docMk/>
            <pc:sldMk cId="722401933" sldId="374"/>
            <ac:grpSpMk id="57" creationId="{0A4826A1-CE9E-6FB8-DBD1-935DF07DA336}"/>
          </ac:grpSpMkLst>
        </pc:grpChg>
        <pc:grpChg chg="add mod">
          <ac:chgData name="Roy Chowdhury, Ritwik" userId="bfb84a7f-f393-43f0-840f-80c362df9247" providerId="ADAL" clId="{D98D1D94-E5EF-4A5F-8B22-D2A92A3A93DC}" dt="2023-11-05T19:19:42.143" v="4501" actId="1076"/>
          <ac:grpSpMkLst>
            <pc:docMk/>
            <pc:sldMk cId="722401933" sldId="374"/>
            <ac:grpSpMk id="65" creationId="{71773671-658F-163A-09E4-56246FFB729C}"/>
          </ac:grpSpMkLst>
        </pc:grpChg>
        <pc:grpChg chg="add mod">
          <ac:chgData name="Roy Chowdhury, Ritwik" userId="bfb84a7f-f393-43f0-840f-80c362df9247" providerId="ADAL" clId="{D98D1D94-E5EF-4A5F-8B22-D2A92A3A93DC}" dt="2023-11-05T19:20:00.903" v="4503" actId="1076"/>
          <ac:grpSpMkLst>
            <pc:docMk/>
            <pc:sldMk cId="722401933" sldId="374"/>
            <ac:grpSpMk id="66" creationId="{6651E5E9-ADE8-91CF-34EF-01C4453D8AA3}"/>
          </ac:grpSpMkLst>
        </pc:grpChg>
        <pc:grpChg chg="add mod">
          <ac:chgData name="Roy Chowdhury, Ritwik" userId="bfb84a7f-f393-43f0-840f-80c362df9247" providerId="ADAL" clId="{D98D1D94-E5EF-4A5F-8B22-D2A92A3A93DC}" dt="2023-11-05T19:20:27.638" v="4506" actId="1076"/>
          <ac:grpSpMkLst>
            <pc:docMk/>
            <pc:sldMk cId="722401933" sldId="374"/>
            <ac:grpSpMk id="67" creationId="{846DEF44-6B33-43E6-720B-DADAC5A1DC1B}"/>
          </ac:grpSpMkLst>
        </pc:grpChg>
        <pc:grpChg chg="add mod">
          <ac:chgData name="Roy Chowdhury, Ritwik" userId="bfb84a7f-f393-43f0-840f-80c362df9247" providerId="ADAL" clId="{D98D1D94-E5EF-4A5F-8B22-D2A92A3A93DC}" dt="2023-11-05T19:20:38.919" v="4508" actId="1076"/>
          <ac:grpSpMkLst>
            <pc:docMk/>
            <pc:sldMk cId="722401933" sldId="374"/>
            <ac:grpSpMk id="68" creationId="{5C56DA33-EE1D-A36C-9139-88BD5E83145A}"/>
          </ac:grpSpMkLst>
        </pc:grpChg>
        <pc:grpChg chg="add mod">
          <ac:chgData name="Roy Chowdhury, Ritwik" userId="bfb84a7f-f393-43f0-840f-80c362df9247" providerId="ADAL" clId="{D98D1D94-E5EF-4A5F-8B22-D2A92A3A93DC}" dt="2023-11-05T19:22:34.122" v="4532" actId="403"/>
          <ac:grpSpMkLst>
            <pc:docMk/>
            <pc:sldMk cId="722401933" sldId="374"/>
            <ac:grpSpMk id="69" creationId="{01EE5CAF-18FC-538F-89C3-21C185D14538}"/>
          </ac:grpSpMkLst>
        </pc:grpChg>
        <pc:picChg chg="add mod">
          <ac:chgData name="Roy Chowdhury, Ritwik" userId="bfb84a7f-f393-43f0-840f-80c362df9247" providerId="ADAL" clId="{D98D1D94-E5EF-4A5F-8B22-D2A92A3A93DC}" dt="2023-11-05T19:19:42.143" v="4501" actId="1076"/>
          <ac:picMkLst>
            <pc:docMk/>
            <pc:sldMk cId="722401933" sldId="374"/>
            <ac:picMk id="47" creationId="{AC8230B7-3F69-5750-B85F-BF916081CEAE}"/>
          </ac:picMkLst>
        </pc:picChg>
        <pc:picChg chg="add mod">
          <ac:chgData name="Roy Chowdhury, Ritwik" userId="bfb84a7f-f393-43f0-840f-80c362df9247" providerId="ADAL" clId="{D98D1D94-E5EF-4A5F-8B22-D2A92A3A93DC}" dt="2023-11-05T19:20:00.903" v="4503" actId="1076"/>
          <ac:picMkLst>
            <pc:docMk/>
            <pc:sldMk cId="722401933" sldId="374"/>
            <ac:picMk id="53" creationId="{4F874FBE-7F09-47A8-DDB4-CB6A03869096}"/>
          </ac:picMkLst>
        </pc:picChg>
        <pc:picChg chg="add mod">
          <ac:chgData name="Roy Chowdhury, Ritwik" userId="bfb84a7f-f393-43f0-840f-80c362df9247" providerId="ADAL" clId="{D98D1D94-E5EF-4A5F-8B22-D2A92A3A93DC}" dt="2023-11-05T19:20:27.638" v="4506" actId="1076"/>
          <ac:picMkLst>
            <pc:docMk/>
            <pc:sldMk cId="722401933" sldId="374"/>
            <ac:picMk id="59" creationId="{C5F88D00-420C-04E8-BE84-DF1E57A5DB84}"/>
          </ac:picMkLst>
        </pc:picChg>
        <pc:picChg chg="add mod">
          <ac:chgData name="Roy Chowdhury, Ritwik" userId="bfb84a7f-f393-43f0-840f-80c362df9247" providerId="ADAL" clId="{D98D1D94-E5EF-4A5F-8B22-D2A92A3A93DC}" dt="2023-11-05T19:20:38.919" v="4508" actId="1076"/>
          <ac:picMkLst>
            <pc:docMk/>
            <pc:sldMk cId="722401933" sldId="374"/>
            <ac:picMk id="61" creationId="{61263078-B482-5C0B-0696-EE1A2730563C}"/>
          </ac:picMkLst>
        </pc:picChg>
        <pc:picChg chg="add mod">
          <ac:chgData name="Roy Chowdhury, Ritwik" userId="bfb84a7f-f393-43f0-840f-80c362df9247" providerId="ADAL" clId="{D98D1D94-E5EF-4A5F-8B22-D2A92A3A93DC}" dt="2023-11-05T19:22:34.122" v="4532" actId="403"/>
          <ac:picMkLst>
            <pc:docMk/>
            <pc:sldMk cId="722401933" sldId="374"/>
            <ac:picMk id="63" creationId="{1398FA72-7629-4242-8DE7-0C8C44CD8CC2}"/>
          </ac:picMkLst>
        </pc:picChg>
      </pc:sldChg>
      <pc:sldChg chg="addSp delSp modSp mod modClrScheme delAnim modAnim chgLayout modNotesTx">
        <pc:chgData name="Roy Chowdhury, Ritwik" userId="bfb84a7f-f393-43f0-840f-80c362df9247" providerId="ADAL" clId="{D98D1D94-E5EF-4A5F-8B22-D2A92A3A93DC}" dt="2023-11-08T22:27:50.745" v="12468" actId="20577"/>
        <pc:sldMkLst>
          <pc:docMk/>
          <pc:sldMk cId="4242406866" sldId="375"/>
        </pc:sldMkLst>
        <pc:spChg chg="del mod ord">
          <ac:chgData name="Roy Chowdhury, Ritwik" userId="bfb84a7f-f393-43f0-840f-80c362df9247" providerId="ADAL" clId="{D98D1D94-E5EF-4A5F-8B22-D2A92A3A93DC}" dt="2023-11-05T19:51:21.161" v="4570" actId="478"/>
          <ac:spMkLst>
            <pc:docMk/>
            <pc:sldMk cId="4242406866" sldId="375"/>
            <ac:spMk id="2" creationId="{00000000-0000-0000-0000-000000000000}"/>
          </ac:spMkLst>
        </pc:spChg>
        <pc:spChg chg="del mod ord">
          <ac:chgData name="Roy Chowdhury, Ritwik" userId="bfb84a7f-f393-43f0-840f-80c362df9247" providerId="ADAL" clId="{D98D1D94-E5EF-4A5F-8B22-D2A92A3A93DC}" dt="2023-11-05T19:51:36.865" v="4574" actId="478"/>
          <ac:spMkLst>
            <pc:docMk/>
            <pc:sldMk cId="4242406866" sldId="375"/>
            <ac:spMk id="3" creationId="{00000000-0000-0000-0000-000000000000}"/>
          </ac:spMkLst>
        </pc:spChg>
        <pc:spChg chg="del mod ord">
          <ac:chgData name="Roy Chowdhury, Ritwik" userId="bfb84a7f-f393-43f0-840f-80c362df9247" providerId="ADAL" clId="{D98D1D94-E5EF-4A5F-8B22-D2A92A3A93DC}" dt="2023-11-05T19:51:19.724" v="4569" actId="478"/>
          <ac:spMkLst>
            <pc:docMk/>
            <pc:sldMk cId="4242406866" sldId="375"/>
            <ac:spMk id="4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20:26.971" v="4922"/>
          <ac:spMkLst>
            <pc:docMk/>
            <pc:sldMk cId="4242406866" sldId="375"/>
            <ac:spMk id="6" creationId="{00000000-0000-0000-0000-000000000000}"/>
          </ac:spMkLst>
        </pc:spChg>
        <pc:spChg chg="add mod">
          <ac:chgData name="Roy Chowdhury, Ritwik" userId="bfb84a7f-f393-43f0-840f-80c362df9247" providerId="ADAL" clId="{D98D1D94-E5EF-4A5F-8B22-D2A92A3A93DC}" dt="2023-11-07T22:45:46.225" v="8665" actId="20577"/>
          <ac:spMkLst>
            <pc:docMk/>
            <pc:sldMk cId="4242406866" sldId="375"/>
            <ac:spMk id="6" creationId="{E313A027-7124-2A57-C842-9C00F4AF4F5C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7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0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1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2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3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4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5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6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7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8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19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0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1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2" creationId="{00000000-0000-0000-0000-000000000000}"/>
          </ac:spMkLst>
        </pc:spChg>
        <pc:spChg chg="add del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3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4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5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6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7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8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29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30" creationId="{00000000-0000-0000-0000-000000000000}"/>
          </ac:spMkLst>
        </pc:spChg>
        <pc:spChg chg="add mod">
          <ac:chgData name="Roy Chowdhury, Ritwik" userId="bfb84a7f-f393-43f0-840f-80c362df9247" providerId="ADAL" clId="{D98D1D94-E5EF-4A5F-8B22-D2A92A3A93DC}" dt="2023-11-08T06:22:47.603" v="11982" actId="120"/>
          <ac:spMkLst>
            <pc:docMk/>
            <pc:sldMk cId="4242406866" sldId="375"/>
            <ac:spMk id="31" creationId="{CF342439-28D6-2B04-293F-195E3E017756}"/>
          </ac:spMkLst>
        </pc:spChg>
        <pc:spChg chg="del topLvl">
          <ac:chgData name="Roy Chowdhury, Ritwik" userId="bfb84a7f-f393-43f0-840f-80c362df9247" providerId="ADAL" clId="{D98D1D94-E5EF-4A5F-8B22-D2A92A3A93DC}" dt="2023-11-05T19:56:31.225" v="4614" actId="478"/>
          <ac:spMkLst>
            <pc:docMk/>
            <pc:sldMk cId="4242406866" sldId="375"/>
            <ac:spMk id="40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1:15.542" v="4657" actId="478"/>
          <ac:spMkLst>
            <pc:docMk/>
            <pc:sldMk cId="4242406866" sldId="375"/>
            <ac:spMk id="42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1:11.204" v="4655" actId="478"/>
          <ac:spMkLst>
            <pc:docMk/>
            <pc:sldMk cId="4242406866" sldId="375"/>
            <ac:spMk id="43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1:13.855" v="4656" actId="478"/>
          <ac:spMkLst>
            <pc:docMk/>
            <pc:sldMk cId="4242406866" sldId="375"/>
            <ac:spMk id="44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1:16.700" v="4658" actId="478"/>
          <ac:spMkLst>
            <pc:docMk/>
            <pc:sldMk cId="4242406866" sldId="375"/>
            <ac:spMk id="45" creationId="{00000000-0000-0000-0000-000000000000}"/>
          </ac:spMkLst>
        </pc:spChg>
        <pc:spChg chg="del mod topLvl">
          <ac:chgData name="Roy Chowdhury, Ritwik" userId="bfb84a7f-f393-43f0-840f-80c362df9247" providerId="ADAL" clId="{D98D1D94-E5EF-4A5F-8B22-D2A92A3A93DC}" dt="2023-11-05T19:55:49.676" v="4604" actId="478"/>
          <ac:spMkLst>
            <pc:docMk/>
            <pc:sldMk cId="4242406866" sldId="375"/>
            <ac:spMk id="46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6:00.073" v="4686" actId="478"/>
          <ac:spMkLst>
            <pc:docMk/>
            <pc:sldMk cId="4242406866" sldId="375"/>
            <ac:spMk id="48" creationId="{00000000-0000-0000-0000-000000000000}"/>
          </ac:spMkLst>
        </pc:spChg>
        <pc:spChg chg="add del mod">
          <ac:chgData name="Roy Chowdhury, Ritwik" userId="bfb84a7f-f393-43f0-840f-80c362df9247" providerId="ADAL" clId="{D98D1D94-E5EF-4A5F-8B22-D2A92A3A93DC}" dt="2023-11-05T20:05:56.865" v="4683" actId="478"/>
          <ac:spMkLst>
            <pc:docMk/>
            <pc:sldMk cId="4242406866" sldId="375"/>
            <ac:spMk id="49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5:58.905" v="4685" actId="478"/>
          <ac:spMkLst>
            <pc:docMk/>
            <pc:sldMk cId="4242406866" sldId="375"/>
            <ac:spMk id="50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5:57.937" v="4684" actId="478"/>
          <ac:spMkLst>
            <pc:docMk/>
            <pc:sldMk cId="4242406866" sldId="375"/>
            <ac:spMk id="51" creationId="{00000000-0000-0000-0000-000000000000}"/>
          </ac:spMkLst>
        </pc:spChg>
        <pc:spChg chg="del">
          <ac:chgData name="Roy Chowdhury, Ritwik" userId="bfb84a7f-f393-43f0-840f-80c362df9247" providerId="ADAL" clId="{D98D1D94-E5EF-4A5F-8B22-D2A92A3A93DC}" dt="2023-11-05T20:02:41.538" v="4664" actId="478"/>
          <ac:spMkLst>
            <pc:docMk/>
            <pc:sldMk cId="4242406866" sldId="375"/>
            <ac:spMk id="53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2:44.026" v="4665" actId="478"/>
          <ac:spMkLst>
            <pc:docMk/>
            <pc:sldMk cId="4242406866" sldId="375"/>
            <ac:spMk id="54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2:45.365" v="4666" actId="478"/>
          <ac:spMkLst>
            <pc:docMk/>
            <pc:sldMk cId="4242406866" sldId="375"/>
            <ac:spMk id="55" creationId="{00000000-0000-0000-0000-000000000000}"/>
          </ac:spMkLst>
        </pc:spChg>
        <pc:spChg chg="del mod">
          <ac:chgData name="Roy Chowdhury, Ritwik" userId="bfb84a7f-f393-43f0-840f-80c362df9247" providerId="ADAL" clId="{D98D1D94-E5EF-4A5F-8B22-D2A92A3A93DC}" dt="2023-11-05T20:02:46.526" v="4667" actId="478"/>
          <ac:spMkLst>
            <pc:docMk/>
            <pc:sldMk cId="4242406866" sldId="375"/>
            <ac:spMk id="56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59" creationId="{91162369-4ECF-3B38-29F3-3AD8EAE4AF09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0" creationId="{2FA9D259-A0EE-7BF7-4109-F3B6B908888B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1" creationId="{DCCC0DB3-ECAB-73C6-2DCF-CFF647052BFB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2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3" creationId="{A094B206-B933-F367-56E4-755281DEFBD8}"/>
          </ac:spMkLst>
        </pc:spChg>
        <pc:spChg chg="del mod">
          <ac:chgData name="Roy Chowdhury, Ritwik" userId="bfb84a7f-f393-43f0-840f-80c362df9247" providerId="ADAL" clId="{D98D1D94-E5EF-4A5F-8B22-D2A92A3A93DC}" dt="2023-11-05T19:52:11.336" v="4586" actId="478"/>
          <ac:spMkLst>
            <pc:docMk/>
            <pc:sldMk cId="4242406866" sldId="375"/>
            <ac:spMk id="64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7T22:45:50.105" v="8667" actId="20577"/>
          <ac:spMkLst>
            <pc:docMk/>
            <pc:sldMk cId="4242406866" sldId="375"/>
            <ac:spMk id="65" creationId="{00000000-0000-0000-0000-000000000000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6" creationId="{B2D48AE7-3679-CB65-FF3F-1EE5035F1858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7" creationId="{588D5528-2FFC-1837-DE61-12A61AED1218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8" creationId="{82B8543D-24E9-B4E7-E27C-79B10DB0D160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69" creationId="{3882DD11-D029-1732-580C-CA5B55B49BFA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70" creationId="{22DC0562-2A2E-C831-FE83-5527672676A1}"/>
          </ac:spMkLst>
        </pc:spChg>
        <pc:spChg chg="mod">
          <ac:chgData name="Roy Chowdhury, Ritwik" userId="bfb84a7f-f393-43f0-840f-80c362df9247" providerId="ADAL" clId="{D98D1D94-E5EF-4A5F-8B22-D2A92A3A93DC}" dt="2023-11-05T20:16:09.228" v="4885" actId="1076"/>
          <ac:spMkLst>
            <pc:docMk/>
            <pc:sldMk cId="4242406866" sldId="375"/>
            <ac:spMk id="71" creationId="{D6D8CC5D-C65E-67E6-A7B1-11E05FA1402F}"/>
          </ac:spMkLst>
        </pc:spChg>
        <pc:spChg chg="del">
          <ac:chgData name="Roy Chowdhury, Ritwik" userId="bfb84a7f-f393-43f0-840f-80c362df9247" providerId="ADAL" clId="{D98D1D94-E5EF-4A5F-8B22-D2A92A3A93DC}" dt="2023-11-05T19:54:55.879" v="4599" actId="478"/>
          <ac:spMkLst>
            <pc:docMk/>
            <pc:sldMk cId="4242406866" sldId="375"/>
            <ac:spMk id="83" creationId="{00000000-0000-0000-0000-000000000000}"/>
          </ac:spMkLst>
        </pc:spChg>
        <pc:spChg chg="add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2" creationId="{85ADDC03-0249-4716-8E6C-3239942F6AB0}"/>
          </ac:spMkLst>
        </pc:spChg>
        <pc:spChg chg="add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3" creationId="{3164F2F0-B672-D0C1-0CA6-835B8FAC7BE2}"/>
          </ac:spMkLst>
        </pc:spChg>
        <pc:spChg chg="add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4" creationId="{EA23BF5C-3046-C995-A82D-C4A3EB5129E0}"/>
          </ac:spMkLst>
        </pc:spChg>
        <pc:spChg chg="add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5" creationId="{EBC77BBF-0397-EAC0-4ACB-CCC0EBC8B2AF}"/>
          </ac:spMkLst>
        </pc:spChg>
        <pc:spChg chg="add 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6" creationId="{F9724923-E93D-3D54-5493-7472CFCAC2C1}"/>
          </ac:spMkLst>
        </pc:spChg>
        <pc:spChg chg="add del mod">
          <ac:chgData name="Roy Chowdhury, Ritwik" userId="bfb84a7f-f393-43f0-840f-80c362df9247" providerId="ADAL" clId="{D98D1D94-E5EF-4A5F-8B22-D2A92A3A93DC}" dt="2023-11-05T20:20:26.971" v="4922"/>
          <ac:spMkLst>
            <pc:docMk/>
            <pc:sldMk cId="4242406866" sldId="375"/>
            <ac:spMk id="98" creationId="{39C02BBD-F38E-881C-EBFE-F1B1A3AAA15F}"/>
          </ac:spMkLst>
        </pc:spChg>
        <pc:spChg chg="mod">
          <ac:chgData name="Roy Chowdhury, Ritwik" userId="bfb84a7f-f393-43f0-840f-80c362df9247" providerId="ADAL" clId="{D98D1D94-E5EF-4A5F-8B22-D2A92A3A93DC}" dt="2023-11-06T22:03:30.622" v="6161" actId="1076"/>
          <ac:spMkLst>
            <pc:docMk/>
            <pc:sldMk cId="4242406866" sldId="375"/>
            <ac:spMk id="99" creationId="{98CCF092-B105-2151-4763-8583AF20202C}"/>
          </ac:spMkLst>
        </pc:spChg>
        <pc:spChg chg="add del mod">
          <ac:chgData name="Roy Chowdhury, Ritwik" userId="bfb84a7f-f393-43f0-840f-80c362df9247" providerId="ADAL" clId="{D98D1D94-E5EF-4A5F-8B22-D2A92A3A93DC}" dt="2023-11-05T21:06:32.609" v="4955"/>
          <ac:spMkLst>
            <pc:docMk/>
            <pc:sldMk cId="4242406866" sldId="375"/>
            <ac:spMk id="101" creationId="{ACEB9132-5AB7-C556-7C79-28C2FC121BF7}"/>
          </ac:spMkLst>
        </pc:spChg>
        <pc:grpChg chg="add del mod">
          <ac:chgData name="Roy Chowdhury, Ritwik" userId="bfb84a7f-f393-43f0-840f-80c362df9247" providerId="ADAL" clId="{D98D1D94-E5EF-4A5F-8B22-D2A92A3A93DC}" dt="2023-11-06T22:02:46.293" v="6153" actId="164"/>
          <ac:grpSpMkLst>
            <pc:docMk/>
            <pc:sldMk cId="4242406866" sldId="375"/>
            <ac:grpSpMk id="2" creationId="{8DAEA0C7-4D93-653F-ACF9-A02D44C41110}"/>
          </ac:grpSpMkLst>
        </pc:grpChg>
        <pc:grpChg chg="add mod">
          <ac:chgData name="Roy Chowdhury, Ritwik" userId="bfb84a7f-f393-43f0-840f-80c362df9247" providerId="ADAL" clId="{D98D1D94-E5EF-4A5F-8B22-D2A92A3A93DC}" dt="2023-11-06T22:03:01.237" v="6155" actId="164"/>
          <ac:grpSpMkLst>
            <pc:docMk/>
            <pc:sldMk cId="4242406866" sldId="375"/>
            <ac:grpSpMk id="3" creationId="{20AB1046-2DD6-DF53-88EA-1CBAFC24C7F3}"/>
          </ac:grpSpMkLst>
        </pc:grpChg>
        <pc:grpChg chg="add mod">
          <ac:chgData name="Roy Chowdhury, Ritwik" userId="bfb84a7f-f393-43f0-840f-80c362df9247" providerId="ADAL" clId="{D98D1D94-E5EF-4A5F-8B22-D2A92A3A93DC}" dt="2023-11-06T22:03:16.593" v="6159" actId="164"/>
          <ac:grpSpMkLst>
            <pc:docMk/>
            <pc:sldMk cId="4242406866" sldId="375"/>
            <ac:grpSpMk id="4" creationId="{D689087C-2A25-0877-0CA0-0CA49D6B6612}"/>
          </ac:grpSpMkLst>
        </pc:grpChg>
        <pc:grpChg chg="del mod">
          <ac:chgData name="Roy Chowdhury, Ritwik" userId="bfb84a7f-f393-43f0-840f-80c362df9247" providerId="ADAL" clId="{D98D1D94-E5EF-4A5F-8B22-D2A92A3A93DC}" dt="2023-11-05T19:55:49.676" v="4604" actId="478"/>
          <ac:grpSpMkLst>
            <pc:docMk/>
            <pc:sldMk cId="4242406866" sldId="375"/>
            <ac:grpSpMk id="5" creationId="{00000000-0000-0000-0000-000000000000}"/>
          </ac:grpSpMkLst>
        </pc:grpChg>
        <pc:grpChg chg="add mod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5" creationId="{33F55C44-5143-5B68-91D1-0CF2EB1E4525}"/>
          </ac:grpSpMkLst>
        </pc:grpChg>
        <pc:grpChg chg="del">
          <ac:chgData name="Roy Chowdhury, Ritwik" userId="bfb84a7f-f393-43f0-840f-80c362df9247" providerId="ADAL" clId="{D98D1D94-E5EF-4A5F-8B22-D2A92A3A93DC}" dt="2023-11-05T19:56:31.225" v="4614" actId="478"/>
          <ac:grpSpMkLst>
            <pc:docMk/>
            <pc:sldMk cId="4242406866" sldId="375"/>
            <ac:grpSpMk id="8" creationId="{00000000-0000-0000-0000-000000000000}"/>
          </ac:grpSpMkLst>
        </pc:grpChg>
        <pc:grpChg chg="mod topLvl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32" creationId="{00000000-0000-0000-0000-000000000000}"/>
          </ac:grpSpMkLst>
        </pc:grpChg>
        <pc:grpChg chg="mod topLvl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33" creationId="{00000000-0000-0000-0000-000000000000}"/>
          </ac:grpSpMkLst>
        </pc:grpChg>
        <pc:grpChg chg="mod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34" creationId="{00000000-0000-0000-0000-000000000000}"/>
          </ac:grpSpMkLst>
        </pc:grpChg>
        <pc:grpChg chg="mod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35" creationId="{00000000-0000-0000-0000-000000000000}"/>
          </ac:grpSpMkLst>
        </pc:grpChg>
        <pc:grpChg chg="mod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36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6:00.073" v="4686" actId="478"/>
          <ac:grpSpMkLst>
            <pc:docMk/>
            <pc:sldMk cId="4242406866" sldId="375"/>
            <ac:grpSpMk id="37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1:16.700" v="4658" actId="478"/>
          <ac:grpSpMkLst>
            <pc:docMk/>
            <pc:sldMk cId="4242406866" sldId="375"/>
            <ac:grpSpMk id="38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2:46.526" v="4667" actId="478"/>
          <ac:grpSpMkLst>
            <pc:docMk/>
            <pc:sldMk cId="4242406866" sldId="375"/>
            <ac:grpSpMk id="39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1:15.542" v="4657" actId="478"/>
          <ac:grpSpMkLst>
            <pc:docMk/>
            <pc:sldMk cId="4242406866" sldId="375"/>
            <ac:grpSpMk id="41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5:58.905" v="4685" actId="478"/>
          <ac:grpSpMkLst>
            <pc:docMk/>
            <pc:sldMk cId="4242406866" sldId="375"/>
            <ac:grpSpMk id="47" creationId="{00000000-0000-0000-0000-000000000000}"/>
          </ac:grpSpMkLst>
        </pc:grpChg>
        <pc:grpChg chg="del mod">
          <ac:chgData name="Roy Chowdhury, Ritwik" userId="bfb84a7f-f393-43f0-840f-80c362df9247" providerId="ADAL" clId="{D98D1D94-E5EF-4A5F-8B22-D2A92A3A93DC}" dt="2023-11-05T20:02:45.365" v="4666" actId="478"/>
          <ac:grpSpMkLst>
            <pc:docMk/>
            <pc:sldMk cId="4242406866" sldId="375"/>
            <ac:grpSpMk id="52" creationId="{00000000-0000-0000-0000-000000000000}"/>
          </ac:grpSpMkLst>
        </pc:grpChg>
        <pc:grpChg chg="add mod">
          <ac:chgData name="Roy Chowdhury, Ritwik" userId="bfb84a7f-f393-43f0-840f-80c362df9247" providerId="ADAL" clId="{D98D1D94-E5EF-4A5F-8B22-D2A92A3A93DC}" dt="2023-11-05T20:16:09.228" v="4885" actId="1076"/>
          <ac:grpSpMkLst>
            <pc:docMk/>
            <pc:sldMk cId="4242406866" sldId="375"/>
            <ac:grpSpMk id="57" creationId="{A4EB5F27-0F9F-30FA-1027-07590689C5A1}"/>
          </ac:grpSpMkLst>
        </pc:grpChg>
        <pc:grpChg chg="add mod">
          <ac:chgData name="Roy Chowdhury, Ritwik" userId="bfb84a7f-f393-43f0-840f-80c362df9247" providerId="ADAL" clId="{D98D1D94-E5EF-4A5F-8B22-D2A92A3A93DC}" dt="2023-11-05T20:16:09.228" v="4885" actId="1076"/>
          <ac:grpSpMkLst>
            <pc:docMk/>
            <pc:sldMk cId="4242406866" sldId="375"/>
            <ac:grpSpMk id="58" creationId="{DFE65B42-AC5A-62E8-3F1D-95AC5C583C53}"/>
          </ac:grpSpMkLst>
        </pc:grpChg>
        <pc:grpChg chg="add mod">
          <ac:chgData name="Roy Chowdhury, Ritwik" userId="bfb84a7f-f393-43f0-840f-80c362df9247" providerId="ADAL" clId="{D98D1D94-E5EF-4A5F-8B22-D2A92A3A93DC}" dt="2023-11-05T20:16:09.228" v="4885" actId="1076"/>
          <ac:grpSpMkLst>
            <pc:docMk/>
            <pc:sldMk cId="4242406866" sldId="375"/>
            <ac:grpSpMk id="97" creationId="{FCA59D18-6B69-A731-B52F-759461C9B6D8}"/>
          </ac:grpSpMkLst>
        </pc:grpChg>
        <pc:grpChg chg="add mod">
          <ac:chgData name="Roy Chowdhury, Ritwik" userId="bfb84a7f-f393-43f0-840f-80c362df9247" providerId="ADAL" clId="{D98D1D94-E5EF-4A5F-8B22-D2A92A3A93DC}" dt="2023-11-06T22:03:30.622" v="6161" actId="1076"/>
          <ac:grpSpMkLst>
            <pc:docMk/>
            <pc:sldMk cId="4242406866" sldId="375"/>
            <ac:grpSpMk id="100" creationId="{5B195DCD-9388-2CCC-13C2-A21940096716}"/>
          </ac:grpSpMkLst>
        </pc:grpChg>
        <pc:graphicFrameChg chg="del">
          <ac:chgData name="Roy Chowdhury, Ritwik" userId="bfb84a7f-f393-43f0-840f-80c362df9247" providerId="ADAL" clId="{D98D1D94-E5EF-4A5F-8B22-D2A92A3A93DC}" dt="2023-11-05T19:54:54.041" v="4598" actId="478"/>
          <ac:graphicFrameMkLst>
            <pc:docMk/>
            <pc:sldMk cId="4242406866" sldId="375"/>
            <ac:graphicFrameMk id="82" creationId="{00000000-0000-0000-0000-000000000000}"/>
          </ac:graphicFrameMkLst>
        </pc:graphicFrameChg>
        <pc:picChg chg="add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73" creationId="{E2587364-05B4-6D36-FA2C-C20B9ECB7925}"/>
          </ac:picMkLst>
        </pc:picChg>
        <pc:picChg chg="add del mod">
          <ac:chgData name="Roy Chowdhury, Ritwik" userId="bfb84a7f-f393-43f0-840f-80c362df9247" providerId="ADAL" clId="{D98D1D94-E5EF-4A5F-8B22-D2A92A3A93DC}" dt="2023-11-05T19:59:58.134" v="4642" actId="478"/>
          <ac:picMkLst>
            <pc:docMk/>
            <pc:sldMk cId="4242406866" sldId="375"/>
            <ac:picMk id="75" creationId="{285EBFC5-ADF2-9C6C-EC6D-2ECBAF77F087}"/>
          </ac:picMkLst>
        </pc:picChg>
        <pc:picChg chg="add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77" creationId="{F8091E5C-CD73-9563-9692-141B9B66165B}"/>
          </ac:picMkLst>
        </pc:picChg>
        <pc:picChg chg="add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79" creationId="{186FA772-F5BF-457B-7D4F-29B537ED7AA7}"/>
          </ac:picMkLst>
        </pc:picChg>
        <pc:picChg chg="add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81" creationId="{DA7E71FB-77A7-F430-250C-695EF7112742}"/>
          </ac:picMkLst>
        </pc:picChg>
        <pc:picChg chg="add del mod">
          <ac:chgData name="Roy Chowdhury, Ritwik" userId="bfb84a7f-f393-43f0-840f-80c362df9247" providerId="ADAL" clId="{D98D1D94-E5EF-4A5F-8B22-D2A92A3A93DC}" dt="2023-11-05T20:07:51.956" v="4694" actId="478"/>
          <ac:picMkLst>
            <pc:docMk/>
            <pc:sldMk cId="4242406866" sldId="375"/>
            <ac:picMk id="85" creationId="{46B7A40A-4BB3-FFEE-3033-69F153CC44A4}"/>
          </ac:picMkLst>
        </pc:picChg>
        <pc:picChg chg="add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87" creationId="{0403B330-657A-CB51-5B48-43EBF186A586}"/>
          </ac:picMkLst>
        </pc:picChg>
        <pc:picChg chg="add del mod">
          <ac:chgData name="Roy Chowdhury, Ritwik" userId="bfb84a7f-f393-43f0-840f-80c362df9247" providerId="ADAL" clId="{D98D1D94-E5EF-4A5F-8B22-D2A92A3A93DC}" dt="2023-11-05T20:07:49.974" v="4693" actId="478"/>
          <ac:picMkLst>
            <pc:docMk/>
            <pc:sldMk cId="4242406866" sldId="375"/>
            <ac:picMk id="89" creationId="{8762D75F-7870-71FB-BD8B-D7F3642CBE59}"/>
          </ac:picMkLst>
        </pc:picChg>
        <pc:picChg chg="add del mod">
          <ac:chgData name="Roy Chowdhury, Ritwik" userId="bfb84a7f-f393-43f0-840f-80c362df9247" providerId="ADAL" clId="{D98D1D94-E5EF-4A5F-8B22-D2A92A3A93DC}" dt="2023-11-06T22:03:30.622" v="6161" actId="1076"/>
          <ac:picMkLst>
            <pc:docMk/>
            <pc:sldMk cId="4242406866" sldId="375"/>
            <ac:picMk id="91" creationId="{9B949E3C-855F-E0E4-4213-9F65EC61E058}"/>
          </ac:picMkLst>
        </pc:picChg>
      </pc:sldChg>
      <pc:sldChg chg="modSp mod">
        <pc:chgData name="Roy Chowdhury, Ritwik" userId="bfb84a7f-f393-43f0-840f-80c362df9247" providerId="ADAL" clId="{D98D1D94-E5EF-4A5F-8B22-D2A92A3A93DC}" dt="2023-11-07T05:55:10.937" v="6796" actId="20577"/>
        <pc:sldMkLst>
          <pc:docMk/>
          <pc:sldMk cId="2786013774" sldId="379"/>
        </pc:sldMkLst>
        <pc:spChg chg="mod">
          <ac:chgData name="Roy Chowdhury, Ritwik" userId="bfb84a7f-f393-43f0-840f-80c362df9247" providerId="ADAL" clId="{D98D1D94-E5EF-4A5F-8B22-D2A92A3A93DC}" dt="2023-11-07T00:03:23.271" v="6449" actId="122"/>
          <ac:spMkLst>
            <pc:docMk/>
            <pc:sldMk cId="2786013774" sldId="379"/>
            <ac:spMk id="2" creationId="{8CDAE065-02E5-9B13-30C6-6B12ABF9A718}"/>
          </ac:spMkLst>
        </pc:spChg>
        <pc:spChg chg="mod">
          <ac:chgData name="Roy Chowdhury, Ritwik" userId="bfb84a7f-f393-43f0-840f-80c362df9247" providerId="ADAL" clId="{D98D1D94-E5EF-4A5F-8B22-D2A92A3A93DC}" dt="2023-11-07T05:55:10.937" v="6796" actId="20577"/>
          <ac:spMkLst>
            <pc:docMk/>
            <pc:sldMk cId="2786013774" sldId="379"/>
            <ac:spMk id="15" creationId="{64EF9CE9-DE05-2283-086F-8A90C80FB102}"/>
          </ac:spMkLst>
        </pc:spChg>
      </pc:sldChg>
      <pc:sldChg chg="mod modClrScheme chgLayout">
        <pc:chgData name="Roy Chowdhury, Ritwik" userId="bfb84a7f-f393-43f0-840f-80c362df9247" providerId="ADAL" clId="{D98D1D94-E5EF-4A5F-8B22-D2A92A3A93DC}" dt="2023-11-07T00:03:05.499" v="6448" actId="700"/>
        <pc:sldMkLst>
          <pc:docMk/>
          <pc:sldMk cId="3926867436" sldId="388"/>
        </pc:sldMkLst>
      </pc:sldChg>
      <pc:sldChg chg="modNotesTx">
        <pc:chgData name="Roy Chowdhury, Ritwik" userId="bfb84a7f-f393-43f0-840f-80c362df9247" providerId="ADAL" clId="{D98D1D94-E5EF-4A5F-8B22-D2A92A3A93DC}" dt="2023-11-08T22:28:08.596" v="12470" actId="20577"/>
        <pc:sldMkLst>
          <pc:docMk/>
          <pc:sldMk cId="3541548231" sldId="390"/>
        </pc:sldMkLst>
      </pc:sldChg>
      <pc:sldChg chg="addSp delSp modSp add mod modAnim">
        <pc:chgData name="Roy Chowdhury, Ritwik" userId="bfb84a7f-f393-43f0-840f-80c362df9247" providerId="ADAL" clId="{D98D1D94-E5EF-4A5F-8B22-D2A92A3A93DC}" dt="2023-11-07T05:15:19.503" v="6501" actId="1076"/>
        <pc:sldMkLst>
          <pc:docMk/>
          <pc:sldMk cId="1742603404" sldId="391"/>
        </pc:sldMkLst>
        <pc:spChg chg="mod">
          <ac:chgData name="Roy Chowdhury, Ritwik" userId="bfb84a7f-f393-43f0-840f-80c362df9247" providerId="ADAL" clId="{D98D1D94-E5EF-4A5F-8B22-D2A92A3A93DC}" dt="2023-11-06T19:29:09.559" v="5841" actId="20577"/>
          <ac:spMkLst>
            <pc:docMk/>
            <pc:sldMk cId="1742603404" sldId="391"/>
            <ac:spMk id="6" creationId="{8D00B77E-1094-F6A8-A1A3-B7C3F59051E4}"/>
          </ac:spMkLst>
        </pc:spChg>
        <pc:spChg chg="add del mod">
          <ac:chgData name="Roy Chowdhury, Ritwik" userId="bfb84a7f-f393-43f0-840f-80c362df9247" providerId="ADAL" clId="{D98D1D94-E5EF-4A5F-8B22-D2A92A3A93DC}" dt="2023-11-06T19:28:24.525" v="5773"/>
          <ac:spMkLst>
            <pc:docMk/>
            <pc:sldMk cId="1742603404" sldId="391"/>
            <ac:spMk id="8" creationId="{905AF0D2-0F58-FCB0-7786-812102A7DF05}"/>
          </ac:spMkLst>
        </pc:spChg>
        <pc:spChg chg="del topLvl">
          <ac:chgData name="Roy Chowdhury, Ritwik" userId="bfb84a7f-f393-43f0-840f-80c362df9247" providerId="ADAL" clId="{D98D1D94-E5EF-4A5F-8B22-D2A92A3A93DC}" dt="2023-11-06T19:28:31.701" v="5775" actId="478"/>
          <ac:spMkLst>
            <pc:docMk/>
            <pc:sldMk cId="1742603404" sldId="391"/>
            <ac:spMk id="15" creationId="{7A8A87F1-4132-F2BE-B313-98D61A46E1AB}"/>
          </ac:spMkLst>
        </pc:spChg>
        <pc:spChg chg="mod topLvl">
          <ac:chgData name="Roy Chowdhury, Ritwik" userId="bfb84a7f-f393-43f0-840f-80c362df9247" providerId="ADAL" clId="{D98D1D94-E5EF-4A5F-8B22-D2A92A3A93DC}" dt="2023-11-07T05:15:19.503" v="6501" actId="1076"/>
          <ac:spMkLst>
            <pc:docMk/>
            <pc:sldMk cId="1742603404" sldId="391"/>
            <ac:spMk id="35" creationId="{62AA1F35-0C41-EC8B-5746-F73715F357F0}"/>
          </ac:spMkLst>
        </pc:spChg>
        <pc:grpChg chg="mod">
          <ac:chgData name="Roy Chowdhury, Ritwik" userId="bfb84a7f-f393-43f0-840f-80c362df9247" providerId="ADAL" clId="{D98D1D94-E5EF-4A5F-8B22-D2A92A3A93DC}" dt="2023-11-06T19:42:56.049" v="5975" actId="1076"/>
          <ac:grpSpMkLst>
            <pc:docMk/>
            <pc:sldMk cId="1742603404" sldId="391"/>
            <ac:grpSpMk id="4" creationId="{D6D245F5-1A42-7097-8DAF-EE5147EF409A}"/>
          </ac:grpSpMkLst>
        </pc:grpChg>
        <pc:grpChg chg="add del">
          <ac:chgData name="Roy Chowdhury, Ritwik" userId="bfb84a7f-f393-43f0-840f-80c362df9247" providerId="ADAL" clId="{D98D1D94-E5EF-4A5F-8B22-D2A92A3A93DC}" dt="2023-11-06T19:28:31.701" v="5775" actId="478"/>
          <ac:grpSpMkLst>
            <pc:docMk/>
            <pc:sldMk cId="1742603404" sldId="391"/>
            <ac:grpSpMk id="19" creationId="{1133B82D-6593-D68D-88DA-B2F5412AA424}"/>
          </ac:grpSpMkLst>
        </pc:grpChg>
        <pc:picChg chg="add del mod">
          <ac:chgData name="Roy Chowdhury, Ritwik" userId="bfb84a7f-f393-43f0-840f-80c362df9247" providerId="ADAL" clId="{D98D1D94-E5EF-4A5F-8B22-D2A92A3A93DC}" dt="2023-11-06T19:49:43.064" v="6018" actId="478"/>
          <ac:picMkLst>
            <pc:docMk/>
            <pc:sldMk cId="1742603404" sldId="391"/>
            <ac:picMk id="10" creationId="{E2AF12A5-76D2-0B67-E2D9-EE981920ACFF}"/>
          </ac:picMkLst>
        </pc:picChg>
      </pc:sldChg>
      <pc:sldChg chg="addSp delSp modSp add del mod">
        <pc:chgData name="Roy Chowdhury, Ritwik" userId="bfb84a7f-f393-43f0-840f-80c362df9247" providerId="ADAL" clId="{D98D1D94-E5EF-4A5F-8B22-D2A92A3A93DC}" dt="2023-11-06T19:41:13.978" v="5966" actId="2696"/>
        <pc:sldMkLst>
          <pc:docMk/>
          <pc:sldMk cId="532676775" sldId="392"/>
        </pc:sldMkLst>
        <pc:spChg chg="mod ord">
          <ac:chgData name="Roy Chowdhury, Ritwik" userId="bfb84a7f-f393-43f0-840f-80c362df9247" providerId="ADAL" clId="{D98D1D94-E5EF-4A5F-8B22-D2A92A3A93DC}" dt="2023-11-06T19:38:30.637" v="5937" actId="171"/>
          <ac:spMkLst>
            <pc:docMk/>
            <pc:sldMk cId="532676775" sldId="392"/>
            <ac:spMk id="5" creationId="{E708F384-35B0-06C5-FA0F-5A379A8FCFAF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9" creationId="{465AFE3F-4D7C-79CC-7962-E388EDBD0453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0" creationId="{33425C3E-D56F-74FE-37CE-A29175BD93A7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2" creationId="{794D2D69-0F32-7EF8-428C-5BD9A9BE22E9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3" creationId="{1FF7C368-452C-C031-878B-EDCC9D9EB401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4" creationId="{35430DA7-4470-91CA-5B2A-5695565B7A72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5" creationId="{BC3921A9-C55C-E40A-3614-C4ACD82813C8}"/>
          </ac:spMkLst>
        </pc:spChg>
        <pc:spChg chg="mod">
          <ac:chgData name="Roy Chowdhury, Ritwik" userId="bfb84a7f-f393-43f0-840f-80c362df9247" providerId="ADAL" clId="{D98D1D94-E5EF-4A5F-8B22-D2A92A3A93DC}" dt="2023-11-06T19:40:36.515" v="5961"/>
          <ac:spMkLst>
            <pc:docMk/>
            <pc:sldMk cId="532676775" sldId="392"/>
            <ac:spMk id="16" creationId="{7C7D6279-9CBD-402C-1D3B-BCB3138AA071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18" creationId="{3648E13D-59D2-7AE7-C739-FF92BC630407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19" creationId="{E5EE5D48-33D1-E59C-540E-3FF6B6B6EE7F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21" creationId="{3C2999C8-03BA-47BF-DE42-7CEECC5FECD7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22" creationId="{CB3FDC74-A287-D70A-D591-75F671DA8BD5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23" creationId="{2349035D-1ABF-9098-8295-F7360878D152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24" creationId="{800E9DD6-BF12-D2DF-6877-3608A1E06AD5}"/>
          </ac:spMkLst>
        </pc:spChg>
        <pc:spChg chg="mod">
          <ac:chgData name="Roy Chowdhury, Ritwik" userId="bfb84a7f-f393-43f0-840f-80c362df9247" providerId="ADAL" clId="{D98D1D94-E5EF-4A5F-8B22-D2A92A3A93DC}" dt="2023-11-06T19:40:40.228" v="5963"/>
          <ac:spMkLst>
            <pc:docMk/>
            <pc:sldMk cId="532676775" sldId="392"/>
            <ac:spMk id="25" creationId="{FF5C54FC-1CA9-5EC5-333E-BE3DFA5CA546}"/>
          </ac:spMkLst>
        </pc:spChg>
        <pc:spChg chg="mod">
          <ac:chgData name="Roy Chowdhury, Ritwik" userId="bfb84a7f-f393-43f0-840f-80c362df9247" providerId="ADAL" clId="{D98D1D94-E5EF-4A5F-8B22-D2A92A3A93DC}" dt="2023-11-06T19:35:45.364" v="5888" actId="1076"/>
          <ac:spMkLst>
            <pc:docMk/>
            <pc:sldMk cId="532676775" sldId="392"/>
            <ac:spMk id="35" creationId="{62AA1F35-0C41-EC8B-5746-F73715F357F0}"/>
          </ac:spMkLst>
        </pc:spChg>
        <pc:spChg chg="mod">
          <ac:chgData name="Roy Chowdhury, Ritwik" userId="bfb84a7f-f393-43f0-840f-80c362df9247" providerId="ADAL" clId="{D98D1D94-E5EF-4A5F-8B22-D2A92A3A93DC}" dt="2023-11-06T19:37:45.325" v="5919" actId="1076"/>
          <ac:spMkLst>
            <pc:docMk/>
            <pc:sldMk cId="532676775" sldId="392"/>
            <ac:spMk id="45" creationId="{E5EEFBE5-4BCC-AD02-A244-B63E79F89E3E}"/>
          </ac:spMkLst>
        </pc:spChg>
        <pc:spChg chg="mod">
          <ac:chgData name="Roy Chowdhury, Ritwik" userId="bfb84a7f-f393-43f0-840f-80c362df9247" providerId="ADAL" clId="{D98D1D94-E5EF-4A5F-8B22-D2A92A3A93DC}" dt="2023-11-06T19:37:23.443" v="5912" actId="14100"/>
          <ac:spMkLst>
            <pc:docMk/>
            <pc:sldMk cId="532676775" sldId="392"/>
            <ac:spMk id="46" creationId="{34BCA7BD-02E2-3945-3A36-F59F9EF3A413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48" creationId="{8E3AFDF7-B5D5-F6AF-9826-978862238D6F}"/>
          </ac:spMkLst>
        </pc:spChg>
        <pc:spChg chg="mod">
          <ac:chgData name="Roy Chowdhury, Ritwik" userId="bfb84a7f-f393-43f0-840f-80c362df9247" providerId="ADAL" clId="{D98D1D94-E5EF-4A5F-8B22-D2A92A3A93DC}" dt="2023-11-06T19:38:36.357" v="5938" actId="1076"/>
          <ac:spMkLst>
            <pc:docMk/>
            <pc:sldMk cId="532676775" sldId="392"/>
            <ac:spMk id="49" creationId="{500EB067-F212-0B0D-DE10-67F2F0DE43F9}"/>
          </ac:spMkLst>
        </pc:spChg>
        <pc:spChg chg="mod">
          <ac:chgData name="Roy Chowdhury, Ritwik" userId="bfb84a7f-f393-43f0-840f-80c362df9247" providerId="ADAL" clId="{D98D1D94-E5EF-4A5F-8B22-D2A92A3A93DC}" dt="2023-11-06T19:39:30.763" v="5949" actId="14100"/>
          <ac:spMkLst>
            <pc:docMk/>
            <pc:sldMk cId="532676775" sldId="392"/>
            <ac:spMk id="50" creationId="{67937100-8696-DC67-5784-4700BA93AF89}"/>
          </ac:spMkLst>
        </pc:spChg>
        <pc:spChg chg="mod">
          <ac:chgData name="Roy Chowdhury, Ritwik" userId="bfb84a7f-f393-43f0-840f-80c362df9247" providerId="ADAL" clId="{D98D1D94-E5EF-4A5F-8B22-D2A92A3A93DC}" dt="2023-11-06T19:39:30.763" v="5949" actId="14100"/>
          <ac:spMkLst>
            <pc:docMk/>
            <pc:sldMk cId="532676775" sldId="392"/>
            <ac:spMk id="51" creationId="{E6E95FD3-04C6-C515-17D7-27756C625208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89" creationId="{2B9C7FC8-1FBE-900D-308E-2D0E4B5AA5E1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0" creationId="{D39E9F83-E8FB-4764-BF13-E7074D1B8EB0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2" creationId="{89F3CD0B-6DC9-F623-70AC-D7619CAEEFA8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3" creationId="{8D7CD126-6C28-95F0-9C40-F7216C3EF511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4" creationId="{7A96CCA2-3578-C9BC-CA6E-77E1BBE996E1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8" creationId="{4270CC02-28C7-C697-6AB6-26FD6E51CDEC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99" creationId="{EF6E2FFD-8596-50FB-44F8-93A609F35B15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101" creationId="{C7ED75B2-0DBB-5BBE-415C-51136659F49E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102" creationId="{E19A5779-999A-00D4-44F1-C1B3D48F1209}"/>
          </ac:spMkLst>
        </pc:spChg>
        <pc:spChg chg="mod">
          <ac:chgData name="Roy Chowdhury, Ritwik" userId="bfb84a7f-f393-43f0-840f-80c362df9247" providerId="ADAL" clId="{D98D1D94-E5EF-4A5F-8B22-D2A92A3A93DC}" dt="2023-11-06T19:36:27.017" v="5897" actId="165"/>
          <ac:spMkLst>
            <pc:docMk/>
            <pc:sldMk cId="532676775" sldId="392"/>
            <ac:spMk id="103" creationId="{42F0FE93-D8C3-7521-A680-B27CFFDFB354}"/>
          </ac:spMkLst>
        </pc:spChg>
        <pc:grpChg chg="mod topLvl">
          <ac:chgData name="Roy Chowdhury, Ritwik" userId="bfb84a7f-f393-43f0-840f-80c362df9247" providerId="ADAL" clId="{D98D1D94-E5EF-4A5F-8B22-D2A92A3A93DC}" dt="2023-11-06T19:37:07.508" v="5908" actId="1076"/>
          <ac:grpSpMkLst>
            <pc:docMk/>
            <pc:sldMk cId="532676775" sldId="392"/>
            <ac:grpSpMk id="2" creationId="{1855827E-6DBB-C85C-667E-876313CEC58B}"/>
          </ac:grpSpMkLst>
        </pc:grpChg>
        <pc:grpChg chg="mod topLvl">
          <ac:chgData name="Roy Chowdhury, Ritwik" userId="bfb84a7f-f393-43f0-840f-80c362df9247" providerId="ADAL" clId="{D98D1D94-E5EF-4A5F-8B22-D2A92A3A93DC}" dt="2023-11-06T19:37:09.733" v="5909" actId="1076"/>
          <ac:grpSpMkLst>
            <pc:docMk/>
            <pc:sldMk cId="532676775" sldId="392"/>
            <ac:grpSpMk id="3" creationId="{7A4E742D-0723-9558-DCA5-668D68AD1BF0}"/>
          </ac:grpSpMkLst>
        </pc:grpChg>
        <pc:grpChg chg="del">
          <ac:chgData name="Roy Chowdhury, Ritwik" userId="bfb84a7f-f393-43f0-840f-80c362df9247" providerId="ADAL" clId="{D98D1D94-E5EF-4A5F-8B22-D2A92A3A93DC}" dt="2023-11-06T19:36:27.017" v="5897" actId="165"/>
          <ac:grpSpMkLst>
            <pc:docMk/>
            <pc:sldMk cId="532676775" sldId="392"/>
            <ac:grpSpMk id="4" creationId="{D6D245F5-1A42-7097-8DAF-EE5147EF409A}"/>
          </ac:grpSpMkLst>
        </pc:grpChg>
        <pc:grpChg chg="mod topLvl">
          <ac:chgData name="Roy Chowdhury, Ritwik" userId="bfb84a7f-f393-43f0-840f-80c362df9247" providerId="ADAL" clId="{D98D1D94-E5EF-4A5F-8B22-D2A92A3A93DC}" dt="2023-11-06T19:40:35.207" v="5960" actId="1076"/>
          <ac:grpSpMkLst>
            <pc:docMk/>
            <pc:sldMk cId="532676775" sldId="392"/>
            <ac:grpSpMk id="7" creationId="{A443CDBF-CC29-43C1-93BB-6B292A616FB6}"/>
          </ac:grpSpMkLst>
        </pc:grpChg>
        <pc:grpChg chg="add mod">
          <ac:chgData name="Roy Chowdhury, Ritwik" userId="bfb84a7f-f393-43f0-840f-80c362df9247" providerId="ADAL" clId="{D98D1D94-E5EF-4A5F-8B22-D2A92A3A93DC}" dt="2023-11-06T19:40:39.387" v="5962" actId="1076"/>
          <ac:grpSpMkLst>
            <pc:docMk/>
            <pc:sldMk cId="532676775" sldId="392"/>
            <ac:grpSpMk id="8" creationId="{E2A76E88-7BF5-6B42-CF08-7620E68748A8}"/>
          </ac:grpSpMkLst>
        </pc:grpChg>
        <pc:grpChg chg="mod">
          <ac:chgData name="Roy Chowdhury, Ritwik" userId="bfb84a7f-f393-43f0-840f-80c362df9247" providerId="ADAL" clId="{D98D1D94-E5EF-4A5F-8B22-D2A92A3A93DC}" dt="2023-11-06T19:40:36.515" v="5961"/>
          <ac:grpSpMkLst>
            <pc:docMk/>
            <pc:sldMk cId="532676775" sldId="392"/>
            <ac:grpSpMk id="11" creationId="{7CE0CE93-B1B0-AE07-7A5D-B1D5CC0788A2}"/>
          </ac:grpSpMkLst>
        </pc:grpChg>
        <pc:grpChg chg="add del mod">
          <ac:chgData name="Roy Chowdhury, Ritwik" userId="bfb84a7f-f393-43f0-840f-80c362df9247" providerId="ADAL" clId="{D98D1D94-E5EF-4A5F-8B22-D2A92A3A93DC}" dt="2023-11-06T19:40:51.073" v="5965" actId="478"/>
          <ac:grpSpMkLst>
            <pc:docMk/>
            <pc:sldMk cId="532676775" sldId="392"/>
            <ac:grpSpMk id="17" creationId="{B0F0BFDE-4532-F59A-0BAE-AF720DF6BC92}"/>
          </ac:grpSpMkLst>
        </pc:grpChg>
        <pc:grpChg chg="mod">
          <ac:chgData name="Roy Chowdhury, Ritwik" userId="bfb84a7f-f393-43f0-840f-80c362df9247" providerId="ADAL" clId="{D98D1D94-E5EF-4A5F-8B22-D2A92A3A93DC}" dt="2023-11-06T19:40:40.228" v="5963"/>
          <ac:grpSpMkLst>
            <pc:docMk/>
            <pc:sldMk cId="532676775" sldId="392"/>
            <ac:grpSpMk id="20" creationId="{810CD4EF-7648-1B07-6923-9A377C8B2B78}"/>
          </ac:grpSpMkLst>
        </pc:grpChg>
        <pc:grpChg chg="mod">
          <ac:chgData name="Roy Chowdhury, Ritwik" userId="bfb84a7f-f393-43f0-840f-80c362df9247" providerId="ADAL" clId="{D98D1D94-E5EF-4A5F-8B22-D2A92A3A93DC}" dt="2023-11-06T19:36:27.017" v="5897" actId="165"/>
          <ac:grpSpMkLst>
            <pc:docMk/>
            <pc:sldMk cId="532676775" sldId="392"/>
            <ac:grpSpMk id="47" creationId="{2EDC0BFD-6517-A6F6-0515-158E10E42893}"/>
          </ac:grpSpMkLst>
        </pc:grpChg>
        <pc:grpChg chg="mod">
          <ac:chgData name="Roy Chowdhury, Ritwik" userId="bfb84a7f-f393-43f0-840f-80c362df9247" providerId="ADAL" clId="{D98D1D94-E5EF-4A5F-8B22-D2A92A3A93DC}" dt="2023-11-06T19:36:27.017" v="5897" actId="165"/>
          <ac:grpSpMkLst>
            <pc:docMk/>
            <pc:sldMk cId="532676775" sldId="392"/>
            <ac:grpSpMk id="88" creationId="{4CB7A62B-6C2C-7395-67F0-1AC1B7E95DA9}"/>
          </ac:grpSpMkLst>
        </pc:grpChg>
        <pc:grpChg chg="mod">
          <ac:chgData name="Roy Chowdhury, Ritwik" userId="bfb84a7f-f393-43f0-840f-80c362df9247" providerId="ADAL" clId="{D98D1D94-E5EF-4A5F-8B22-D2A92A3A93DC}" dt="2023-11-06T19:36:27.017" v="5897" actId="165"/>
          <ac:grpSpMkLst>
            <pc:docMk/>
            <pc:sldMk cId="532676775" sldId="392"/>
            <ac:grpSpMk id="97" creationId="{033A2580-E6E5-AE55-70CE-805E61A1C485}"/>
          </ac:grpSpMkLst>
        </pc:grpChg>
        <pc:picChg chg="mod">
          <ac:chgData name="Roy Chowdhury, Ritwik" userId="bfb84a7f-f393-43f0-840f-80c362df9247" providerId="ADAL" clId="{D98D1D94-E5EF-4A5F-8B22-D2A92A3A93DC}" dt="2023-11-06T19:36:27.017" v="5897" actId="165"/>
          <ac:picMkLst>
            <pc:docMk/>
            <pc:sldMk cId="532676775" sldId="392"/>
            <ac:picMk id="33" creationId="{B96074E0-AD7B-AF84-92AD-606FA3CD0586}"/>
          </ac:picMkLst>
        </pc:picChg>
        <pc:picChg chg="mod">
          <ac:chgData name="Roy Chowdhury, Ritwik" userId="bfb84a7f-f393-43f0-840f-80c362df9247" providerId="ADAL" clId="{D98D1D94-E5EF-4A5F-8B22-D2A92A3A93DC}" dt="2023-11-06T19:36:27.017" v="5897" actId="165"/>
          <ac:picMkLst>
            <pc:docMk/>
            <pc:sldMk cId="532676775" sldId="392"/>
            <ac:picMk id="34" creationId="{423E0012-6122-889F-214D-7A44FABFC8DF}"/>
          </ac:picMkLst>
        </pc:picChg>
      </pc:sldChg>
      <pc:sldChg chg="modSp mod">
        <pc:chgData name="Roy Chowdhury, Ritwik" userId="bfb84a7f-f393-43f0-840f-80c362df9247" providerId="ADAL" clId="{D98D1D94-E5EF-4A5F-8B22-D2A92A3A93DC}" dt="2023-11-07T00:03:59.192" v="6460" actId="20577"/>
        <pc:sldMkLst>
          <pc:docMk/>
          <pc:sldMk cId="2156854375" sldId="392"/>
        </pc:sldMkLst>
        <pc:spChg chg="mod">
          <ac:chgData name="Roy Chowdhury, Ritwik" userId="bfb84a7f-f393-43f0-840f-80c362df9247" providerId="ADAL" clId="{D98D1D94-E5EF-4A5F-8B22-D2A92A3A93DC}" dt="2023-11-07T00:03:59.192" v="6460" actId="20577"/>
          <ac:spMkLst>
            <pc:docMk/>
            <pc:sldMk cId="2156854375" sldId="392"/>
            <ac:spMk id="40" creationId="{C9430907-A986-2031-0DF1-F3FDB785D92D}"/>
          </ac:spMkLst>
        </pc:spChg>
      </pc:sldChg>
      <pc:sldChg chg="modSp mod">
        <pc:chgData name="Roy Chowdhury, Ritwik" userId="bfb84a7f-f393-43f0-840f-80c362df9247" providerId="ADAL" clId="{D98D1D94-E5EF-4A5F-8B22-D2A92A3A93DC}" dt="2023-11-07T00:12:15.972" v="6498" actId="20577"/>
        <pc:sldMkLst>
          <pc:docMk/>
          <pc:sldMk cId="425422822" sldId="393"/>
        </pc:sldMkLst>
        <pc:spChg chg="mod">
          <ac:chgData name="Roy Chowdhury, Ritwik" userId="bfb84a7f-f393-43f0-840f-80c362df9247" providerId="ADAL" clId="{D98D1D94-E5EF-4A5F-8B22-D2A92A3A93DC}" dt="2023-11-07T00:12:15.972" v="6498" actId="20577"/>
          <ac:spMkLst>
            <pc:docMk/>
            <pc:sldMk cId="425422822" sldId="393"/>
            <ac:spMk id="228" creationId="{D2D10EBA-82D0-AF9D-12E9-3F8D82B8B2F4}"/>
          </ac:spMkLst>
        </pc:spChg>
      </pc:sldChg>
      <pc:sldChg chg="addSp delSp modSp mod">
        <pc:chgData name="Roy Chowdhury, Ritwik" userId="bfb84a7f-f393-43f0-840f-80c362df9247" providerId="ADAL" clId="{D98D1D94-E5EF-4A5F-8B22-D2A92A3A93DC}" dt="2023-11-07T00:05:54.038" v="6478" actId="20577"/>
        <pc:sldMkLst>
          <pc:docMk/>
          <pc:sldMk cId="3074322027" sldId="394"/>
        </pc:sldMkLst>
        <pc:spChg chg="add mod">
          <ac:chgData name="Roy Chowdhury, Ritwik" userId="bfb84a7f-f393-43f0-840f-80c362df9247" providerId="ADAL" clId="{D98D1D94-E5EF-4A5F-8B22-D2A92A3A93DC}" dt="2023-11-07T00:05:22.145" v="6477"/>
          <ac:spMkLst>
            <pc:docMk/>
            <pc:sldMk cId="3074322027" sldId="394"/>
            <ac:spMk id="3" creationId="{5A51D8E0-E782-48F0-32BD-35653B4C16BF}"/>
          </ac:spMkLst>
        </pc:spChg>
        <pc:spChg chg="del">
          <ac:chgData name="Roy Chowdhury, Ritwik" userId="bfb84a7f-f393-43f0-840f-80c362df9247" providerId="ADAL" clId="{D98D1D94-E5EF-4A5F-8B22-D2A92A3A93DC}" dt="2023-11-07T00:05:21.650" v="6476" actId="478"/>
          <ac:spMkLst>
            <pc:docMk/>
            <pc:sldMk cId="3074322027" sldId="394"/>
            <ac:spMk id="228" creationId="{D2D10EBA-82D0-AF9D-12E9-3F8D82B8B2F4}"/>
          </ac:spMkLst>
        </pc:spChg>
        <pc:spChg chg="mod">
          <ac:chgData name="Roy Chowdhury, Ritwik" userId="bfb84a7f-f393-43f0-840f-80c362df9247" providerId="ADAL" clId="{D98D1D94-E5EF-4A5F-8B22-D2A92A3A93DC}" dt="2023-11-07T00:05:54.038" v="6478" actId="20577"/>
          <ac:spMkLst>
            <pc:docMk/>
            <pc:sldMk cId="3074322027" sldId="394"/>
            <ac:spMk id="460" creationId="{57E6C8A6-8CBD-90A2-95DC-6E252AC1B6D1}"/>
          </ac:spMkLst>
        </pc:spChg>
      </pc:sldChg>
      <pc:sldChg chg="add mod modShow">
        <pc:chgData name="Roy Chowdhury, Ritwik" userId="bfb84a7f-f393-43f0-840f-80c362df9247" providerId="ADAL" clId="{D98D1D94-E5EF-4A5F-8B22-D2A92A3A93DC}" dt="2023-11-07T05:21:27.308" v="6513" actId="729"/>
        <pc:sldMkLst>
          <pc:docMk/>
          <pc:sldMk cId="2074881652" sldId="404"/>
        </pc:sldMkLst>
      </pc:sldChg>
      <pc:sldChg chg="addSp delSp modSp mod setBg modAnim">
        <pc:chgData name="Roy Chowdhury, Ritwik" userId="bfb84a7f-f393-43f0-840f-80c362df9247" providerId="ADAL" clId="{D98D1D94-E5EF-4A5F-8B22-D2A92A3A93DC}" dt="2023-11-07T08:22:27.911" v="7254" actId="2711"/>
        <pc:sldMkLst>
          <pc:docMk/>
          <pc:sldMk cId="2074881652" sldId="405"/>
        </pc:sldMkLst>
        <pc:spChg chg="mod">
          <ac:chgData name="Roy Chowdhury, Ritwik" userId="bfb84a7f-f393-43f0-840f-80c362df9247" providerId="ADAL" clId="{D98D1D94-E5EF-4A5F-8B22-D2A92A3A93DC}" dt="2023-11-07T08:22:27.911" v="7254" actId="2711"/>
          <ac:spMkLst>
            <pc:docMk/>
            <pc:sldMk cId="2074881652" sldId="405"/>
            <ac:spMk id="3" creationId="{3F76A028-CF0D-6B71-8F38-695E594D9938}"/>
          </ac:spMkLst>
        </pc:spChg>
        <pc:spChg chg="mod">
          <ac:chgData name="Roy Chowdhury, Ritwik" userId="bfb84a7f-f393-43f0-840f-80c362df9247" providerId="ADAL" clId="{D98D1D94-E5EF-4A5F-8B22-D2A92A3A93DC}" dt="2023-11-07T06:04:14.408" v="6836" actId="1076"/>
          <ac:spMkLst>
            <pc:docMk/>
            <pc:sldMk cId="2074881652" sldId="405"/>
            <ac:spMk id="4" creationId="{53FBA2B0-ED25-650D-31A9-D767DFD8E6CF}"/>
          </ac:spMkLst>
        </pc:spChg>
        <pc:spChg chg="mod">
          <ac:chgData name="Roy Chowdhury, Ritwik" userId="bfb84a7f-f393-43f0-840f-80c362df9247" providerId="ADAL" clId="{D98D1D94-E5EF-4A5F-8B22-D2A92A3A93DC}" dt="2023-11-07T06:00:31.870" v="6832" actId="1076"/>
          <ac:spMkLst>
            <pc:docMk/>
            <pc:sldMk cId="2074881652" sldId="405"/>
            <ac:spMk id="6" creationId="{36BD631D-31E4-EB49-6C8E-F92A1D014ABF}"/>
          </ac:spMkLst>
        </pc:spChg>
        <pc:spChg chg="mod">
          <ac:chgData name="Roy Chowdhury, Ritwik" userId="bfb84a7f-f393-43f0-840f-80c362df9247" providerId="ADAL" clId="{D98D1D94-E5EF-4A5F-8B22-D2A92A3A93DC}" dt="2023-11-07T06:00:31.870" v="6832" actId="1076"/>
          <ac:spMkLst>
            <pc:docMk/>
            <pc:sldMk cId="2074881652" sldId="405"/>
            <ac:spMk id="8" creationId="{941AA999-AD39-EF25-0D2D-E6C04951A30B}"/>
          </ac:spMkLst>
        </pc:spChg>
        <pc:spChg chg="mod">
          <ac:chgData name="Roy Chowdhury, Ritwik" userId="bfb84a7f-f393-43f0-840f-80c362df9247" providerId="ADAL" clId="{D98D1D94-E5EF-4A5F-8B22-D2A92A3A93DC}" dt="2023-11-07T06:00:31.870" v="6832" actId="1076"/>
          <ac:spMkLst>
            <pc:docMk/>
            <pc:sldMk cId="2074881652" sldId="405"/>
            <ac:spMk id="9" creationId="{D3670CBB-D8F2-2302-A5CC-329F0955812A}"/>
          </ac:spMkLst>
        </pc:spChg>
        <pc:spChg chg="add mod topLvl">
          <ac:chgData name="Roy Chowdhury, Ritwik" userId="bfb84a7f-f393-43f0-840f-80c362df9247" providerId="ADAL" clId="{D98D1D94-E5EF-4A5F-8B22-D2A92A3A93DC}" dt="2023-11-07T06:00:31.870" v="6832" actId="1076"/>
          <ac:spMkLst>
            <pc:docMk/>
            <pc:sldMk cId="2074881652" sldId="405"/>
            <ac:spMk id="24" creationId="{64B9CC44-AD70-E2DC-5639-7A2D143E900E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36" creationId="{04F1DFA9-E3D2-D75F-57BE-6A5DFB150A5E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37" creationId="{42833FE6-5C62-2142-287E-87FB93B1D81E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38" creationId="{7415C62B-F912-1B15-2614-D3AC9D1EC8AF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39" creationId="{2B4BA9EE-B2CF-5F5A-D0C4-3342C737621A}"/>
          </ac:spMkLst>
        </pc:spChg>
        <pc:spChg chg="del mod">
          <ac:chgData name="Roy Chowdhury, Ritwik" userId="bfb84a7f-f393-43f0-840f-80c362df9247" providerId="ADAL" clId="{D98D1D94-E5EF-4A5F-8B22-D2A92A3A93DC}" dt="2023-11-07T05:32:34.607" v="6635" actId="478"/>
          <ac:spMkLst>
            <pc:docMk/>
            <pc:sldMk cId="2074881652" sldId="405"/>
            <ac:spMk id="41" creationId="{A17AEE7A-893F-AC65-CE3D-CAABC30C1C27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2" creationId="{8C703A03-6BAB-4AEC-86F5-91A8105E10C2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3" creationId="{FA546CB3-88D7-78DF-3C00-3891A259FEF8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4" creationId="{BD6E7575-1040-A1A8-2E49-A67F97197372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5" creationId="{8F057E2C-8527-F688-8B48-CFF4B424E41B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6" creationId="{AB6BF513-2ABA-8127-9B4A-68DF6AE8BCEF}"/>
          </ac:spMkLst>
        </pc:spChg>
        <pc:spChg chg="mod">
          <ac:chgData name="Roy Chowdhury, Ritwik" userId="bfb84a7f-f393-43f0-840f-80c362df9247" providerId="ADAL" clId="{D98D1D94-E5EF-4A5F-8B22-D2A92A3A93DC}" dt="2023-11-07T05:51:12.636" v="6776" actId="1076"/>
          <ac:spMkLst>
            <pc:docMk/>
            <pc:sldMk cId="2074881652" sldId="405"/>
            <ac:spMk id="47" creationId="{17539F60-1221-938F-7C02-D3948A4EB8B1}"/>
          </ac:spMkLst>
        </pc:spChg>
        <pc:spChg chg="del mod">
          <ac:chgData name="Roy Chowdhury, Ritwik" userId="bfb84a7f-f393-43f0-840f-80c362df9247" providerId="ADAL" clId="{D98D1D94-E5EF-4A5F-8B22-D2A92A3A93DC}" dt="2023-11-07T05:50:56.807" v="6774" actId="478"/>
          <ac:spMkLst>
            <pc:docMk/>
            <pc:sldMk cId="2074881652" sldId="405"/>
            <ac:spMk id="48" creationId="{DFD549D1-267E-EDE2-CF39-F8AC35D11067}"/>
          </ac:spMkLst>
        </pc:spChg>
        <pc:spChg chg="mod topLvl">
          <ac:chgData name="Roy Chowdhury, Ritwik" userId="bfb84a7f-f393-43f0-840f-80c362df9247" providerId="ADAL" clId="{D98D1D94-E5EF-4A5F-8B22-D2A92A3A93DC}" dt="2023-11-07T05:58:47.496" v="6819" actId="164"/>
          <ac:spMkLst>
            <pc:docMk/>
            <pc:sldMk cId="2074881652" sldId="405"/>
            <ac:spMk id="49" creationId="{48FC25FA-0CD9-191F-E1FF-B8DE944B8946}"/>
          </ac:spMkLst>
        </pc:spChg>
        <pc:spChg chg="add del mod">
          <ac:chgData name="Roy Chowdhury, Ritwik" userId="bfb84a7f-f393-43f0-840f-80c362df9247" providerId="ADAL" clId="{D98D1D94-E5EF-4A5F-8B22-D2A92A3A93DC}" dt="2023-11-07T05:52:54.607" v="6788"/>
          <ac:spMkLst>
            <pc:docMk/>
            <pc:sldMk cId="2074881652" sldId="405"/>
            <ac:spMk id="51" creationId="{750E612A-A535-240E-901E-D4D7E2965DAE}"/>
          </ac:spMkLst>
        </pc:spChg>
        <pc:spChg chg="add mod">
          <ac:chgData name="Roy Chowdhury, Ritwik" userId="bfb84a7f-f393-43f0-840f-80c362df9247" providerId="ADAL" clId="{D98D1D94-E5EF-4A5F-8B22-D2A92A3A93DC}" dt="2023-11-07T05:53:23.392" v="6795" actId="164"/>
          <ac:spMkLst>
            <pc:docMk/>
            <pc:sldMk cId="2074881652" sldId="405"/>
            <ac:spMk id="52" creationId="{D6FCA88D-A1B1-CAF3-B383-E13BD991DB8D}"/>
          </ac:spMkLst>
        </pc:spChg>
        <pc:spChg chg="add del mod">
          <ac:chgData name="Roy Chowdhury, Ritwik" userId="bfb84a7f-f393-43f0-840f-80c362df9247" providerId="ADAL" clId="{D98D1D94-E5EF-4A5F-8B22-D2A92A3A93DC}" dt="2023-11-07T05:56:05.499" v="6799"/>
          <ac:spMkLst>
            <pc:docMk/>
            <pc:sldMk cId="2074881652" sldId="405"/>
            <ac:spMk id="55" creationId="{D59AEFAA-E906-F285-6D96-8C2EA95C9C8B}"/>
          </ac:spMkLst>
        </pc:spChg>
        <pc:spChg chg="add mod ord">
          <ac:chgData name="Roy Chowdhury, Ritwik" userId="bfb84a7f-f393-43f0-840f-80c362df9247" providerId="ADAL" clId="{D98D1D94-E5EF-4A5F-8B22-D2A92A3A93DC}" dt="2023-11-07T06:01:16.223" v="6835" actId="207"/>
          <ac:spMkLst>
            <pc:docMk/>
            <pc:sldMk cId="2074881652" sldId="405"/>
            <ac:spMk id="56" creationId="{CC613089-FE97-D2DB-A0F1-C6CB9A138EC5}"/>
          </ac:spMkLst>
        </pc:spChg>
        <pc:grpChg chg="add mod">
          <ac:chgData name="Roy Chowdhury, Ritwik" userId="bfb84a7f-f393-43f0-840f-80c362df9247" providerId="ADAL" clId="{D98D1D94-E5EF-4A5F-8B22-D2A92A3A93DC}" dt="2023-11-07T06:00:31.870" v="6832" actId="1076"/>
          <ac:grpSpMkLst>
            <pc:docMk/>
            <pc:sldMk cId="2074881652" sldId="405"/>
            <ac:grpSpMk id="2" creationId="{504F1F95-1DF9-83F5-E35A-AF9ABB97D682}"/>
          </ac:grpSpMkLst>
        </pc:grpChg>
        <pc:grpChg chg="add mod">
          <ac:chgData name="Roy Chowdhury, Ritwik" userId="bfb84a7f-f393-43f0-840f-80c362df9247" providerId="ADAL" clId="{D98D1D94-E5EF-4A5F-8B22-D2A92A3A93DC}" dt="2023-11-07T06:00:31.870" v="6832" actId="1076"/>
          <ac:grpSpMkLst>
            <pc:docMk/>
            <pc:sldMk cId="2074881652" sldId="405"/>
            <ac:grpSpMk id="19" creationId="{BD31E5A9-84D7-436E-351C-3532EB7EFC85}"/>
          </ac:grpSpMkLst>
        </pc:grpChg>
        <pc:grpChg chg="add mod topLvl">
          <ac:chgData name="Roy Chowdhury, Ritwik" userId="bfb84a7f-f393-43f0-840f-80c362df9247" providerId="ADAL" clId="{D98D1D94-E5EF-4A5F-8B22-D2A92A3A93DC}" dt="2023-11-07T06:00:31.870" v="6832" actId="1076"/>
          <ac:grpSpMkLst>
            <pc:docMk/>
            <pc:sldMk cId="2074881652" sldId="405"/>
            <ac:grpSpMk id="25" creationId="{260D9DEA-63A9-8CE3-9516-60B707D15FBB}"/>
          </ac:grpSpMkLst>
        </pc:grpChg>
        <pc:grpChg chg="add del mod topLvl">
          <ac:chgData name="Roy Chowdhury, Ritwik" userId="bfb84a7f-f393-43f0-840f-80c362df9247" providerId="ADAL" clId="{D98D1D94-E5EF-4A5F-8B22-D2A92A3A93DC}" dt="2023-11-07T05:59:55.350" v="6828" actId="165"/>
          <ac:grpSpMkLst>
            <pc:docMk/>
            <pc:sldMk cId="2074881652" sldId="405"/>
            <ac:grpSpMk id="26" creationId="{B283BD28-B7B7-F858-2152-0D09F2A63684}"/>
          </ac:grpSpMkLst>
        </pc:grpChg>
        <pc:grpChg chg="add del mod">
          <ac:chgData name="Roy Chowdhury, Ritwik" userId="bfb84a7f-f393-43f0-840f-80c362df9247" providerId="ADAL" clId="{D98D1D94-E5EF-4A5F-8B22-D2A92A3A93DC}" dt="2023-11-07T05:59:15.153" v="6823" actId="165"/>
          <ac:grpSpMkLst>
            <pc:docMk/>
            <pc:sldMk cId="2074881652" sldId="405"/>
            <ac:grpSpMk id="32" creationId="{2ACC9396-958B-36D6-C555-7EABF6032FF5}"/>
          </ac:grpSpMkLst>
        </pc:grpChg>
        <pc:grpChg chg="add del mod">
          <ac:chgData name="Roy Chowdhury, Ritwik" userId="bfb84a7f-f393-43f0-840f-80c362df9247" providerId="ADAL" clId="{D98D1D94-E5EF-4A5F-8B22-D2A92A3A93DC}" dt="2023-11-07T05:51:05.912" v="6775" actId="165"/>
          <ac:grpSpMkLst>
            <pc:docMk/>
            <pc:sldMk cId="2074881652" sldId="405"/>
            <ac:grpSpMk id="33" creationId="{C4EA58F9-A99A-83D7-B047-6CEC73D0AA5E}"/>
          </ac:grpSpMkLst>
        </pc:grpChg>
        <pc:grpChg chg="del mod">
          <ac:chgData name="Roy Chowdhury, Ritwik" userId="bfb84a7f-f393-43f0-840f-80c362df9247" providerId="ADAL" clId="{D98D1D94-E5EF-4A5F-8B22-D2A92A3A93DC}" dt="2023-11-07T05:50:56.807" v="6774" actId="478"/>
          <ac:grpSpMkLst>
            <pc:docMk/>
            <pc:sldMk cId="2074881652" sldId="405"/>
            <ac:grpSpMk id="34" creationId="{15A50643-F9FA-8B54-B65F-AB0D5D821815}"/>
          </ac:grpSpMkLst>
        </pc:grpChg>
        <pc:grpChg chg="del mod topLvl">
          <ac:chgData name="Roy Chowdhury, Ritwik" userId="bfb84a7f-f393-43f0-840f-80c362df9247" providerId="ADAL" clId="{D98D1D94-E5EF-4A5F-8B22-D2A92A3A93DC}" dt="2023-11-07T05:52:31.642" v="6782" actId="478"/>
          <ac:grpSpMkLst>
            <pc:docMk/>
            <pc:sldMk cId="2074881652" sldId="405"/>
            <ac:grpSpMk id="35" creationId="{480E58DE-4993-3290-EB0B-BA553C64DC84}"/>
          </ac:grpSpMkLst>
        </pc:grpChg>
        <pc:grpChg chg="add mod">
          <ac:chgData name="Roy Chowdhury, Ritwik" userId="bfb84a7f-f393-43f0-840f-80c362df9247" providerId="ADAL" clId="{D98D1D94-E5EF-4A5F-8B22-D2A92A3A93DC}" dt="2023-11-07T05:58:47.496" v="6819" actId="164"/>
          <ac:grpSpMkLst>
            <pc:docMk/>
            <pc:sldMk cId="2074881652" sldId="405"/>
            <ac:grpSpMk id="54" creationId="{40C0E44E-DAEA-0E5E-2AC9-5A3CD653A57F}"/>
          </ac:grpSpMkLst>
        </pc:grpChg>
        <pc:grpChg chg="add mod">
          <ac:chgData name="Roy Chowdhury, Ritwik" userId="bfb84a7f-f393-43f0-840f-80c362df9247" providerId="ADAL" clId="{D98D1D94-E5EF-4A5F-8B22-D2A92A3A93DC}" dt="2023-11-07T06:01:08.012" v="6833" actId="14861"/>
          <ac:grpSpMkLst>
            <pc:docMk/>
            <pc:sldMk cId="2074881652" sldId="405"/>
            <ac:grpSpMk id="58" creationId="{EF470FE5-9FCE-1E3F-EF94-7A80EC25275B}"/>
          </ac:grpSpMkLst>
        </pc:grpChg>
        <pc:grpChg chg="add del mod">
          <ac:chgData name="Roy Chowdhury, Ritwik" userId="bfb84a7f-f393-43f0-840f-80c362df9247" providerId="ADAL" clId="{D98D1D94-E5EF-4A5F-8B22-D2A92A3A93DC}" dt="2023-11-07T05:59:45.432" v="6827" actId="165"/>
          <ac:grpSpMkLst>
            <pc:docMk/>
            <pc:sldMk cId="2074881652" sldId="405"/>
            <ac:grpSpMk id="59" creationId="{39A218AB-1D91-D2E1-E253-00876F16C9A5}"/>
          </ac:grpSpMkLst>
        </pc:grpChg>
        <pc:grpChg chg="add mod">
          <ac:chgData name="Roy Chowdhury, Ritwik" userId="bfb84a7f-f393-43f0-840f-80c362df9247" providerId="ADAL" clId="{D98D1D94-E5EF-4A5F-8B22-D2A92A3A93DC}" dt="2023-11-07T06:00:31.870" v="6832" actId="1076"/>
          <ac:grpSpMkLst>
            <pc:docMk/>
            <pc:sldMk cId="2074881652" sldId="405"/>
            <ac:grpSpMk id="60" creationId="{5C2F89A5-1202-2736-3105-770C589866ED}"/>
          </ac:grpSpMkLst>
        </pc:grpChg>
        <pc:graphicFrameChg chg="mod">
          <ac:chgData name="Roy Chowdhury, Ritwik" userId="bfb84a7f-f393-43f0-840f-80c362df9247" providerId="ADAL" clId="{D98D1D94-E5EF-4A5F-8B22-D2A92A3A93DC}" dt="2023-11-07T06:00:31.870" v="6832" actId="1076"/>
          <ac:graphicFrameMkLst>
            <pc:docMk/>
            <pc:sldMk cId="2074881652" sldId="405"/>
            <ac:graphicFrameMk id="57" creationId="{CC10C2D6-4A34-3501-8D91-E0002A844312}"/>
          </ac:graphicFrameMkLst>
        </pc:graphicFrameChg>
        <pc:picChg chg="add del mod">
          <ac:chgData name="Roy Chowdhury, Ritwik" userId="bfb84a7f-f393-43f0-840f-80c362df9247" providerId="ADAL" clId="{D98D1D94-E5EF-4A5F-8B22-D2A92A3A93DC}" dt="2023-11-07T05:52:51.327" v="6786" actId="478"/>
          <ac:picMkLst>
            <pc:docMk/>
            <pc:sldMk cId="2074881652" sldId="405"/>
            <ac:picMk id="50" creationId="{2E8CCD18-DE99-62A3-DA7D-4F6385E5A93D}"/>
          </ac:picMkLst>
        </pc:picChg>
        <pc:picChg chg="add mod">
          <ac:chgData name="Roy Chowdhury, Ritwik" userId="bfb84a7f-f393-43f0-840f-80c362df9247" providerId="ADAL" clId="{D98D1D94-E5EF-4A5F-8B22-D2A92A3A93DC}" dt="2023-11-07T05:53:23.392" v="6795" actId="164"/>
          <ac:picMkLst>
            <pc:docMk/>
            <pc:sldMk cId="2074881652" sldId="405"/>
            <ac:picMk id="53" creationId="{A891AFD4-B110-2C23-D4A6-2E5A459A8582}"/>
          </ac:picMkLst>
        </pc:picChg>
        <pc:cxnChg chg="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5" creationId="{E1B3EB29-443F-055C-1E42-4DD83F8B575A}"/>
          </ac:cxnSpMkLst>
        </pc:cxnChg>
        <pc:cxnChg chg="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10" creationId="{5F5CFAD1-D57F-5043-2ACE-962C1A27F2A1}"/>
          </ac:cxnSpMkLst>
        </pc:cxnChg>
        <pc:cxnChg chg="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11" creationId="{9035A95F-5578-AF67-EF9C-D82DAC6C2519}"/>
          </ac:cxnSpMkLst>
        </pc:cxnChg>
        <pc:cxnChg chg="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12" creationId="{B99B5891-B47E-AA88-4FAE-F994A64A814F}"/>
          </ac:cxnSpMkLst>
        </pc:cxnChg>
        <pc:cxnChg chg="add 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13" creationId="{2D11DE3E-6829-7ABE-38C1-A03720A2C58C}"/>
          </ac:cxnSpMkLst>
        </pc:cxnChg>
        <pc:cxnChg chg="add del mod">
          <ac:chgData name="Roy Chowdhury, Ritwik" userId="bfb84a7f-f393-43f0-840f-80c362df9247" providerId="ADAL" clId="{D98D1D94-E5EF-4A5F-8B22-D2A92A3A93DC}" dt="2023-11-07T05:33:10.072" v="6637" actId="478"/>
          <ac:cxnSpMkLst>
            <pc:docMk/>
            <pc:sldMk cId="2074881652" sldId="405"/>
            <ac:cxnSpMk id="15" creationId="{6B3E2CA0-1019-4BBD-2AD3-31D255FE4135}"/>
          </ac:cxnSpMkLst>
        </pc:cxnChg>
        <pc:cxnChg chg="add del mod">
          <ac:chgData name="Roy Chowdhury, Ritwik" userId="bfb84a7f-f393-43f0-840f-80c362df9247" providerId="ADAL" clId="{D98D1D94-E5EF-4A5F-8B22-D2A92A3A93DC}" dt="2023-11-07T05:33:07.248" v="6636" actId="478"/>
          <ac:cxnSpMkLst>
            <pc:docMk/>
            <pc:sldMk cId="2074881652" sldId="405"/>
            <ac:cxnSpMk id="17" creationId="{6EC97D4C-65C9-3BC5-B3A9-B7D3369C8FA4}"/>
          </ac:cxnSpMkLst>
        </pc:cxnChg>
        <pc:cxnChg chg="add mod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21" creationId="{A54CE9E8-CC07-11B5-5D72-900FB7359E84}"/>
          </ac:cxnSpMkLst>
        </pc:cxnChg>
        <pc:cxnChg chg="add mod topLvl">
          <ac:chgData name="Roy Chowdhury, Ritwik" userId="bfb84a7f-f393-43f0-840f-80c362df9247" providerId="ADAL" clId="{D98D1D94-E5EF-4A5F-8B22-D2A92A3A93DC}" dt="2023-11-07T06:00:31.870" v="6832" actId="1076"/>
          <ac:cxnSpMkLst>
            <pc:docMk/>
            <pc:sldMk cId="2074881652" sldId="405"/>
            <ac:cxnSpMk id="29" creationId="{07ADB419-06B5-1D27-4EA0-58E9BFB4615A}"/>
          </ac:cxnSpMkLst>
        </pc:cxnChg>
      </pc:sldChg>
      <pc:sldChg chg="modNotesTx">
        <pc:chgData name="Roy Chowdhury, Ritwik" userId="bfb84a7f-f393-43f0-840f-80c362df9247" providerId="ADAL" clId="{D98D1D94-E5EF-4A5F-8B22-D2A92A3A93DC}" dt="2023-11-07T22:48:24.750" v="8668" actId="20577"/>
        <pc:sldMkLst>
          <pc:docMk/>
          <pc:sldMk cId="3220425090" sldId="412"/>
        </pc:sldMkLst>
      </pc:sldChg>
      <pc:sldChg chg="modSp mod">
        <pc:chgData name="Roy Chowdhury, Ritwik" userId="bfb84a7f-f393-43f0-840f-80c362df9247" providerId="ADAL" clId="{D98D1D94-E5EF-4A5F-8B22-D2A92A3A93DC}" dt="2023-11-08T22:10:51.688" v="12437" actId="207"/>
        <pc:sldMkLst>
          <pc:docMk/>
          <pc:sldMk cId="3290693362" sldId="428"/>
        </pc:sldMkLst>
        <pc:graphicFrameChg chg="mod modGraphic">
          <ac:chgData name="Roy Chowdhury, Ritwik" userId="bfb84a7f-f393-43f0-840f-80c362df9247" providerId="ADAL" clId="{D98D1D94-E5EF-4A5F-8B22-D2A92A3A93DC}" dt="2023-11-08T22:10:51.688" v="12437" actId="207"/>
          <ac:graphicFrameMkLst>
            <pc:docMk/>
            <pc:sldMk cId="3290693362" sldId="428"/>
            <ac:graphicFrameMk id="2" creationId="{EB0964D0-F261-0707-96A1-4E835F96F826}"/>
          </ac:graphicFrameMkLst>
        </pc:graphicFrameChg>
      </pc:sldChg>
      <pc:sldChg chg="modSp mod">
        <pc:chgData name="Roy Chowdhury, Ritwik" userId="bfb84a7f-f393-43f0-840f-80c362df9247" providerId="ADAL" clId="{D98D1D94-E5EF-4A5F-8B22-D2A92A3A93DC}" dt="2023-11-08T22:08:21.568" v="12384" actId="207"/>
        <pc:sldMkLst>
          <pc:docMk/>
          <pc:sldMk cId="2084510560" sldId="434"/>
        </pc:sldMkLst>
        <pc:graphicFrameChg chg="mod modGraphic">
          <ac:chgData name="Roy Chowdhury, Ritwik" userId="bfb84a7f-f393-43f0-840f-80c362df9247" providerId="ADAL" clId="{D98D1D94-E5EF-4A5F-8B22-D2A92A3A93DC}" dt="2023-11-08T22:08:21.568" v="12384" actId="207"/>
          <ac:graphicFrameMkLst>
            <pc:docMk/>
            <pc:sldMk cId="2084510560" sldId="434"/>
            <ac:graphicFrameMk id="3" creationId="{DF96594D-CAD9-9C59-D531-8C01290DDEEA}"/>
          </ac:graphicFrameMkLst>
        </pc:graphicFrameChg>
      </pc:sldChg>
      <pc:sldChg chg="modSp mod">
        <pc:chgData name="Roy Chowdhury, Ritwik" userId="bfb84a7f-f393-43f0-840f-80c362df9247" providerId="ADAL" clId="{D98D1D94-E5EF-4A5F-8B22-D2A92A3A93DC}" dt="2023-11-08T22:07:37.207" v="12381" actId="207"/>
        <pc:sldMkLst>
          <pc:docMk/>
          <pc:sldMk cId="4287056248" sldId="437"/>
        </pc:sldMkLst>
        <pc:spChg chg="mod">
          <ac:chgData name="Roy Chowdhury, Ritwik" userId="bfb84a7f-f393-43f0-840f-80c362df9247" providerId="ADAL" clId="{D98D1D94-E5EF-4A5F-8B22-D2A92A3A93DC}" dt="2023-11-08T21:08:11.794" v="12029" actId="404"/>
          <ac:spMkLst>
            <pc:docMk/>
            <pc:sldMk cId="4287056248" sldId="437"/>
            <ac:spMk id="13" creationId="{C73CF0D1-F8CB-B225-F277-DFC0BEC3F111}"/>
          </ac:spMkLst>
        </pc:spChg>
        <pc:graphicFrameChg chg="mod modGraphic">
          <ac:chgData name="Roy Chowdhury, Ritwik" userId="bfb84a7f-f393-43f0-840f-80c362df9247" providerId="ADAL" clId="{D98D1D94-E5EF-4A5F-8B22-D2A92A3A93DC}" dt="2023-11-08T22:07:37.207" v="12381" actId="207"/>
          <ac:graphicFrameMkLst>
            <pc:docMk/>
            <pc:sldMk cId="4287056248" sldId="437"/>
            <ac:graphicFrameMk id="3" creationId="{B604447E-CDB2-16E2-1900-C1D8C261E548}"/>
          </ac:graphicFrameMkLst>
        </pc:graphicFrameChg>
      </pc:sldChg>
      <pc:sldChg chg="modSp mod">
        <pc:chgData name="Roy Chowdhury, Ritwik" userId="bfb84a7f-f393-43f0-840f-80c362df9247" providerId="ADAL" clId="{D98D1D94-E5EF-4A5F-8B22-D2A92A3A93DC}" dt="2023-11-08T22:07:06.063" v="12376"/>
        <pc:sldMkLst>
          <pc:docMk/>
          <pc:sldMk cId="437343606" sldId="438"/>
        </pc:sldMkLst>
        <pc:graphicFrameChg chg="mod modGraphic">
          <ac:chgData name="Roy Chowdhury, Ritwik" userId="bfb84a7f-f393-43f0-840f-80c362df9247" providerId="ADAL" clId="{D98D1D94-E5EF-4A5F-8B22-D2A92A3A93DC}" dt="2023-11-08T22:07:06.063" v="12376"/>
          <ac:graphicFrameMkLst>
            <pc:docMk/>
            <pc:sldMk cId="437343606" sldId="438"/>
            <ac:graphicFrameMk id="2" creationId="{F2AB7348-CC4F-6283-C070-BAA546EEAA9F}"/>
          </ac:graphicFrameMkLst>
        </pc:graphicFrameChg>
      </pc:sldChg>
      <pc:sldChg chg="modNotesTx">
        <pc:chgData name="Roy Chowdhury, Ritwik" userId="bfb84a7f-f393-43f0-840f-80c362df9247" providerId="ADAL" clId="{D98D1D94-E5EF-4A5F-8B22-D2A92A3A93DC}" dt="2023-11-08T22:22:56.752" v="12466" actId="20577"/>
        <pc:sldMkLst>
          <pc:docMk/>
          <pc:sldMk cId="745781653" sldId="440"/>
        </pc:sldMkLst>
      </pc:sldChg>
      <pc:sldChg chg="modNotesTx">
        <pc:chgData name="Roy Chowdhury, Ritwik" userId="bfb84a7f-f393-43f0-840f-80c362df9247" providerId="ADAL" clId="{D98D1D94-E5EF-4A5F-8B22-D2A92A3A93DC}" dt="2023-11-08T22:28:44.128" v="12472" actId="20577"/>
        <pc:sldMkLst>
          <pc:docMk/>
          <pc:sldMk cId="333158483" sldId="442"/>
        </pc:sldMkLst>
      </pc:sldChg>
      <pc:sldChg chg="modNotesTx">
        <pc:chgData name="Roy Chowdhury, Ritwik" userId="bfb84a7f-f393-43f0-840f-80c362df9247" providerId="ADAL" clId="{D98D1D94-E5EF-4A5F-8B22-D2A92A3A93DC}" dt="2023-11-08T22:28:47.016" v="12473" actId="20577"/>
        <pc:sldMkLst>
          <pc:docMk/>
          <pc:sldMk cId="1824581935" sldId="444"/>
        </pc:sldMkLst>
      </pc:sldChg>
      <pc:sldChg chg="modNotesTx">
        <pc:chgData name="Roy Chowdhury, Ritwik" userId="bfb84a7f-f393-43f0-840f-80c362df9247" providerId="ADAL" clId="{D98D1D94-E5EF-4A5F-8B22-D2A92A3A93DC}" dt="2023-11-08T22:29:02.537" v="12476" actId="20577"/>
        <pc:sldMkLst>
          <pc:docMk/>
          <pc:sldMk cId="3583304053" sldId="445"/>
        </pc:sldMkLst>
      </pc:sldChg>
      <pc:sldChg chg="modNotesTx">
        <pc:chgData name="Roy Chowdhury, Ritwik" userId="bfb84a7f-f393-43f0-840f-80c362df9247" providerId="ADAL" clId="{D98D1D94-E5EF-4A5F-8B22-D2A92A3A93DC}" dt="2023-11-08T22:28:59.768" v="12475" actId="20577"/>
        <pc:sldMkLst>
          <pc:docMk/>
          <pc:sldMk cId="3012727066" sldId="446"/>
        </pc:sldMkLst>
      </pc:sldChg>
      <pc:sldChg chg="addSp delSp modSp add mod modAnim">
        <pc:chgData name="Roy Chowdhury, Ritwik" userId="bfb84a7f-f393-43f0-840f-80c362df9247" providerId="ADAL" clId="{D98D1D94-E5EF-4A5F-8B22-D2A92A3A93DC}" dt="2023-11-07T23:15:25.875" v="8773" actId="14100"/>
        <pc:sldMkLst>
          <pc:docMk/>
          <pc:sldMk cId="4235022131" sldId="448"/>
        </pc:sldMkLst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8" creationId="{5B62CE96-ED1A-591D-D4F0-5AB228155A3F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10" creationId="{F77C6891-6585-DA6F-9A61-2DE7896E8C4E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11" creationId="{15EF3620-B87C-7ACB-BE56-9F854F2C827A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12" creationId="{7F7194BB-2255-9D5D-CFC4-C8B1C4D7A2D5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13" creationId="{1A44893F-A9EE-FC30-5A4F-1C7DF5A5AAC6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19" creationId="{4E10AA67-B0FE-277B-3EE6-D4B20BEFC579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1" creationId="{8F160C96-1225-F4C7-F6E5-CDFE583B68D0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2" creationId="{5E735FAD-DDBD-D29A-A325-75A70E1AE55A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3" creationId="{3A0B9885-325A-2195-BADF-86D9556AF0D4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4" creationId="{167EA376-4754-98B0-9FB6-7FECE9F73B32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5" creationId="{ACC37FAE-5530-C814-7AC7-920BA924644B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6" creationId="{24BF6A8C-170A-A4C5-BCF7-4336D1882B75}"/>
          </ac:spMkLst>
        </pc:spChg>
        <pc:spChg chg="mod">
          <ac:chgData name="Roy Chowdhury, Ritwik" userId="bfb84a7f-f393-43f0-840f-80c362df9247" providerId="ADAL" clId="{D98D1D94-E5EF-4A5F-8B22-D2A92A3A93DC}" dt="2023-11-07T22:52:36.720" v="8711"/>
          <ac:spMkLst>
            <pc:docMk/>
            <pc:sldMk cId="4235022131" sldId="448"/>
            <ac:spMk id="27" creationId="{344BD1AC-1364-6FD2-A81B-9D25E3A97E6E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40" creationId="{782071CA-3CCF-57BA-7C8D-4503410CD714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41" creationId="{D7A9C616-631B-F220-1504-F76F72610211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42" creationId="{5B5CEF30-93A3-DEF5-7088-FB90E1106BEF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43" creationId="{23243342-BE3E-8667-7732-A356BDAD436A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44" creationId="{7C9F17B8-EBD4-B8D2-B3E0-798A983DDA08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0" creationId="{1E47F5D5-8E4E-757F-934A-C7C77A2F7945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2" creationId="{7021436A-9A21-7622-1CB9-5CD541D146E3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3" creationId="{9F25F924-6E89-D233-4FB5-E8C282A079CD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4" creationId="{1A36F9B4-DB8F-4036-1402-6E50C7A8359D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5" creationId="{659DC7C0-5B1D-D439-1033-2749B85CAE88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6" creationId="{AADD1DED-8465-F15F-79CD-46F70558F998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7" creationId="{2CD64F87-C627-CAB6-4597-A697BB707461}"/>
          </ac:spMkLst>
        </pc:spChg>
        <pc:spChg chg="mod">
          <ac:chgData name="Roy Chowdhury, Ritwik" userId="bfb84a7f-f393-43f0-840f-80c362df9247" providerId="ADAL" clId="{D98D1D94-E5EF-4A5F-8B22-D2A92A3A93DC}" dt="2023-11-07T23:13:44.296" v="8761" actId="165"/>
          <ac:spMkLst>
            <pc:docMk/>
            <pc:sldMk cId="4235022131" sldId="448"/>
            <ac:spMk id="58" creationId="{4FF20F08-B4A6-CA2B-E6DD-DAF65B1A6A09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59" creationId="{D41EE61D-4C79-A2A3-BEEF-B88F188F900A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60" creationId="{9DB32F50-AB16-477E-7256-61A53F375766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61" creationId="{EB5943D3-38FA-09C3-28A3-8875BE9B60BA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62" creationId="{54A0D962-33B8-8D04-1670-250E97C0984F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63" creationId="{8D8EDFE2-5A6F-1889-AB12-B13FC874D4B4}"/>
          </ac:spMkLst>
        </pc:spChg>
        <pc:spChg chg="add del 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23" creationId="{149440DB-2FD6-9E9B-226F-91E10854C85D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24" creationId="{960B564F-14D0-D72F-DEF4-0568091A334A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25" creationId="{F9FCFBD5-9FEE-905A-1D0B-B209A0B37010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27" creationId="{ACCBAE4B-6158-2FA7-A096-91B6E9728965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33" creationId="{4DD0EA55-226D-C5C2-0445-4E8EC91322C9}"/>
          </ac:spMkLst>
        </pc:spChg>
        <pc:spChg chg="del">
          <ac:chgData name="Roy Chowdhury, Ritwik" userId="bfb84a7f-f393-43f0-840f-80c362df9247" providerId="ADAL" clId="{D98D1D94-E5EF-4A5F-8B22-D2A92A3A93DC}" dt="2023-11-07T22:52:34.241" v="8710" actId="478"/>
          <ac:spMkLst>
            <pc:docMk/>
            <pc:sldMk cId="4235022131" sldId="448"/>
            <ac:spMk id="436" creationId="{12E9C6C2-AF37-D957-662C-422FA2B9668B}"/>
          </ac:spMkLst>
        </pc:spChg>
        <pc:spChg chg="del">
          <ac:chgData name="Roy Chowdhury, Ritwik" userId="bfb84a7f-f393-43f0-840f-80c362df9247" providerId="ADAL" clId="{D98D1D94-E5EF-4A5F-8B22-D2A92A3A93DC}" dt="2023-11-07T22:51:11.486" v="8677" actId="478"/>
          <ac:spMkLst>
            <pc:docMk/>
            <pc:sldMk cId="4235022131" sldId="448"/>
            <ac:spMk id="438" creationId="{1AAAAB27-7821-2BEB-C5DE-C54705EE64E6}"/>
          </ac:spMkLst>
        </pc:spChg>
        <pc:spChg chg="del">
          <ac:chgData name="Roy Chowdhury, Ritwik" userId="bfb84a7f-f393-43f0-840f-80c362df9247" providerId="ADAL" clId="{D98D1D94-E5EF-4A5F-8B22-D2A92A3A93DC}" dt="2023-11-07T22:51:23.280" v="8678" actId="478"/>
          <ac:spMkLst>
            <pc:docMk/>
            <pc:sldMk cId="4235022131" sldId="448"/>
            <ac:spMk id="439" creationId="{484C2201-8322-B9EA-4FCA-76FA1EFFE09D}"/>
          </ac:spMkLst>
        </pc:spChg>
        <pc:spChg chg="del mod">
          <ac:chgData name="Roy Chowdhury, Ritwik" userId="bfb84a7f-f393-43f0-840f-80c362df9247" providerId="ADAL" clId="{D98D1D94-E5EF-4A5F-8B22-D2A92A3A93DC}" dt="2023-11-07T22:51:32.981" v="8684" actId="478"/>
          <ac:spMkLst>
            <pc:docMk/>
            <pc:sldMk cId="4235022131" sldId="448"/>
            <ac:spMk id="440" creationId="{EC5E42F1-5496-7AD2-1197-77ED18AF1572}"/>
          </ac:spMkLst>
        </pc:spChg>
        <pc:spChg chg="del">
          <ac:chgData name="Roy Chowdhury, Ritwik" userId="bfb84a7f-f393-43f0-840f-80c362df9247" providerId="ADAL" clId="{D98D1D94-E5EF-4A5F-8B22-D2A92A3A93DC}" dt="2023-11-07T22:52:31.458" v="8708" actId="478"/>
          <ac:spMkLst>
            <pc:docMk/>
            <pc:sldMk cId="4235022131" sldId="448"/>
            <ac:spMk id="447" creationId="{81604103-407B-B4D9-16FF-9C33AB4F8731}"/>
          </ac:spMkLst>
        </pc:spChg>
        <pc:spChg chg="del">
          <ac:chgData name="Roy Chowdhury, Ritwik" userId="bfb84a7f-f393-43f0-840f-80c362df9247" providerId="ADAL" clId="{D98D1D94-E5EF-4A5F-8B22-D2A92A3A93DC}" dt="2023-11-07T22:52:00.053" v="8700" actId="478"/>
          <ac:spMkLst>
            <pc:docMk/>
            <pc:sldMk cId="4235022131" sldId="448"/>
            <ac:spMk id="448" creationId="{1E5B9D43-156F-DF9B-F2A5-42BC3890280C}"/>
          </ac:spMkLst>
        </pc:spChg>
        <pc:spChg chg="del">
          <ac:chgData name="Roy Chowdhury, Ritwik" userId="bfb84a7f-f393-43f0-840f-80c362df9247" providerId="ADAL" clId="{D98D1D94-E5EF-4A5F-8B22-D2A92A3A93DC}" dt="2023-11-07T22:51:54.517" v="8696" actId="478"/>
          <ac:spMkLst>
            <pc:docMk/>
            <pc:sldMk cId="4235022131" sldId="448"/>
            <ac:spMk id="449" creationId="{BF30A98D-CBAE-1E2A-7122-9A897B587B5E}"/>
          </ac:spMkLst>
        </pc:spChg>
        <pc:spChg chg="del">
          <ac:chgData name="Roy Chowdhury, Ritwik" userId="bfb84a7f-f393-43f0-840f-80c362df9247" providerId="ADAL" clId="{D98D1D94-E5EF-4A5F-8B22-D2A92A3A93DC}" dt="2023-11-07T22:51:47.884" v="8693" actId="478"/>
          <ac:spMkLst>
            <pc:docMk/>
            <pc:sldMk cId="4235022131" sldId="448"/>
            <ac:spMk id="450" creationId="{B3DBBCD5-4EC9-3B63-C251-AAAD0AF42F0D}"/>
          </ac:spMkLst>
        </pc:spChg>
        <pc:spChg chg="del">
          <ac:chgData name="Roy Chowdhury, Ritwik" userId="bfb84a7f-f393-43f0-840f-80c362df9247" providerId="ADAL" clId="{D98D1D94-E5EF-4A5F-8B22-D2A92A3A93DC}" dt="2023-11-07T22:52:27.269" v="8705" actId="478"/>
          <ac:spMkLst>
            <pc:docMk/>
            <pc:sldMk cId="4235022131" sldId="448"/>
            <ac:spMk id="452" creationId="{81358E12-AD60-BCB4-ED91-2C34CC41EB1F}"/>
          </ac:spMkLst>
        </pc:spChg>
        <pc:spChg chg="del">
          <ac:chgData name="Roy Chowdhury, Ritwik" userId="bfb84a7f-f393-43f0-840f-80c362df9247" providerId="ADAL" clId="{D98D1D94-E5EF-4A5F-8B22-D2A92A3A93DC}" dt="2023-11-07T22:52:25.870" v="8704" actId="478"/>
          <ac:spMkLst>
            <pc:docMk/>
            <pc:sldMk cId="4235022131" sldId="448"/>
            <ac:spMk id="453" creationId="{5CF1A474-C156-22E3-EA9C-DAEEEA6B7030}"/>
          </ac:spMkLst>
        </pc:spChg>
        <pc:spChg chg="del">
          <ac:chgData name="Roy Chowdhury, Ritwik" userId="bfb84a7f-f393-43f0-840f-80c362df9247" providerId="ADAL" clId="{D98D1D94-E5EF-4A5F-8B22-D2A92A3A93DC}" dt="2023-11-07T22:51:42.234" v="8690" actId="478"/>
          <ac:spMkLst>
            <pc:docMk/>
            <pc:sldMk cId="4235022131" sldId="448"/>
            <ac:spMk id="454" creationId="{130B9FA9-3215-41F8-9730-D66FF78F5500}"/>
          </ac:spMkLst>
        </pc:spChg>
        <pc:spChg chg="del">
          <ac:chgData name="Roy Chowdhury, Ritwik" userId="bfb84a7f-f393-43f0-840f-80c362df9247" providerId="ADAL" clId="{D98D1D94-E5EF-4A5F-8B22-D2A92A3A93DC}" dt="2023-11-07T22:51:58.796" v="8699" actId="478"/>
          <ac:spMkLst>
            <pc:docMk/>
            <pc:sldMk cId="4235022131" sldId="448"/>
            <ac:spMk id="455" creationId="{00D77F26-CFFB-C5D4-BF2E-C1BCCEC6A394}"/>
          </ac:spMkLst>
        </pc:spChg>
        <pc:spChg chg="del">
          <ac:chgData name="Roy Chowdhury, Ritwik" userId="bfb84a7f-f393-43f0-840f-80c362df9247" providerId="ADAL" clId="{D98D1D94-E5EF-4A5F-8B22-D2A92A3A93DC}" dt="2023-11-07T22:52:06.111" v="8703" actId="478"/>
          <ac:spMkLst>
            <pc:docMk/>
            <pc:sldMk cId="4235022131" sldId="448"/>
            <ac:spMk id="456" creationId="{B8332A99-FECF-91F2-87E3-E64A4B21A145}"/>
          </ac:spMkLst>
        </pc:spChg>
        <pc:spChg chg="del">
          <ac:chgData name="Roy Chowdhury, Ritwik" userId="bfb84a7f-f393-43f0-840f-80c362df9247" providerId="ADAL" clId="{D98D1D94-E5EF-4A5F-8B22-D2A92A3A93DC}" dt="2023-11-07T22:51:52.679" v="8695" actId="478"/>
          <ac:spMkLst>
            <pc:docMk/>
            <pc:sldMk cId="4235022131" sldId="448"/>
            <ac:spMk id="457" creationId="{13CE3DD1-D969-2058-EB9A-D053C04921B2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463" creationId="{037E5773-C25E-E3FB-C159-C272B9D74291}"/>
          </ac:spMkLst>
        </pc:spChg>
        <pc:spChg chg="del">
          <ac:chgData name="Roy Chowdhury, Ritwik" userId="bfb84a7f-f393-43f0-840f-80c362df9247" providerId="ADAL" clId="{D98D1D94-E5EF-4A5F-8B22-D2A92A3A93DC}" dt="2023-11-07T22:51:04.131" v="8672" actId="478"/>
          <ac:spMkLst>
            <pc:docMk/>
            <pc:sldMk cId="4235022131" sldId="448"/>
            <ac:spMk id="464" creationId="{D489C6E7-AAD7-10A9-EE68-218C778E067D}"/>
          </ac:spMkLst>
        </pc:spChg>
        <pc:spChg chg="del">
          <ac:chgData name="Roy Chowdhury, Ritwik" userId="bfb84a7f-f393-43f0-840f-80c362df9247" providerId="ADAL" clId="{D98D1D94-E5EF-4A5F-8B22-D2A92A3A93DC}" dt="2023-11-07T22:51:40.989" v="8689" actId="478"/>
          <ac:spMkLst>
            <pc:docMk/>
            <pc:sldMk cId="4235022131" sldId="448"/>
            <ac:spMk id="466" creationId="{B622E691-372E-551E-2C07-2AD0E28DF2B9}"/>
          </ac:spMkLst>
        </pc:spChg>
        <pc:spChg chg="del">
          <ac:chgData name="Roy Chowdhury, Ritwik" userId="bfb84a7f-f393-43f0-840f-80c362df9247" providerId="ADAL" clId="{D98D1D94-E5EF-4A5F-8B22-D2A92A3A93DC}" dt="2023-11-07T22:51:08.507" v="8675" actId="478"/>
          <ac:spMkLst>
            <pc:docMk/>
            <pc:sldMk cId="4235022131" sldId="448"/>
            <ac:spMk id="467" creationId="{08202A21-6166-3B4E-5E0C-97F65EA95719}"/>
          </ac:spMkLst>
        </pc:spChg>
        <pc:spChg chg="del">
          <ac:chgData name="Roy Chowdhury, Ritwik" userId="bfb84a7f-f393-43f0-840f-80c362df9247" providerId="ADAL" clId="{D98D1D94-E5EF-4A5F-8B22-D2A92A3A93DC}" dt="2023-11-07T22:51:25.254" v="8680" actId="478"/>
          <ac:spMkLst>
            <pc:docMk/>
            <pc:sldMk cId="4235022131" sldId="448"/>
            <ac:spMk id="468" creationId="{8D7281D8-3B60-9891-2DA7-B8D0B3FDE8C9}"/>
          </ac:spMkLst>
        </pc:spChg>
        <pc:spChg chg="del">
          <ac:chgData name="Roy Chowdhury, Ritwik" userId="bfb84a7f-f393-43f0-840f-80c362df9247" providerId="ADAL" clId="{D98D1D94-E5EF-4A5F-8B22-D2A92A3A93DC}" dt="2023-11-07T22:52:02.951" v="8702" actId="478"/>
          <ac:spMkLst>
            <pc:docMk/>
            <pc:sldMk cId="4235022131" sldId="448"/>
            <ac:spMk id="469" creationId="{1A4D78E2-0C14-C197-D1C8-DE78C6706B9E}"/>
          </ac:spMkLst>
        </pc:spChg>
        <pc:spChg chg="del">
          <ac:chgData name="Roy Chowdhury, Ritwik" userId="bfb84a7f-f393-43f0-840f-80c362df9247" providerId="ADAL" clId="{D98D1D94-E5EF-4A5F-8B22-D2A92A3A93DC}" dt="2023-11-07T22:51:35.453" v="8686" actId="478"/>
          <ac:spMkLst>
            <pc:docMk/>
            <pc:sldMk cId="4235022131" sldId="448"/>
            <ac:spMk id="470" creationId="{B6EFA74B-8FD6-EC27-04AE-16DD555AC099}"/>
          </ac:spMkLst>
        </pc:spChg>
        <pc:spChg chg="del">
          <ac:chgData name="Roy Chowdhury, Ritwik" userId="bfb84a7f-f393-43f0-840f-80c362df9247" providerId="ADAL" clId="{D98D1D94-E5EF-4A5F-8B22-D2A92A3A93DC}" dt="2023-11-07T22:51:36.788" v="8687" actId="478"/>
          <ac:spMkLst>
            <pc:docMk/>
            <pc:sldMk cId="4235022131" sldId="448"/>
            <ac:spMk id="471" creationId="{7670B84A-D1F3-91CA-862E-AAEADF627994}"/>
          </ac:spMkLst>
        </pc:spChg>
        <pc:spChg chg="del">
          <ac:chgData name="Roy Chowdhury, Ritwik" userId="bfb84a7f-f393-43f0-840f-80c362df9247" providerId="ADAL" clId="{D98D1D94-E5EF-4A5F-8B22-D2A92A3A93DC}" dt="2023-11-07T22:51:46.145" v="8692" actId="478"/>
          <ac:spMkLst>
            <pc:docMk/>
            <pc:sldMk cId="4235022131" sldId="448"/>
            <ac:spMk id="472" creationId="{F410F8F6-5C43-D9D9-2FF7-1148B4D0201C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473" creationId="{66ECA499-D44E-E8CE-D094-70FE6137446B}"/>
          </ac:spMkLst>
        </pc:spChg>
        <pc:spChg chg="add mod">
          <ac:chgData name="Roy Chowdhury, Ritwik" userId="bfb84a7f-f393-43f0-840f-80c362df9247" providerId="ADAL" clId="{D98D1D94-E5EF-4A5F-8B22-D2A92A3A93DC}" dt="2023-11-07T23:07:25.030" v="8728" actId="20577"/>
          <ac:spMkLst>
            <pc:docMk/>
            <pc:sldMk cId="4235022131" sldId="448"/>
            <ac:spMk id="474" creationId="{741823FA-AE17-A3E7-3FE9-308AB3AA4A2B}"/>
          </ac:spMkLst>
        </pc:spChg>
        <pc:spChg chg="add mod">
          <ac:chgData name="Roy Chowdhury, Ritwik" userId="bfb84a7f-f393-43f0-840f-80c362df9247" providerId="ADAL" clId="{D98D1D94-E5EF-4A5F-8B22-D2A92A3A93DC}" dt="2023-11-07T23:06:56.694" v="8717"/>
          <ac:spMkLst>
            <pc:docMk/>
            <pc:sldMk cId="4235022131" sldId="448"/>
            <ac:spMk id="477" creationId="{2EEE7495-F73D-C4AF-4D4A-737C90A0A072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78" creationId="{CB8F8AB1-D22B-76E6-B122-0AE820DDEE58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80" creationId="{85B459A8-545D-C50D-1976-F84A66156CF0}"/>
          </ac:spMkLst>
        </pc:spChg>
        <pc:spChg chg="mod">
          <ac:chgData name="Roy Chowdhury, Ritwik" userId="bfb84a7f-f393-43f0-840f-80c362df9247" providerId="ADAL" clId="{D98D1D94-E5EF-4A5F-8B22-D2A92A3A93DC}" dt="2023-11-07T23:13:55.866" v="8762" actId="165"/>
          <ac:spMkLst>
            <pc:docMk/>
            <pc:sldMk cId="4235022131" sldId="448"/>
            <ac:spMk id="482" creationId="{AE5C8D28-2AFD-05C4-53F8-09CAA8B00A06}"/>
          </ac:spMkLst>
        </pc:spChg>
        <pc:grpChg chg="add del mod">
          <ac:chgData name="Roy Chowdhury, Ritwik" userId="bfb84a7f-f393-43f0-840f-80c362df9247" providerId="ADAL" clId="{D98D1D94-E5EF-4A5F-8B22-D2A92A3A93DC}" dt="2023-11-07T22:52:39.771" v="8712"/>
          <ac:grpSpMkLst>
            <pc:docMk/>
            <pc:sldMk cId="4235022131" sldId="448"/>
            <ac:grpSpMk id="2" creationId="{E8542F7A-52EA-223D-FF5C-084A6E309A28}"/>
          </ac:grpSpMkLst>
        </pc:grpChg>
        <pc:grpChg chg="add del mod topLvl">
          <ac:chgData name="Roy Chowdhury, Ritwik" userId="bfb84a7f-f393-43f0-840f-80c362df9247" providerId="ADAL" clId="{D98D1D94-E5EF-4A5F-8B22-D2A92A3A93DC}" dt="2023-11-07T23:14:01.473" v="8763" actId="164"/>
          <ac:grpSpMkLst>
            <pc:docMk/>
            <pc:sldMk cId="4235022131" sldId="448"/>
            <ac:grpSpMk id="4" creationId="{E0D95831-7692-B2DB-B391-1995176D6FF5}"/>
          </ac:grpSpMkLst>
        </pc:grpChg>
        <pc:grpChg chg="mod topLvl">
          <ac:chgData name="Roy Chowdhury, Ritwik" userId="bfb84a7f-f393-43f0-840f-80c362df9247" providerId="ADAL" clId="{D98D1D94-E5EF-4A5F-8B22-D2A92A3A93DC}" dt="2023-11-07T23:14:05.829" v="8764" actId="164"/>
          <ac:grpSpMkLst>
            <pc:docMk/>
            <pc:sldMk cId="4235022131" sldId="448"/>
            <ac:grpSpMk id="5" creationId="{D9D3E715-DA1B-C100-C21E-22D434C78FBD}"/>
          </ac:grpSpMkLst>
        </pc:grpChg>
        <pc:grpChg chg="mod topLvl">
          <ac:chgData name="Roy Chowdhury, Ritwik" userId="bfb84a7f-f393-43f0-840f-80c362df9247" providerId="ADAL" clId="{D98D1D94-E5EF-4A5F-8B22-D2A92A3A93DC}" dt="2023-11-07T23:14:09.972" v="8765" actId="164"/>
          <ac:grpSpMkLst>
            <pc:docMk/>
            <pc:sldMk cId="4235022131" sldId="448"/>
            <ac:grpSpMk id="6" creationId="{52E44102-7CB3-EAA3-E895-E747231EAFA8}"/>
          </ac:grpSpMkLst>
        </pc:grpChg>
        <pc:grpChg chg="del mod topLvl">
          <ac:chgData name="Roy Chowdhury, Ritwik" userId="bfb84a7f-f393-43f0-840f-80c362df9247" providerId="ADAL" clId="{D98D1D94-E5EF-4A5F-8B22-D2A92A3A93DC}" dt="2023-11-07T23:13:55.866" v="8762" actId="165"/>
          <ac:grpSpMkLst>
            <pc:docMk/>
            <pc:sldMk cId="4235022131" sldId="448"/>
            <ac:grpSpMk id="7" creationId="{C9072F9C-500B-8E76-16E3-C2129D6D41E0}"/>
          </ac:grpSpMkLst>
        </pc:grpChg>
        <pc:grpChg chg="add del mod topLvl">
          <ac:chgData name="Roy Chowdhury, Ritwik" userId="bfb84a7f-f393-43f0-840f-80c362df9247" providerId="ADAL" clId="{D98D1D94-E5EF-4A5F-8B22-D2A92A3A93DC}" dt="2023-11-07T23:13:44.296" v="8761" actId="165"/>
          <ac:grpSpMkLst>
            <pc:docMk/>
            <pc:sldMk cId="4235022131" sldId="448"/>
            <ac:grpSpMk id="9" creationId="{885D8987-C5E3-9F89-36C0-644961712F55}"/>
          </ac:grpSpMkLst>
        </pc:grpChg>
        <pc:grpChg chg="mod">
          <ac:chgData name="Roy Chowdhury, Ritwik" userId="bfb84a7f-f393-43f0-840f-80c362df9247" providerId="ADAL" clId="{D98D1D94-E5EF-4A5F-8B22-D2A92A3A93DC}" dt="2023-11-07T22:52:36.720" v="8711"/>
          <ac:grpSpMkLst>
            <pc:docMk/>
            <pc:sldMk cId="4235022131" sldId="448"/>
            <ac:grpSpMk id="14" creationId="{9B03AC46-ED08-678F-E899-4A37D4B86E89}"/>
          </ac:grpSpMkLst>
        </pc:grpChg>
        <pc:grpChg chg="mod">
          <ac:chgData name="Roy Chowdhury, Ritwik" userId="bfb84a7f-f393-43f0-840f-80c362df9247" providerId="ADAL" clId="{D98D1D94-E5EF-4A5F-8B22-D2A92A3A93DC}" dt="2023-11-07T22:52:36.720" v="8711"/>
          <ac:grpSpMkLst>
            <pc:docMk/>
            <pc:sldMk cId="4235022131" sldId="448"/>
            <ac:grpSpMk id="20" creationId="{A950AC5E-E8F5-60DF-9D54-A58300AD5125}"/>
          </ac:grpSpMkLst>
        </pc:grpChg>
        <pc:grpChg chg="add del mod">
          <ac:chgData name="Roy Chowdhury, Ritwik" userId="bfb84a7f-f393-43f0-840f-80c362df9247" providerId="ADAL" clId="{D98D1D94-E5EF-4A5F-8B22-D2A92A3A93DC}" dt="2023-11-07T23:13:44.296" v="8761" actId="165"/>
          <ac:grpSpMkLst>
            <pc:docMk/>
            <pc:sldMk cId="4235022131" sldId="448"/>
            <ac:grpSpMk id="28" creationId="{BF9C79DC-E8A1-F998-042F-CD53EDCC8616}"/>
          </ac:grpSpMkLst>
        </pc:grpChg>
        <pc:grpChg chg="mod topLvl">
          <ac:chgData name="Roy Chowdhury, Ritwik" userId="bfb84a7f-f393-43f0-840f-80c362df9247" providerId="ADAL" clId="{D98D1D94-E5EF-4A5F-8B22-D2A92A3A93DC}" dt="2023-11-07T23:13:44.296" v="8761" actId="165"/>
          <ac:grpSpMkLst>
            <pc:docMk/>
            <pc:sldMk cId="4235022131" sldId="448"/>
            <ac:grpSpMk id="31" creationId="{C300B710-489B-B738-5C1D-951B113A2C29}"/>
          </ac:grpSpMkLst>
        </pc:grpChg>
        <pc:grpChg chg="mod">
          <ac:chgData name="Roy Chowdhury, Ritwik" userId="bfb84a7f-f393-43f0-840f-80c362df9247" providerId="ADAL" clId="{D98D1D94-E5EF-4A5F-8B22-D2A92A3A93DC}" dt="2023-11-07T23:13:44.296" v="8761" actId="165"/>
          <ac:grpSpMkLst>
            <pc:docMk/>
            <pc:sldMk cId="4235022131" sldId="448"/>
            <ac:grpSpMk id="45" creationId="{2481F984-6AF7-2611-1D51-290C1FBE324E}"/>
          </ac:grpSpMkLst>
        </pc:grpChg>
        <pc:grpChg chg="mod">
          <ac:chgData name="Roy Chowdhury, Ritwik" userId="bfb84a7f-f393-43f0-840f-80c362df9247" providerId="ADAL" clId="{D98D1D94-E5EF-4A5F-8B22-D2A92A3A93DC}" dt="2023-11-07T23:13:44.296" v="8761" actId="165"/>
          <ac:grpSpMkLst>
            <pc:docMk/>
            <pc:sldMk cId="4235022131" sldId="448"/>
            <ac:grpSpMk id="51" creationId="{9F363F61-643C-EF45-E9CA-B609D2C2802D}"/>
          </ac:grpSpMkLst>
        </pc:grpChg>
        <pc:grpChg chg="del">
          <ac:chgData name="Roy Chowdhury, Ritwik" userId="bfb84a7f-f393-43f0-840f-80c362df9247" providerId="ADAL" clId="{D98D1D94-E5EF-4A5F-8B22-D2A92A3A93DC}" dt="2023-11-07T22:52:32.897" v="8709" actId="478"/>
          <ac:grpSpMkLst>
            <pc:docMk/>
            <pc:sldMk cId="4235022131" sldId="448"/>
            <ac:grpSpMk id="428" creationId="{2C152EC9-0D4E-B986-BE11-6F44B085850E}"/>
          </ac:grpSpMkLst>
        </pc:grpChg>
        <pc:grpChg chg="del">
          <ac:chgData name="Roy Chowdhury, Ritwik" userId="bfb84a7f-f393-43f0-840f-80c362df9247" providerId="ADAL" clId="{D98D1D94-E5EF-4A5F-8B22-D2A92A3A93DC}" dt="2023-11-07T22:52:06.111" v="8703" actId="478"/>
          <ac:grpSpMkLst>
            <pc:docMk/>
            <pc:sldMk cId="4235022131" sldId="448"/>
            <ac:grpSpMk id="437" creationId="{87F00C46-202C-EDF1-117B-2FFDD61C5D97}"/>
          </ac:grpSpMkLst>
        </pc:grpChg>
        <pc:grpChg chg="del">
          <ac:chgData name="Roy Chowdhury, Ritwik" userId="bfb84a7f-f393-43f0-840f-80c362df9247" providerId="ADAL" clId="{D98D1D94-E5EF-4A5F-8B22-D2A92A3A93DC}" dt="2023-11-07T22:51:04.131" v="8672" actId="478"/>
          <ac:grpSpMkLst>
            <pc:docMk/>
            <pc:sldMk cId="4235022131" sldId="448"/>
            <ac:grpSpMk id="458" creationId="{4B287431-2A37-B246-C82D-906A8CC5BC75}"/>
          </ac:grpSpMkLst>
        </pc:grpChg>
        <pc:grpChg chg="del">
          <ac:chgData name="Roy Chowdhury, Ritwik" userId="bfb84a7f-f393-43f0-840f-80c362df9247" providerId="ADAL" clId="{D98D1D94-E5EF-4A5F-8B22-D2A92A3A93DC}" dt="2023-11-07T22:51:46.145" v="8692" actId="478"/>
          <ac:grpSpMkLst>
            <pc:docMk/>
            <pc:sldMk cId="4235022131" sldId="448"/>
            <ac:grpSpMk id="465" creationId="{3A918266-4106-A8D4-092C-195ED5494C3A}"/>
          </ac:grpSpMkLst>
        </pc:grpChg>
        <pc:grpChg chg="mod topLvl">
          <ac:chgData name="Roy Chowdhury, Ritwik" userId="bfb84a7f-f393-43f0-840f-80c362df9247" providerId="ADAL" clId="{D98D1D94-E5EF-4A5F-8B22-D2A92A3A93DC}" dt="2023-11-07T23:14:44.255" v="8769" actId="164"/>
          <ac:grpSpMkLst>
            <pc:docMk/>
            <pc:sldMk cId="4235022131" sldId="448"/>
            <ac:grpSpMk id="475" creationId="{8A32AFBF-10C1-CC2D-944A-B935F567FE58}"/>
          </ac:grpSpMkLst>
        </pc:grpChg>
        <pc:grpChg chg="add del mod">
          <ac:chgData name="Roy Chowdhury, Ritwik" userId="bfb84a7f-f393-43f0-840f-80c362df9247" providerId="ADAL" clId="{D98D1D94-E5EF-4A5F-8B22-D2A92A3A93DC}" dt="2023-11-07T23:13:22.013" v="8760" actId="165"/>
          <ac:grpSpMkLst>
            <pc:docMk/>
            <pc:sldMk cId="4235022131" sldId="448"/>
            <ac:grpSpMk id="484" creationId="{7994A341-B644-4861-FAEC-416DA1A8E186}"/>
          </ac:grpSpMkLst>
        </pc:grpChg>
        <pc:grpChg chg="add mod">
          <ac:chgData name="Roy Chowdhury, Ritwik" userId="bfb84a7f-f393-43f0-840f-80c362df9247" providerId="ADAL" clId="{D98D1D94-E5EF-4A5F-8B22-D2A92A3A93DC}" dt="2023-11-07T23:15:20.275" v="8772" actId="14100"/>
          <ac:grpSpMkLst>
            <pc:docMk/>
            <pc:sldMk cId="4235022131" sldId="448"/>
            <ac:grpSpMk id="485" creationId="{FB644C49-DC7B-231E-551E-8DF4A4332FDB}"/>
          </ac:grpSpMkLst>
        </pc:grpChg>
        <pc:grpChg chg="add mod">
          <ac:chgData name="Roy Chowdhury, Ritwik" userId="bfb84a7f-f393-43f0-840f-80c362df9247" providerId="ADAL" clId="{D98D1D94-E5EF-4A5F-8B22-D2A92A3A93DC}" dt="2023-11-07T23:15:25.875" v="8773" actId="14100"/>
          <ac:grpSpMkLst>
            <pc:docMk/>
            <pc:sldMk cId="4235022131" sldId="448"/>
            <ac:grpSpMk id="486" creationId="{ED7240FF-C87B-E388-82FA-1D070A283227}"/>
          </ac:grpSpMkLst>
        </pc:grpChg>
        <pc:grpChg chg="add mod">
          <ac:chgData name="Roy Chowdhury, Ritwik" userId="bfb84a7f-f393-43f0-840f-80c362df9247" providerId="ADAL" clId="{D98D1D94-E5EF-4A5F-8B22-D2A92A3A93DC}" dt="2023-11-07T23:14:09.972" v="8765" actId="164"/>
          <ac:grpSpMkLst>
            <pc:docMk/>
            <pc:sldMk cId="4235022131" sldId="448"/>
            <ac:grpSpMk id="487" creationId="{4C2565CA-9EBF-51D9-8066-66BAD42348DF}"/>
          </ac:grpSpMkLst>
        </pc:grpChg>
        <pc:grpChg chg="add mod">
          <ac:chgData name="Roy Chowdhury, Ritwik" userId="bfb84a7f-f393-43f0-840f-80c362df9247" providerId="ADAL" clId="{D98D1D94-E5EF-4A5F-8B22-D2A92A3A93DC}" dt="2023-11-07T23:14:44.255" v="8769" actId="164"/>
          <ac:grpSpMkLst>
            <pc:docMk/>
            <pc:sldMk cId="4235022131" sldId="448"/>
            <ac:grpSpMk id="488" creationId="{AF1E515C-DB93-BF46-3C8F-E0B6142AE44C}"/>
          </ac:grpSpMkLst>
        </pc:grpChg>
        <pc:picChg chg="del">
          <ac:chgData name="Roy Chowdhury, Ritwik" userId="bfb84a7f-f393-43f0-840f-80c362df9247" providerId="ADAL" clId="{D98D1D94-E5EF-4A5F-8B22-D2A92A3A93DC}" dt="2023-11-07T22:51:43.503" v="8691" actId="478"/>
          <ac:picMkLst>
            <pc:docMk/>
            <pc:sldMk cId="4235022131" sldId="448"/>
            <ac:picMk id="3" creationId="{D08BC696-063D-FF90-CE1D-8C32A26000C7}"/>
          </ac:picMkLst>
        </pc:picChg>
        <pc:picChg chg="mod">
          <ac:chgData name="Roy Chowdhury, Ritwik" userId="bfb84a7f-f393-43f0-840f-80c362df9247" providerId="ADAL" clId="{D98D1D94-E5EF-4A5F-8B22-D2A92A3A93DC}" dt="2023-11-07T22:52:36.720" v="8711"/>
          <ac:picMkLst>
            <pc:docMk/>
            <pc:sldMk cId="4235022131" sldId="448"/>
            <ac:picMk id="15" creationId="{9643DC5E-7103-F919-7E26-1E576CE45E68}"/>
          </ac:picMkLst>
        </pc:picChg>
        <pc:picChg chg="mod">
          <ac:chgData name="Roy Chowdhury, Ritwik" userId="bfb84a7f-f393-43f0-840f-80c362df9247" providerId="ADAL" clId="{D98D1D94-E5EF-4A5F-8B22-D2A92A3A93DC}" dt="2023-11-07T22:52:36.720" v="8711"/>
          <ac:picMkLst>
            <pc:docMk/>
            <pc:sldMk cId="4235022131" sldId="448"/>
            <ac:picMk id="16" creationId="{027325F8-86CD-F168-DFDA-7FB7164A35E3}"/>
          </ac:picMkLst>
        </pc:picChg>
        <pc:picChg chg="mod">
          <ac:chgData name="Roy Chowdhury, Ritwik" userId="bfb84a7f-f393-43f0-840f-80c362df9247" providerId="ADAL" clId="{D98D1D94-E5EF-4A5F-8B22-D2A92A3A93DC}" dt="2023-11-07T22:52:36.720" v="8711"/>
          <ac:picMkLst>
            <pc:docMk/>
            <pc:sldMk cId="4235022131" sldId="448"/>
            <ac:picMk id="17" creationId="{3EBBBEF3-17D4-9554-0302-9A75FB2C8A2C}"/>
          </ac:picMkLst>
        </pc:picChg>
        <pc:picChg chg="mod">
          <ac:chgData name="Roy Chowdhury, Ritwik" userId="bfb84a7f-f393-43f0-840f-80c362df9247" providerId="ADAL" clId="{D98D1D94-E5EF-4A5F-8B22-D2A92A3A93DC}" dt="2023-11-07T22:52:36.720" v="8711"/>
          <ac:picMkLst>
            <pc:docMk/>
            <pc:sldMk cId="4235022131" sldId="448"/>
            <ac:picMk id="18" creationId="{A6F76EF8-E244-AC59-35E5-03105C62EEFE}"/>
          </ac:picMkLst>
        </pc:picChg>
        <pc:picChg chg="mod topLvl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29" creationId="{54EB5AA4-32BD-E082-A4A9-8B393E50ACEE}"/>
          </ac:picMkLst>
        </pc:picChg>
        <pc:picChg chg="mod topLvl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38" creationId="{AE6A6588-BDB6-4F23-5E6C-4E8661CFD736}"/>
          </ac:picMkLst>
        </pc:picChg>
        <pc:picChg chg="mod topLvl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39" creationId="{9B336208-D5E3-23DB-CAF3-66CB3C82F338}"/>
          </ac:picMkLst>
        </pc:picChg>
        <pc:picChg chg="mod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46" creationId="{A9D7DFCD-7279-59B7-8B7E-146AFD352844}"/>
          </ac:picMkLst>
        </pc:picChg>
        <pc:picChg chg="mod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47" creationId="{FD503E09-106C-3852-1774-D4FC51A64873}"/>
          </ac:picMkLst>
        </pc:picChg>
        <pc:picChg chg="mod">
          <ac:chgData name="Roy Chowdhury, Ritwik" userId="bfb84a7f-f393-43f0-840f-80c362df9247" providerId="ADAL" clId="{D98D1D94-E5EF-4A5F-8B22-D2A92A3A93DC}" dt="2023-11-07T23:13:44.296" v="8761" actId="165"/>
          <ac:picMkLst>
            <pc:docMk/>
            <pc:sldMk cId="4235022131" sldId="448"/>
            <ac:picMk id="48" creationId="{1C47A051-E477-51F6-781A-ABA19A531953}"/>
          </ac:picMkLst>
        </pc:picChg>
        <pc:picChg chg="del mod">
          <ac:chgData name="Roy Chowdhury, Ritwik" userId="bfb84a7f-f393-43f0-840f-80c362df9247" providerId="ADAL" clId="{D98D1D94-E5EF-4A5F-8B22-D2A92A3A93DC}" dt="2023-11-07T23:07:10.888" v="8718" actId="478"/>
          <ac:picMkLst>
            <pc:docMk/>
            <pc:sldMk cId="4235022131" sldId="448"/>
            <ac:picMk id="49" creationId="{0D5916B4-8A6E-33F4-8A74-4C54E6B3C712}"/>
          </ac:picMkLst>
        </pc:picChg>
        <pc:picChg chg="del">
          <ac:chgData name="Roy Chowdhury, Ritwik" userId="bfb84a7f-f393-43f0-840f-80c362df9247" providerId="ADAL" clId="{D98D1D94-E5EF-4A5F-8B22-D2A92A3A93DC}" dt="2023-11-07T22:52:00.986" v="8701" actId="478"/>
          <ac:picMkLst>
            <pc:docMk/>
            <pc:sldMk cId="4235022131" sldId="448"/>
            <ac:picMk id="451" creationId="{1262260D-ABEF-DAF7-9476-CD32DDEDE396}"/>
          </ac:picMkLst>
        </pc:picChg>
        <pc:picChg chg="del">
          <ac:chgData name="Roy Chowdhury, Ritwik" userId="bfb84a7f-f393-43f0-840f-80c362df9247" providerId="ADAL" clId="{D98D1D94-E5EF-4A5F-8B22-D2A92A3A93DC}" dt="2023-11-07T22:51:10.010" v="8676" actId="478"/>
          <ac:picMkLst>
            <pc:docMk/>
            <pc:sldMk cId="4235022131" sldId="448"/>
            <ac:picMk id="459" creationId="{C951DB81-4450-3EB6-436F-A70ADE9A4DEA}"/>
          </ac:picMkLst>
        </pc:picChg>
        <pc:picChg chg="del">
          <ac:chgData name="Roy Chowdhury, Ritwik" userId="bfb84a7f-f393-43f0-840f-80c362df9247" providerId="ADAL" clId="{D98D1D94-E5EF-4A5F-8B22-D2A92A3A93DC}" dt="2023-11-07T22:51:23.280" v="8678" actId="478"/>
          <ac:picMkLst>
            <pc:docMk/>
            <pc:sldMk cId="4235022131" sldId="448"/>
            <ac:picMk id="460" creationId="{70C5B48C-826F-6EF8-38E4-D073FCAF8A8D}"/>
          </ac:picMkLst>
        </pc:picChg>
        <pc:picChg chg="del">
          <ac:chgData name="Roy Chowdhury, Ritwik" userId="bfb84a7f-f393-43f0-840f-80c362df9247" providerId="ADAL" clId="{D98D1D94-E5EF-4A5F-8B22-D2A92A3A93DC}" dt="2023-11-07T22:51:34.253" v="8685" actId="478"/>
          <ac:picMkLst>
            <pc:docMk/>
            <pc:sldMk cId="4235022131" sldId="448"/>
            <ac:picMk id="461" creationId="{738DA000-053F-7F70-17C4-432A1F11CA92}"/>
          </ac:picMkLst>
        </pc:picChg>
        <pc:picChg chg="del">
          <ac:chgData name="Roy Chowdhury, Ritwik" userId="bfb84a7f-f393-43f0-840f-80c362df9247" providerId="ADAL" clId="{D98D1D94-E5EF-4A5F-8B22-D2A92A3A93DC}" dt="2023-11-07T22:51:39.471" v="8688" actId="478"/>
          <ac:picMkLst>
            <pc:docMk/>
            <pc:sldMk cId="4235022131" sldId="448"/>
            <ac:picMk id="462" creationId="{586F270A-C96D-BD2E-3940-2132A426C548}"/>
          </ac:picMkLst>
        </pc:picChg>
        <pc:picChg chg="add mod">
          <ac:chgData name="Roy Chowdhury, Ritwik" userId="bfb84a7f-f393-43f0-840f-80c362df9247" providerId="ADAL" clId="{D98D1D94-E5EF-4A5F-8B22-D2A92A3A93DC}" dt="2023-11-07T23:07:14.471" v="8720" actId="1076"/>
          <ac:picMkLst>
            <pc:docMk/>
            <pc:sldMk cId="4235022131" sldId="448"/>
            <ac:picMk id="483" creationId="{FC5F8B81-330D-75F6-C393-D4FF9B25ECF3}"/>
          </ac:picMkLst>
        </pc:pic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0" creationId="{CBBAD8D3-024A-892B-F4F4-1F1F45C4825D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2" creationId="{6C576FA6-FE0F-8EE5-C1A3-520183459366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3" creationId="{54935378-F6E9-79F2-235C-25BE1E8276A6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4" creationId="{1909D5E8-D1A9-4E51-B127-28FDE983363B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5" creationId="{453D35A9-46E9-DF3A-4288-54EDE4AC7B39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6" creationId="{A2DC0D10-F4C7-E7CB-16B5-5AC23DA02C2A}"/>
          </ac:cxnSpMkLst>
        </pc:cxnChg>
        <pc:cxnChg chg="mod topLvl">
          <ac:chgData name="Roy Chowdhury, Ritwik" userId="bfb84a7f-f393-43f0-840f-80c362df9247" providerId="ADAL" clId="{D98D1D94-E5EF-4A5F-8B22-D2A92A3A93DC}" dt="2023-11-07T23:13:44.296" v="8761" actId="165"/>
          <ac:cxnSpMkLst>
            <pc:docMk/>
            <pc:sldMk cId="4235022131" sldId="448"/>
            <ac:cxnSpMk id="37" creationId="{A319DE48-C40B-4879-C058-49C0A5289B0E}"/>
          </ac:cxnSpMkLst>
        </pc:cxnChg>
        <pc:cxnChg chg="mod topLvl">
          <ac:chgData name="Roy Chowdhury, Ritwik" userId="bfb84a7f-f393-43f0-840f-80c362df9247" providerId="ADAL" clId="{D98D1D94-E5EF-4A5F-8B22-D2A92A3A93DC}" dt="2023-11-07T23:14:44.255" v="8769" actId="164"/>
          <ac:cxnSpMkLst>
            <pc:docMk/>
            <pc:sldMk cId="4235022131" sldId="448"/>
            <ac:cxnSpMk id="435" creationId="{4730823D-42D1-CFDD-15BE-4FDE66848197}"/>
          </ac:cxnSpMkLst>
        </pc:cxnChg>
        <pc:cxnChg chg="del">
          <ac:chgData name="Roy Chowdhury, Ritwik" userId="bfb84a7f-f393-43f0-840f-80c362df9247" providerId="ADAL" clId="{D98D1D94-E5EF-4A5F-8B22-D2A92A3A93DC}" dt="2023-11-07T22:52:32.897" v="8709" actId="478"/>
          <ac:cxnSpMkLst>
            <pc:docMk/>
            <pc:sldMk cId="4235022131" sldId="448"/>
            <ac:cxnSpMk id="441" creationId="{7C5EF178-1677-A134-1A78-9D955C0A087C}"/>
          </ac:cxnSpMkLst>
        </pc:cxnChg>
        <pc:cxnChg chg="del">
          <ac:chgData name="Roy Chowdhury, Ritwik" userId="bfb84a7f-f393-43f0-840f-80c362df9247" providerId="ADAL" clId="{D98D1D94-E5EF-4A5F-8B22-D2A92A3A93DC}" dt="2023-11-07T22:52:30.220" v="8707" actId="478"/>
          <ac:cxnSpMkLst>
            <pc:docMk/>
            <pc:sldMk cId="4235022131" sldId="448"/>
            <ac:cxnSpMk id="442" creationId="{376492FC-5957-454C-DD5B-CAEDDB3B033E}"/>
          </ac:cxnSpMkLst>
        </pc:cxnChg>
        <pc:cxnChg chg="del">
          <ac:chgData name="Roy Chowdhury, Ritwik" userId="bfb84a7f-f393-43f0-840f-80c362df9247" providerId="ADAL" clId="{D98D1D94-E5EF-4A5F-8B22-D2A92A3A93DC}" dt="2023-11-07T22:52:28.472" v="8706" actId="478"/>
          <ac:cxnSpMkLst>
            <pc:docMk/>
            <pc:sldMk cId="4235022131" sldId="448"/>
            <ac:cxnSpMk id="443" creationId="{FD37DF63-F8FC-BD75-410C-9A220A99146E}"/>
          </ac:cxnSpMkLst>
        </pc:cxnChg>
        <pc:cxnChg chg="del">
          <ac:chgData name="Roy Chowdhury, Ritwik" userId="bfb84a7f-f393-43f0-840f-80c362df9247" providerId="ADAL" clId="{D98D1D94-E5EF-4A5F-8B22-D2A92A3A93DC}" dt="2023-11-07T22:51:57.588" v="8698" actId="478"/>
          <ac:cxnSpMkLst>
            <pc:docMk/>
            <pc:sldMk cId="4235022131" sldId="448"/>
            <ac:cxnSpMk id="444" creationId="{E8335308-AE80-1993-F4C4-6BFB2C362E9B}"/>
          </ac:cxnSpMkLst>
        </pc:cxnChg>
        <pc:cxnChg chg="del">
          <ac:chgData name="Roy Chowdhury, Ritwik" userId="bfb84a7f-f393-43f0-840f-80c362df9247" providerId="ADAL" clId="{D98D1D94-E5EF-4A5F-8B22-D2A92A3A93DC}" dt="2023-11-07T22:51:55.805" v="8697" actId="478"/>
          <ac:cxnSpMkLst>
            <pc:docMk/>
            <pc:sldMk cId="4235022131" sldId="448"/>
            <ac:cxnSpMk id="445" creationId="{4EAF7784-CBFB-BEA2-A30F-C7FDE8D36DF6}"/>
          </ac:cxnSpMkLst>
        </pc:cxnChg>
        <pc:cxnChg chg="del">
          <ac:chgData name="Roy Chowdhury, Ritwik" userId="bfb84a7f-f393-43f0-840f-80c362df9247" providerId="ADAL" clId="{D98D1D94-E5EF-4A5F-8B22-D2A92A3A93DC}" dt="2023-11-07T22:51:49.351" v="8694" actId="478"/>
          <ac:cxnSpMkLst>
            <pc:docMk/>
            <pc:sldMk cId="4235022131" sldId="448"/>
            <ac:cxnSpMk id="446" creationId="{25B0FE2E-7CEE-2F26-4994-C20DC22A5916}"/>
          </ac:cxnSpMkLst>
        </pc:cxnChg>
        <pc:cxnChg chg="mod topLvl">
          <ac:chgData name="Roy Chowdhury, Ritwik" userId="bfb84a7f-f393-43f0-840f-80c362df9247" providerId="ADAL" clId="{D98D1D94-E5EF-4A5F-8B22-D2A92A3A93DC}" dt="2023-11-07T23:14:01.473" v="8763" actId="164"/>
          <ac:cxnSpMkLst>
            <pc:docMk/>
            <pc:sldMk cId="4235022131" sldId="448"/>
            <ac:cxnSpMk id="476" creationId="{64AEB822-099A-570D-48D9-91F696790A41}"/>
          </ac:cxnSpMkLst>
        </pc:cxnChg>
        <pc:cxnChg chg="mod topLvl">
          <ac:chgData name="Roy Chowdhury, Ritwik" userId="bfb84a7f-f393-43f0-840f-80c362df9247" providerId="ADAL" clId="{D98D1D94-E5EF-4A5F-8B22-D2A92A3A93DC}" dt="2023-11-07T23:14:05.829" v="8764" actId="164"/>
          <ac:cxnSpMkLst>
            <pc:docMk/>
            <pc:sldMk cId="4235022131" sldId="448"/>
            <ac:cxnSpMk id="479" creationId="{2427C19F-3B02-7746-A7BA-CC3B2617E9EF}"/>
          </ac:cxnSpMkLst>
        </pc:cxnChg>
        <pc:cxnChg chg="mod topLvl">
          <ac:chgData name="Roy Chowdhury, Ritwik" userId="bfb84a7f-f393-43f0-840f-80c362df9247" providerId="ADAL" clId="{D98D1D94-E5EF-4A5F-8B22-D2A92A3A93DC}" dt="2023-11-07T23:14:09.972" v="8765" actId="164"/>
          <ac:cxnSpMkLst>
            <pc:docMk/>
            <pc:sldMk cId="4235022131" sldId="448"/>
            <ac:cxnSpMk id="481" creationId="{D29B9386-EFAB-E5B0-AC62-4B723945F9CB}"/>
          </ac:cxnSpMkLst>
        </pc:cxnChg>
      </pc:sldChg>
      <pc:sldChg chg="addSp delSp modSp add del mod modClrScheme chgLayout">
        <pc:chgData name="Roy Chowdhury, Ritwik" userId="bfb84a7f-f393-43f0-840f-80c362df9247" providerId="ADAL" clId="{D98D1D94-E5EF-4A5F-8B22-D2A92A3A93DC}" dt="2023-11-08T01:13:56.226" v="10883" actId="2696"/>
        <pc:sldMkLst>
          <pc:docMk/>
          <pc:sldMk cId="1946926784" sldId="450"/>
        </pc:sldMkLst>
        <pc:spChg chg="del">
          <ac:chgData name="Roy Chowdhury, Ritwik" userId="bfb84a7f-f393-43f0-840f-80c362df9247" providerId="ADAL" clId="{D98D1D94-E5EF-4A5F-8B22-D2A92A3A93DC}" dt="2023-11-08T01:03:23.881" v="10796" actId="478"/>
          <ac:spMkLst>
            <pc:docMk/>
            <pc:sldMk cId="1946926784" sldId="450"/>
            <ac:spMk id="3" creationId="{8687EBA4-6BA1-4A66-B91C-3A3B7AD7F1DF}"/>
          </ac:spMkLst>
        </pc:spChg>
        <pc:spChg chg="del">
          <ac:chgData name="Roy Chowdhury, Ritwik" userId="bfb84a7f-f393-43f0-840f-80c362df9247" providerId="ADAL" clId="{D98D1D94-E5EF-4A5F-8B22-D2A92A3A93DC}" dt="2023-11-08T01:02:09.758" v="10775" actId="478"/>
          <ac:spMkLst>
            <pc:docMk/>
            <pc:sldMk cId="1946926784" sldId="450"/>
            <ac:spMk id="4" creationId="{F43AB6A8-4C0E-474E-708A-7FD68245AE61}"/>
          </ac:spMkLst>
        </pc:spChg>
        <pc:spChg chg="del">
          <ac:chgData name="Roy Chowdhury, Ritwik" userId="bfb84a7f-f393-43f0-840f-80c362df9247" providerId="ADAL" clId="{D98D1D94-E5EF-4A5F-8B22-D2A92A3A93DC}" dt="2023-11-08T01:02:14.984" v="10779" actId="478"/>
          <ac:spMkLst>
            <pc:docMk/>
            <pc:sldMk cId="1946926784" sldId="450"/>
            <ac:spMk id="5" creationId="{57C21F21-6277-1C1E-A5A6-443852588B38}"/>
          </ac:spMkLst>
        </pc:spChg>
        <pc:spChg chg="del">
          <ac:chgData name="Roy Chowdhury, Ritwik" userId="bfb84a7f-f393-43f0-840f-80c362df9247" providerId="ADAL" clId="{D98D1D94-E5EF-4A5F-8B22-D2A92A3A93DC}" dt="2023-11-08T01:02:16.238" v="10780" actId="478"/>
          <ac:spMkLst>
            <pc:docMk/>
            <pc:sldMk cId="1946926784" sldId="450"/>
            <ac:spMk id="6" creationId="{611B316A-B75E-5651-6445-3E54BF57FB32}"/>
          </ac:spMkLst>
        </pc:spChg>
        <pc:spChg chg="del">
          <ac:chgData name="Roy Chowdhury, Ritwik" userId="bfb84a7f-f393-43f0-840f-80c362df9247" providerId="ADAL" clId="{D98D1D94-E5EF-4A5F-8B22-D2A92A3A93DC}" dt="2023-11-08T01:02:16.905" v="10781" actId="478"/>
          <ac:spMkLst>
            <pc:docMk/>
            <pc:sldMk cId="1946926784" sldId="450"/>
            <ac:spMk id="7" creationId="{D07B125E-E832-8DB0-C3B6-1B56C0F78EAC}"/>
          </ac:spMkLst>
        </pc:spChg>
        <pc:spChg chg="del">
          <ac:chgData name="Roy Chowdhury, Ritwik" userId="bfb84a7f-f393-43f0-840f-80c362df9247" providerId="ADAL" clId="{D98D1D94-E5EF-4A5F-8B22-D2A92A3A93DC}" dt="2023-11-08T01:02:17.927" v="10782" actId="478"/>
          <ac:spMkLst>
            <pc:docMk/>
            <pc:sldMk cId="1946926784" sldId="450"/>
            <ac:spMk id="8" creationId="{7F6E9CA4-0156-F2A0-9DDD-D23A29189E8C}"/>
          </ac:spMkLst>
        </pc:spChg>
        <pc:spChg chg="del">
          <ac:chgData name="Roy Chowdhury, Ritwik" userId="bfb84a7f-f393-43f0-840f-80c362df9247" providerId="ADAL" clId="{D98D1D94-E5EF-4A5F-8B22-D2A92A3A93DC}" dt="2023-11-08T01:02:13.502" v="10778" actId="478"/>
          <ac:spMkLst>
            <pc:docMk/>
            <pc:sldMk cId="1946926784" sldId="450"/>
            <ac:spMk id="9" creationId="{D48B9C80-8AB1-EB4F-C2D8-70F1CB0C8A8B}"/>
          </ac:spMkLst>
        </pc:spChg>
        <pc:spChg chg="del">
          <ac:chgData name="Roy Chowdhury, Ritwik" userId="bfb84a7f-f393-43f0-840f-80c362df9247" providerId="ADAL" clId="{D98D1D94-E5EF-4A5F-8B22-D2A92A3A93DC}" dt="2023-11-08T01:02:12.455" v="10777" actId="478"/>
          <ac:spMkLst>
            <pc:docMk/>
            <pc:sldMk cId="1946926784" sldId="450"/>
            <ac:spMk id="10" creationId="{323E01EF-B5EA-C71B-9AE5-41787684DAA2}"/>
          </ac:spMkLst>
        </pc:spChg>
        <pc:spChg chg="del">
          <ac:chgData name="Roy Chowdhury, Ritwik" userId="bfb84a7f-f393-43f0-840f-80c362df9247" providerId="ADAL" clId="{D98D1D94-E5EF-4A5F-8B22-D2A92A3A93DC}" dt="2023-11-08T01:02:11.099" v="10776" actId="478"/>
          <ac:spMkLst>
            <pc:docMk/>
            <pc:sldMk cId="1946926784" sldId="450"/>
            <ac:spMk id="11" creationId="{51E35E2A-AC4C-4245-AA6D-84A1DA078E94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17" creationId="{EF1BDFA0-C7BA-DC2F-F4CF-FC639F83877C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18" creationId="{37715CB0-50C9-2F27-4F7E-3E2C0B959707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19" creationId="{41A00717-B8BE-BB5E-AA70-1F2B96D68273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0" creationId="{47890DEE-313D-7B70-B579-7D7304E7F294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1" creationId="{913483BE-1ADD-AA31-8EC7-9D3626B6E937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2" creationId="{4C031894-465C-258B-1DD3-0F96FB9525D3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3" creationId="{21D56D48-37D1-ED33-9C00-2AA17C6ADCE6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4" creationId="{45AEB427-C165-0045-C853-CEC3812989EF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5" creationId="{1661810A-3F7E-1B96-04F6-7C3BEA944287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6" creationId="{A46F9C31-843B-E39E-679B-A6AA9DC78F3E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7" creationId="{54AEE6CC-5655-EBA2-2121-AEF5030E5EDD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8" creationId="{5C4CB1B1-F970-3AA6-1CD3-4D51C27ECA21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29" creationId="{E2607B37-6907-79C3-F938-05BCD3F724EE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30" creationId="{2FC1FF96-FE76-E9A0-279F-A43A68EFE929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31" creationId="{8A48D7E3-14A1-4803-B98A-BCCC979EA352}"/>
          </ac:spMkLst>
        </pc:spChg>
        <pc:spChg chg="mod">
          <ac:chgData name="Roy Chowdhury, Ritwik" userId="bfb84a7f-f393-43f0-840f-80c362df9247" providerId="ADAL" clId="{D98D1D94-E5EF-4A5F-8B22-D2A92A3A93DC}" dt="2023-11-08T01:02:32.707" v="10783"/>
          <ac:spMkLst>
            <pc:docMk/>
            <pc:sldMk cId="1946926784" sldId="450"/>
            <ac:spMk id="32" creationId="{A9CB3EE2-E64C-8CBE-07AB-4B63A0F7B101}"/>
          </ac:spMkLst>
        </pc:spChg>
        <pc:spChg chg="mod">
          <ac:chgData name="Roy Chowdhury, Ritwik" userId="bfb84a7f-f393-43f0-840f-80c362df9247" providerId="ADAL" clId="{D98D1D94-E5EF-4A5F-8B22-D2A92A3A93DC}" dt="2023-11-08T01:04:13.464" v="10804" actId="165"/>
          <ac:spMkLst>
            <pc:docMk/>
            <pc:sldMk cId="1946926784" sldId="450"/>
            <ac:spMk id="38" creationId="{9B806E12-8742-FCE3-4360-7594F073A623}"/>
          </ac:spMkLst>
        </pc:spChg>
        <pc:spChg chg="mod">
          <ac:chgData name="Roy Chowdhury, Ritwik" userId="bfb84a7f-f393-43f0-840f-80c362df9247" providerId="ADAL" clId="{D98D1D94-E5EF-4A5F-8B22-D2A92A3A93DC}" dt="2023-11-08T01:07:53.914" v="10832" actId="14100"/>
          <ac:spMkLst>
            <pc:docMk/>
            <pc:sldMk cId="1946926784" sldId="450"/>
            <ac:spMk id="39" creationId="{20DC158A-438A-CAE7-06A2-9BBF97AEB4AA}"/>
          </ac:spMkLst>
        </pc:spChg>
        <pc:spChg chg="mod">
          <ac:chgData name="Roy Chowdhury, Ritwik" userId="bfb84a7f-f393-43f0-840f-80c362df9247" providerId="ADAL" clId="{D98D1D94-E5EF-4A5F-8B22-D2A92A3A93DC}" dt="2023-11-08T01:07:58.061" v="10833" actId="1076"/>
          <ac:spMkLst>
            <pc:docMk/>
            <pc:sldMk cId="1946926784" sldId="450"/>
            <ac:spMk id="40" creationId="{59160C62-128F-CECF-733E-3E4074EBBEE0}"/>
          </ac:spMkLst>
        </pc:spChg>
        <pc:spChg chg="mod">
          <ac:chgData name="Roy Chowdhury, Ritwik" userId="bfb84a7f-f393-43f0-840f-80c362df9247" providerId="ADAL" clId="{D98D1D94-E5EF-4A5F-8B22-D2A92A3A93DC}" dt="2023-11-08T01:04:13.464" v="10804" actId="165"/>
          <ac:spMkLst>
            <pc:docMk/>
            <pc:sldMk cId="1946926784" sldId="450"/>
            <ac:spMk id="41" creationId="{E238376B-55EB-AB1E-A113-D00F20CA45D3}"/>
          </ac:spMkLst>
        </pc:spChg>
        <pc:spChg chg="mod">
          <ac:chgData name="Roy Chowdhury, Ritwik" userId="bfb84a7f-f393-43f0-840f-80c362df9247" providerId="ADAL" clId="{D98D1D94-E5EF-4A5F-8B22-D2A92A3A93DC}" dt="2023-11-08T01:09:18.335" v="10843" actId="206"/>
          <ac:spMkLst>
            <pc:docMk/>
            <pc:sldMk cId="1946926784" sldId="450"/>
            <ac:spMk id="42" creationId="{E96F2EF6-379C-07BF-0DCD-373CBFBBD4D4}"/>
          </ac:spMkLst>
        </pc:spChg>
        <pc:spChg chg="mod">
          <ac:chgData name="Roy Chowdhury, Ritwik" userId="bfb84a7f-f393-43f0-840f-80c362df9247" providerId="ADAL" clId="{D98D1D94-E5EF-4A5F-8B22-D2A92A3A93DC}" dt="2023-11-08T01:09:18.335" v="10843" actId="206"/>
          <ac:spMkLst>
            <pc:docMk/>
            <pc:sldMk cId="1946926784" sldId="450"/>
            <ac:spMk id="43" creationId="{AAE8B84A-DB58-BEBD-223E-FA0A3AF0E770}"/>
          </ac:spMkLst>
        </pc:spChg>
        <pc:spChg chg="mod">
          <ac:chgData name="Roy Chowdhury, Ritwik" userId="bfb84a7f-f393-43f0-840f-80c362df9247" providerId="ADAL" clId="{D98D1D94-E5EF-4A5F-8B22-D2A92A3A93DC}" dt="2023-11-08T01:09:18.335" v="10843" actId="206"/>
          <ac:spMkLst>
            <pc:docMk/>
            <pc:sldMk cId="1946926784" sldId="450"/>
            <ac:spMk id="44" creationId="{147D14A9-1064-815C-F1A8-C4B9CE7FC013}"/>
          </ac:spMkLst>
        </pc:spChg>
        <pc:spChg chg="mod">
          <ac:chgData name="Roy Chowdhury, Ritwik" userId="bfb84a7f-f393-43f0-840f-80c362df9247" providerId="ADAL" clId="{D98D1D94-E5EF-4A5F-8B22-D2A92A3A93DC}" dt="2023-11-08T01:09:18.335" v="10843" actId="206"/>
          <ac:spMkLst>
            <pc:docMk/>
            <pc:sldMk cId="1946926784" sldId="450"/>
            <ac:spMk id="45" creationId="{A3E4EF04-A6A4-A5E9-A515-106D1ACEDFFF}"/>
          </ac:spMkLst>
        </pc:spChg>
        <pc:spChg chg="mod">
          <ac:chgData name="Roy Chowdhury, Ritwik" userId="bfb84a7f-f393-43f0-840f-80c362df9247" providerId="ADAL" clId="{D98D1D94-E5EF-4A5F-8B22-D2A92A3A93DC}" dt="2023-11-08T01:12:31.532" v="10882" actId="206"/>
          <ac:spMkLst>
            <pc:docMk/>
            <pc:sldMk cId="1946926784" sldId="450"/>
            <ac:spMk id="46" creationId="{A825196D-397B-DA9B-B578-8FEDC92AABC1}"/>
          </ac:spMkLst>
        </pc:spChg>
        <pc:spChg chg="mod">
          <ac:chgData name="Roy Chowdhury, Ritwik" userId="bfb84a7f-f393-43f0-840f-80c362df9247" providerId="ADAL" clId="{D98D1D94-E5EF-4A5F-8B22-D2A92A3A93DC}" dt="2023-11-08T01:12:31.532" v="10882" actId="206"/>
          <ac:spMkLst>
            <pc:docMk/>
            <pc:sldMk cId="1946926784" sldId="450"/>
            <ac:spMk id="47" creationId="{D628CEB3-7222-CD34-91EE-A0EA356246BC}"/>
          </ac:spMkLst>
        </pc:spChg>
        <pc:spChg chg="mod ord">
          <ac:chgData name="Roy Chowdhury, Ritwik" userId="bfb84a7f-f393-43f0-840f-80c362df9247" providerId="ADAL" clId="{D98D1D94-E5EF-4A5F-8B22-D2A92A3A93DC}" dt="2023-11-08T01:12:31.532" v="10882" actId="206"/>
          <ac:spMkLst>
            <pc:docMk/>
            <pc:sldMk cId="1946926784" sldId="450"/>
            <ac:spMk id="48" creationId="{E2540FEF-C745-2541-BA54-BACC6FB661F7}"/>
          </ac:spMkLst>
        </pc:spChg>
        <pc:spChg chg="mod">
          <ac:chgData name="Roy Chowdhury, Ritwik" userId="bfb84a7f-f393-43f0-840f-80c362df9247" providerId="ADAL" clId="{D98D1D94-E5EF-4A5F-8B22-D2A92A3A93DC}" dt="2023-11-08T01:12:31.532" v="10882" actId="206"/>
          <ac:spMkLst>
            <pc:docMk/>
            <pc:sldMk cId="1946926784" sldId="450"/>
            <ac:spMk id="49" creationId="{0EF5C7C9-0FF9-3386-4270-0487A328E54B}"/>
          </ac:spMkLst>
        </pc:spChg>
        <pc:spChg chg="mod">
          <ac:chgData name="Roy Chowdhury, Ritwik" userId="bfb84a7f-f393-43f0-840f-80c362df9247" providerId="ADAL" clId="{D98D1D94-E5EF-4A5F-8B22-D2A92A3A93DC}" dt="2023-11-08T01:06:54.245" v="10825" actId="14100"/>
          <ac:spMkLst>
            <pc:docMk/>
            <pc:sldMk cId="1946926784" sldId="450"/>
            <ac:spMk id="50" creationId="{4634D797-3F80-B5EC-62CC-A799576812B8}"/>
          </ac:spMkLst>
        </pc:spChg>
        <pc:spChg chg="mod">
          <ac:chgData name="Roy Chowdhury, Ritwik" userId="bfb84a7f-f393-43f0-840f-80c362df9247" providerId="ADAL" clId="{D98D1D94-E5EF-4A5F-8B22-D2A92A3A93DC}" dt="2023-11-08T01:09:34.586" v="10844" actId="14100"/>
          <ac:spMkLst>
            <pc:docMk/>
            <pc:sldMk cId="1946926784" sldId="450"/>
            <ac:spMk id="51" creationId="{AE0A0C06-5B8D-1886-6083-A6C8BA22E3EB}"/>
          </ac:spMkLst>
        </pc:spChg>
        <pc:spChg chg="mod">
          <ac:chgData name="Roy Chowdhury, Ritwik" userId="bfb84a7f-f393-43f0-840f-80c362df9247" providerId="ADAL" clId="{D98D1D94-E5EF-4A5F-8B22-D2A92A3A93DC}" dt="2023-11-08T01:09:37.837" v="10845" actId="1076"/>
          <ac:spMkLst>
            <pc:docMk/>
            <pc:sldMk cId="1946926784" sldId="450"/>
            <ac:spMk id="52" creationId="{407B1831-66B2-8C49-DE5B-56C8FCBF374F}"/>
          </ac:spMkLst>
        </pc:spChg>
        <pc:spChg chg="del mod">
          <ac:chgData name="Roy Chowdhury, Ritwik" userId="bfb84a7f-f393-43f0-840f-80c362df9247" providerId="ADAL" clId="{D98D1D94-E5EF-4A5F-8B22-D2A92A3A93DC}" dt="2023-11-08T01:05:06.856" v="10811" actId="478"/>
          <ac:spMkLst>
            <pc:docMk/>
            <pc:sldMk cId="1946926784" sldId="450"/>
            <ac:spMk id="53" creationId="{4F2936AA-ABE8-7F90-79A2-7B7F785FF137}"/>
          </ac:spMkLst>
        </pc:spChg>
        <pc:spChg chg="add mod">
          <ac:chgData name="Roy Chowdhury, Ritwik" userId="bfb84a7f-f393-43f0-840f-80c362df9247" providerId="ADAL" clId="{D98D1D94-E5EF-4A5F-8B22-D2A92A3A93DC}" dt="2023-11-08T01:06:48.242" v="10824" actId="1076"/>
          <ac:spMkLst>
            <pc:docMk/>
            <pc:sldMk cId="1946926784" sldId="450"/>
            <ac:spMk id="57" creationId="{295180FA-3DE1-1AE8-F21A-CCDD814F2F26}"/>
          </ac:spMkLst>
        </pc:spChg>
        <pc:spChg chg="add mod">
          <ac:chgData name="Roy Chowdhury, Ritwik" userId="bfb84a7f-f393-43f0-840f-80c362df9247" providerId="ADAL" clId="{D98D1D94-E5EF-4A5F-8B22-D2A92A3A93DC}" dt="2023-11-08T01:07:17.369" v="10827" actId="1076"/>
          <ac:spMkLst>
            <pc:docMk/>
            <pc:sldMk cId="1946926784" sldId="450"/>
            <ac:spMk id="58" creationId="{7AA71C63-1565-4BA8-EE0D-31332953BAF4}"/>
          </ac:spMkLst>
        </pc:spChg>
        <pc:spChg chg="mod ord">
          <ac:chgData name="Roy Chowdhury, Ritwik" userId="bfb84a7f-f393-43f0-840f-80c362df9247" providerId="ADAL" clId="{D98D1D94-E5EF-4A5F-8B22-D2A92A3A93DC}" dt="2023-11-08T01:03:40.713" v="10799" actId="1076"/>
          <ac:spMkLst>
            <pc:docMk/>
            <pc:sldMk cId="1946926784" sldId="450"/>
            <ac:spMk id="407" creationId="{00000000-0000-0000-0000-000000000000}"/>
          </ac:spMkLst>
        </pc:spChg>
        <pc:grpChg chg="add del mod">
          <ac:chgData name="Roy Chowdhury, Ritwik" userId="bfb84a7f-f393-43f0-840f-80c362df9247" providerId="ADAL" clId="{D98D1D94-E5EF-4A5F-8B22-D2A92A3A93DC}" dt="2023-11-08T01:02:42.428" v="10788"/>
          <ac:grpSpMkLst>
            <pc:docMk/>
            <pc:sldMk cId="1946926784" sldId="450"/>
            <ac:grpSpMk id="12" creationId="{6F9F80E3-0FA4-7BE3-8B00-072AA4B1E7A1}"/>
          </ac:grpSpMkLst>
        </pc:grpChg>
        <pc:grpChg chg="mod">
          <ac:chgData name="Roy Chowdhury, Ritwik" userId="bfb84a7f-f393-43f0-840f-80c362df9247" providerId="ADAL" clId="{D98D1D94-E5EF-4A5F-8B22-D2A92A3A93DC}" dt="2023-11-08T01:02:32.707" v="10783"/>
          <ac:grpSpMkLst>
            <pc:docMk/>
            <pc:sldMk cId="1946926784" sldId="450"/>
            <ac:grpSpMk id="13" creationId="{F46EB77A-0DAB-13B8-4440-3BEB71000CC5}"/>
          </ac:grpSpMkLst>
        </pc:grpChg>
        <pc:grpChg chg="mod">
          <ac:chgData name="Roy Chowdhury, Ritwik" userId="bfb84a7f-f393-43f0-840f-80c362df9247" providerId="ADAL" clId="{D98D1D94-E5EF-4A5F-8B22-D2A92A3A93DC}" dt="2023-11-08T01:02:32.707" v="10783"/>
          <ac:grpSpMkLst>
            <pc:docMk/>
            <pc:sldMk cId="1946926784" sldId="450"/>
            <ac:grpSpMk id="14" creationId="{BFEEE20B-E43C-1E02-F86E-16745F39F7F0}"/>
          </ac:grpSpMkLst>
        </pc:grpChg>
        <pc:grpChg chg="mod">
          <ac:chgData name="Roy Chowdhury, Ritwik" userId="bfb84a7f-f393-43f0-840f-80c362df9247" providerId="ADAL" clId="{D98D1D94-E5EF-4A5F-8B22-D2A92A3A93DC}" dt="2023-11-08T01:02:32.707" v="10783"/>
          <ac:grpSpMkLst>
            <pc:docMk/>
            <pc:sldMk cId="1946926784" sldId="450"/>
            <ac:grpSpMk id="15" creationId="{38B1F148-B802-0838-6700-71F85F112E7B}"/>
          </ac:grpSpMkLst>
        </pc:grpChg>
        <pc:grpChg chg="mod">
          <ac:chgData name="Roy Chowdhury, Ritwik" userId="bfb84a7f-f393-43f0-840f-80c362df9247" providerId="ADAL" clId="{D98D1D94-E5EF-4A5F-8B22-D2A92A3A93DC}" dt="2023-11-08T01:02:32.707" v="10783"/>
          <ac:grpSpMkLst>
            <pc:docMk/>
            <pc:sldMk cId="1946926784" sldId="450"/>
            <ac:grpSpMk id="16" creationId="{3770DC22-50CC-ED17-62BF-A69C4C410886}"/>
          </ac:grpSpMkLst>
        </pc:grpChg>
        <pc:grpChg chg="add del mod">
          <ac:chgData name="Roy Chowdhury, Ritwik" userId="bfb84a7f-f393-43f0-840f-80c362df9247" providerId="ADAL" clId="{D98D1D94-E5EF-4A5F-8B22-D2A92A3A93DC}" dt="2023-11-08T01:04:13.464" v="10804" actId="165"/>
          <ac:grpSpMkLst>
            <pc:docMk/>
            <pc:sldMk cId="1946926784" sldId="450"/>
            <ac:grpSpMk id="33" creationId="{BC00ABE5-7E82-7652-151A-652413EC9D84}"/>
          </ac:grpSpMkLst>
        </pc:grpChg>
        <pc:grpChg chg="mod topLvl">
          <ac:chgData name="Roy Chowdhury, Ritwik" userId="bfb84a7f-f393-43f0-840f-80c362df9247" providerId="ADAL" clId="{D98D1D94-E5EF-4A5F-8B22-D2A92A3A93DC}" dt="2023-11-08T01:04:13.464" v="10804" actId="165"/>
          <ac:grpSpMkLst>
            <pc:docMk/>
            <pc:sldMk cId="1946926784" sldId="450"/>
            <ac:grpSpMk id="34" creationId="{6272A824-450B-5738-569A-DB8D8709E0E8}"/>
          </ac:grpSpMkLst>
        </pc:grpChg>
        <pc:grpChg chg="mod topLvl">
          <ac:chgData name="Roy Chowdhury, Ritwik" userId="bfb84a7f-f393-43f0-840f-80c362df9247" providerId="ADAL" clId="{D98D1D94-E5EF-4A5F-8B22-D2A92A3A93DC}" dt="2023-11-08T01:12:31.532" v="10882" actId="206"/>
          <ac:grpSpMkLst>
            <pc:docMk/>
            <pc:sldMk cId="1946926784" sldId="450"/>
            <ac:grpSpMk id="35" creationId="{E4E86EAD-D4BB-011E-3A10-0D70708064C2}"/>
          </ac:grpSpMkLst>
        </pc:grpChg>
        <pc:grpChg chg="mod topLvl">
          <ac:chgData name="Roy Chowdhury, Ritwik" userId="bfb84a7f-f393-43f0-840f-80c362df9247" providerId="ADAL" clId="{D98D1D94-E5EF-4A5F-8B22-D2A92A3A93DC}" dt="2023-11-08T01:09:18.335" v="10843" actId="206"/>
          <ac:grpSpMkLst>
            <pc:docMk/>
            <pc:sldMk cId="1946926784" sldId="450"/>
            <ac:grpSpMk id="36" creationId="{BE76AA80-5280-B20F-8B41-9B3EF8D95FA1}"/>
          </ac:grpSpMkLst>
        </pc:grpChg>
        <pc:grpChg chg="mod topLvl">
          <ac:chgData name="Roy Chowdhury, Ritwik" userId="bfb84a7f-f393-43f0-840f-80c362df9247" providerId="ADAL" clId="{D98D1D94-E5EF-4A5F-8B22-D2A92A3A93DC}" dt="2023-11-08T01:05:26.302" v="10813" actId="14100"/>
          <ac:grpSpMkLst>
            <pc:docMk/>
            <pc:sldMk cId="1946926784" sldId="450"/>
            <ac:grpSpMk id="37" creationId="{A9425D15-1AA1-FD7D-0148-6DD41B01F8DE}"/>
          </ac:grpSpMkLst>
        </pc:grpChg>
        <pc:cxnChg chg="add mod">
          <ac:chgData name="Roy Chowdhury, Ritwik" userId="bfb84a7f-f393-43f0-840f-80c362df9247" providerId="ADAL" clId="{D98D1D94-E5EF-4A5F-8B22-D2A92A3A93DC}" dt="2023-11-08T01:06:08.303" v="10818" actId="14100"/>
          <ac:cxnSpMkLst>
            <pc:docMk/>
            <pc:sldMk cId="1946926784" sldId="450"/>
            <ac:cxnSpMk id="55" creationId="{5CCF677D-078F-94F7-26D1-47632A7EA8C9}"/>
          </ac:cxnSpMkLst>
        </pc:cxnChg>
      </pc:sldChg>
      <pc:sldChg chg="addSp delSp modSp add mod ord modClrScheme chgLayout">
        <pc:chgData name="Roy Chowdhury, Ritwik" userId="bfb84a7f-f393-43f0-840f-80c362df9247" providerId="ADAL" clId="{D98D1D94-E5EF-4A5F-8B22-D2A92A3A93DC}" dt="2023-11-08T20:52:51.046" v="12016" actId="20577"/>
        <pc:sldMkLst>
          <pc:docMk/>
          <pc:sldMk cId="3130399512" sldId="450"/>
        </pc:sldMkLst>
        <pc:spChg chg="del">
          <ac:chgData name="Roy Chowdhury, Ritwik" userId="bfb84a7f-f393-43f0-840f-80c362df9247" providerId="ADAL" clId="{D98D1D94-E5EF-4A5F-8B22-D2A92A3A93DC}" dt="2023-11-08T02:13:22.308" v="10885" actId="478"/>
          <ac:spMkLst>
            <pc:docMk/>
            <pc:sldMk cId="3130399512" sldId="450"/>
            <ac:spMk id="3" creationId="{8687EBA4-6BA1-4A66-B91C-3A3B7AD7F1DF}"/>
          </ac:spMkLst>
        </pc:spChg>
        <pc:spChg chg="del">
          <ac:chgData name="Roy Chowdhury, Ritwik" userId="bfb84a7f-f393-43f0-840f-80c362df9247" providerId="ADAL" clId="{D98D1D94-E5EF-4A5F-8B22-D2A92A3A93DC}" dt="2023-11-08T02:15:51.844" v="10919" actId="478"/>
          <ac:spMkLst>
            <pc:docMk/>
            <pc:sldMk cId="3130399512" sldId="450"/>
            <ac:spMk id="4" creationId="{F43AB6A8-4C0E-474E-708A-7FD68245AE61}"/>
          </ac:spMkLst>
        </pc:spChg>
        <pc:spChg chg="del mod">
          <ac:chgData name="Roy Chowdhury, Ritwik" userId="bfb84a7f-f393-43f0-840f-80c362df9247" providerId="ADAL" clId="{D98D1D94-E5EF-4A5F-8B22-D2A92A3A93DC}" dt="2023-11-08T02:15:46.542" v="10917" actId="478"/>
          <ac:spMkLst>
            <pc:docMk/>
            <pc:sldMk cId="3130399512" sldId="450"/>
            <ac:spMk id="5" creationId="{57C21F21-6277-1C1E-A5A6-443852588B38}"/>
          </ac:spMkLst>
        </pc:spChg>
        <pc:spChg chg="del">
          <ac:chgData name="Roy Chowdhury, Ritwik" userId="bfb84a7f-f393-43f0-840f-80c362df9247" providerId="ADAL" clId="{D98D1D94-E5EF-4A5F-8B22-D2A92A3A93DC}" dt="2023-11-08T02:15:46.542" v="10917" actId="478"/>
          <ac:spMkLst>
            <pc:docMk/>
            <pc:sldMk cId="3130399512" sldId="450"/>
            <ac:spMk id="6" creationId="{611B316A-B75E-5651-6445-3E54BF57FB32}"/>
          </ac:spMkLst>
        </pc:spChg>
        <pc:spChg chg="del">
          <ac:chgData name="Roy Chowdhury, Ritwik" userId="bfb84a7f-f393-43f0-840f-80c362df9247" providerId="ADAL" clId="{D98D1D94-E5EF-4A5F-8B22-D2A92A3A93DC}" dt="2023-11-08T02:15:46.542" v="10917" actId="478"/>
          <ac:spMkLst>
            <pc:docMk/>
            <pc:sldMk cId="3130399512" sldId="450"/>
            <ac:spMk id="7" creationId="{D07B125E-E832-8DB0-C3B6-1B56C0F78EAC}"/>
          </ac:spMkLst>
        </pc:spChg>
        <pc:spChg chg="del mod">
          <ac:chgData name="Roy Chowdhury, Ritwik" userId="bfb84a7f-f393-43f0-840f-80c362df9247" providerId="ADAL" clId="{D98D1D94-E5EF-4A5F-8B22-D2A92A3A93DC}" dt="2023-11-08T02:15:46.542" v="10917" actId="478"/>
          <ac:spMkLst>
            <pc:docMk/>
            <pc:sldMk cId="3130399512" sldId="450"/>
            <ac:spMk id="8" creationId="{7F6E9CA4-0156-F2A0-9DDD-D23A29189E8C}"/>
          </ac:spMkLst>
        </pc:spChg>
        <pc:spChg chg="del">
          <ac:chgData name="Roy Chowdhury, Ritwik" userId="bfb84a7f-f393-43f0-840f-80c362df9247" providerId="ADAL" clId="{D98D1D94-E5EF-4A5F-8B22-D2A92A3A93DC}" dt="2023-11-08T02:15:54.187" v="10921" actId="478"/>
          <ac:spMkLst>
            <pc:docMk/>
            <pc:sldMk cId="3130399512" sldId="450"/>
            <ac:spMk id="9" creationId="{D48B9C80-8AB1-EB4F-C2D8-70F1CB0C8A8B}"/>
          </ac:spMkLst>
        </pc:spChg>
        <pc:spChg chg="del">
          <ac:chgData name="Roy Chowdhury, Ritwik" userId="bfb84a7f-f393-43f0-840f-80c362df9247" providerId="ADAL" clId="{D98D1D94-E5EF-4A5F-8B22-D2A92A3A93DC}" dt="2023-11-08T02:15:52.998" v="10920" actId="478"/>
          <ac:spMkLst>
            <pc:docMk/>
            <pc:sldMk cId="3130399512" sldId="450"/>
            <ac:spMk id="10" creationId="{323E01EF-B5EA-C71B-9AE5-41787684DAA2}"/>
          </ac:spMkLst>
        </pc:spChg>
        <pc:spChg chg="del">
          <ac:chgData name="Roy Chowdhury, Ritwik" userId="bfb84a7f-f393-43f0-840f-80c362df9247" providerId="ADAL" clId="{D98D1D94-E5EF-4A5F-8B22-D2A92A3A93DC}" dt="2023-11-08T02:15:50.068" v="10918" actId="478"/>
          <ac:spMkLst>
            <pc:docMk/>
            <pc:sldMk cId="3130399512" sldId="450"/>
            <ac:spMk id="11" creationId="{51E35E2A-AC4C-4245-AA6D-84A1DA078E94}"/>
          </ac:spMkLst>
        </pc:spChg>
        <pc:spChg chg="add del mod">
          <ac:chgData name="Roy Chowdhury, Ritwik" userId="bfb84a7f-f393-43f0-840f-80c362df9247" providerId="ADAL" clId="{D98D1D94-E5EF-4A5F-8B22-D2A92A3A93DC}" dt="2023-11-08T03:15:57.656" v="11634" actId="14100"/>
          <ac:spMkLst>
            <pc:docMk/>
            <pc:sldMk cId="3130399512" sldId="450"/>
            <ac:spMk id="12" creationId="{90FD579A-A4D8-CD52-BF8D-5D5896DC241E}"/>
          </ac:spMkLst>
        </pc:spChg>
        <pc:spChg chg="add del mod">
          <ac:chgData name="Roy Chowdhury, Ritwik" userId="bfb84a7f-f393-43f0-840f-80c362df9247" providerId="ADAL" clId="{D98D1D94-E5EF-4A5F-8B22-D2A92A3A93DC}" dt="2023-11-08T02:16:19.043" v="10929" actId="478"/>
          <ac:spMkLst>
            <pc:docMk/>
            <pc:sldMk cId="3130399512" sldId="450"/>
            <ac:spMk id="13" creationId="{831AEBC9-4044-1402-9953-D04BCF85CB9F}"/>
          </ac:spMkLst>
        </pc:spChg>
        <pc:spChg chg="add mod">
          <ac:chgData name="Roy Chowdhury, Ritwik" userId="bfb84a7f-f393-43f0-840f-80c362df9247" providerId="ADAL" clId="{D98D1D94-E5EF-4A5F-8B22-D2A92A3A93DC}" dt="2023-11-08T03:23:05.245" v="11699" actId="1076"/>
          <ac:spMkLst>
            <pc:docMk/>
            <pc:sldMk cId="3130399512" sldId="450"/>
            <ac:spMk id="16" creationId="{8EA7CD81-F490-4A5B-86BC-28B107BFEAE2}"/>
          </ac:spMkLst>
        </pc:spChg>
        <pc:spChg chg="add del mod">
          <ac:chgData name="Roy Chowdhury, Ritwik" userId="bfb84a7f-f393-43f0-840f-80c362df9247" providerId="ADAL" clId="{D98D1D94-E5EF-4A5F-8B22-D2A92A3A93DC}" dt="2023-11-08T02:19:57.750" v="10957" actId="478"/>
          <ac:spMkLst>
            <pc:docMk/>
            <pc:sldMk cId="3130399512" sldId="450"/>
            <ac:spMk id="20" creationId="{301C64DE-3A25-8C24-CB43-4123E2A5B1D0}"/>
          </ac:spMkLst>
        </pc:spChg>
        <pc:spChg chg="add mod">
          <ac:chgData name="Roy Chowdhury, Ritwik" userId="bfb84a7f-f393-43f0-840f-80c362df9247" providerId="ADAL" clId="{D98D1D94-E5EF-4A5F-8B22-D2A92A3A93DC}" dt="2023-11-08T03:22:24.488" v="11697" actId="1076"/>
          <ac:spMkLst>
            <pc:docMk/>
            <pc:sldMk cId="3130399512" sldId="450"/>
            <ac:spMk id="21" creationId="{6819FE8C-7BCE-0603-38E3-310E775D424C}"/>
          </ac:spMkLst>
        </pc:spChg>
        <pc:spChg chg="mod">
          <ac:chgData name="Roy Chowdhury, Ritwik" userId="bfb84a7f-f393-43f0-840f-80c362df9247" providerId="ADAL" clId="{D98D1D94-E5EF-4A5F-8B22-D2A92A3A93DC}" dt="2023-11-08T02:20:56.280" v="10975"/>
          <ac:spMkLst>
            <pc:docMk/>
            <pc:sldMk cId="3130399512" sldId="450"/>
            <ac:spMk id="25" creationId="{4CB9D7D5-625F-DCFE-B584-6A87C741CE8D}"/>
          </ac:spMkLst>
        </pc:spChg>
        <pc:spChg chg="mod">
          <ac:chgData name="Roy Chowdhury, Ritwik" userId="bfb84a7f-f393-43f0-840f-80c362df9247" providerId="ADAL" clId="{D98D1D94-E5EF-4A5F-8B22-D2A92A3A93DC}" dt="2023-11-08T02:20:56.280" v="10975"/>
          <ac:spMkLst>
            <pc:docMk/>
            <pc:sldMk cId="3130399512" sldId="450"/>
            <ac:spMk id="26" creationId="{0C073DD0-A8B8-98C2-7E0C-F19A95BA9E57}"/>
          </ac:spMkLst>
        </pc:spChg>
        <pc:spChg chg="mod">
          <ac:chgData name="Roy Chowdhury, Ritwik" userId="bfb84a7f-f393-43f0-840f-80c362df9247" providerId="ADAL" clId="{D98D1D94-E5EF-4A5F-8B22-D2A92A3A93DC}" dt="2023-11-08T02:20:56.280" v="10975"/>
          <ac:spMkLst>
            <pc:docMk/>
            <pc:sldMk cId="3130399512" sldId="450"/>
            <ac:spMk id="27" creationId="{F860A5A8-FE09-B945-B394-54114A5BFC13}"/>
          </ac:spMkLst>
        </pc:spChg>
        <pc:spChg chg="mod">
          <ac:chgData name="Roy Chowdhury, Ritwik" userId="bfb84a7f-f393-43f0-840f-80c362df9247" providerId="ADAL" clId="{D98D1D94-E5EF-4A5F-8B22-D2A92A3A93DC}" dt="2023-11-08T07:25:38.312" v="11985" actId="113"/>
          <ac:spMkLst>
            <pc:docMk/>
            <pc:sldMk cId="3130399512" sldId="450"/>
            <ac:spMk id="31" creationId="{993477CE-2EF3-37A5-7F8D-B548FB966A6C}"/>
          </ac:spMkLst>
        </pc:spChg>
        <pc:spChg chg="mod">
          <ac:chgData name="Roy Chowdhury, Ritwik" userId="bfb84a7f-f393-43f0-840f-80c362df9247" providerId="ADAL" clId="{D98D1D94-E5EF-4A5F-8B22-D2A92A3A93DC}" dt="2023-11-08T02:48:34.397" v="11169" actId="1076"/>
          <ac:spMkLst>
            <pc:docMk/>
            <pc:sldMk cId="3130399512" sldId="450"/>
            <ac:spMk id="32" creationId="{D1DE3A33-A3D8-3DD7-FFF9-E2E64178C66D}"/>
          </ac:spMkLst>
        </pc:spChg>
        <pc:spChg chg="mod">
          <ac:chgData name="Roy Chowdhury, Ritwik" userId="bfb84a7f-f393-43f0-840f-80c362df9247" providerId="ADAL" clId="{D98D1D94-E5EF-4A5F-8B22-D2A92A3A93DC}" dt="2023-11-08T03:16:02.872" v="11635" actId="14100"/>
          <ac:spMkLst>
            <pc:docMk/>
            <pc:sldMk cId="3130399512" sldId="450"/>
            <ac:spMk id="33" creationId="{F5A08578-670F-D68C-67AF-28F1E856DDA2}"/>
          </ac:spMkLst>
        </pc:spChg>
        <pc:spChg chg="mod topLvl">
          <ac:chgData name="Roy Chowdhury, Ritwik" userId="bfb84a7f-f393-43f0-840f-80c362df9247" providerId="ADAL" clId="{D98D1D94-E5EF-4A5F-8B22-D2A92A3A93DC}" dt="2023-11-08T08:05:32.534" v="12008" actId="14100"/>
          <ac:spMkLst>
            <pc:docMk/>
            <pc:sldMk cId="3130399512" sldId="450"/>
            <ac:spMk id="37" creationId="{439FC097-85EB-CA53-776E-44365FB5FB91}"/>
          </ac:spMkLst>
        </pc:spChg>
        <pc:spChg chg="mod topLvl">
          <ac:chgData name="Roy Chowdhury, Ritwik" userId="bfb84a7f-f393-43f0-840f-80c362df9247" providerId="ADAL" clId="{D98D1D94-E5EF-4A5F-8B22-D2A92A3A93DC}" dt="2023-11-08T03:21:47.828" v="11692" actId="1076"/>
          <ac:spMkLst>
            <pc:docMk/>
            <pc:sldMk cId="3130399512" sldId="450"/>
            <ac:spMk id="38" creationId="{D3F139A7-C931-B759-B404-820140C6773D}"/>
          </ac:spMkLst>
        </pc:spChg>
        <pc:spChg chg="mod">
          <ac:chgData name="Roy Chowdhury, Ritwik" userId="bfb84a7f-f393-43f0-840f-80c362df9247" providerId="ADAL" clId="{D98D1D94-E5EF-4A5F-8B22-D2A92A3A93DC}" dt="2023-11-08T03:17:30.472" v="11649" actId="14100"/>
          <ac:spMkLst>
            <pc:docMk/>
            <pc:sldMk cId="3130399512" sldId="450"/>
            <ac:spMk id="39" creationId="{E155505F-2FA3-E458-A59F-70D11671E789}"/>
          </ac:spMkLst>
        </pc:spChg>
        <pc:spChg chg="mod">
          <ac:chgData name="Roy Chowdhury, Ritwik" userId="bfb84a7f-f393-43f0-840f-80c362df9247" providerId="ADAL" clId="{D98D1D94-E5EF-4A5F-8B22-D2A92A3A93DC}" dt="2023-11-08T20:52:51.046" v="12016" actId="20577"/>
          <ac:spMkLst>
            <pc:docMk/>
            <pc:sldMk cId="3130399512" sldId="450"/>
            <ac:spMk id="45" creationId="{24DAA71A-304D-69D7-70A0-426DD0423008}"/>
          </ac:spMkLst>
        </pc:spChg>
        <pc:spChg chg="mod">
          <ac:chgData name="Roy Chowdhury, Ritwik" userId="bfb84a7f-f393-43f0-840f-80c362df9247" providerId="ADAL" clId="{D98D1D94-E5EF-4A5F-8B22-D2A92A3A93DC}" dt="2023-11-08T03:22:13.741" v="11696" actId="1076"/>
          <ac:spMkLst>
            <pc:docMk/>
            <pc:sldMk cId="3130399512" sldId="450"/>
            <ac:spMk id="46" creationId="{D63A64D0-B07C-CD02-6CDA-FB5E08CB0B51}"/>
          </ac:spMkLst>
        </pc:spChg>
        <pc:spChg chg="mod">
          <ac:chgData name="Roy Chowdhury, Ritwik" userId="bfb84a7f-f393-43f0-840f-80c362df9247" providerId="ADAL" clId="{D98D1D94-E5EF-4A5F-8B22-D2A92A3A93DC}" dt="2023-11-08T03:18:35.979" v="11660" actId="14100"/>
          <ac:spMkLst>
            <pc:docMk/>
            <pc:sldMk cId="3130399512" sldId="450"/>
            <ac:spMk id="47" creationId="{86498A5D-9013-3335-FCBC-BE1B2686EDF7}"/>
          </ac:spMkLst>
        </pc:spChg>
        <pc:spChg chg="add mod">
          <ac:chgData name="Roy Chowdhury, Ritwik" userId="bfb84a7f-f393-43f0-840f-80c362df9247" providerId="ADAL" clId="{D98D1D94-E5EF-4A5F-8B22-D2A92A3A93DC}" dt="2023-11-08T02:52:04.838" v="11239" actId="403"/>
          <ac:spMkLst>
            <pc:docMk/>
            <pc:sldMk cId="3130399512" sldId="450"/>
            <ac:spMk id="63" creationId="{39E0A385-1312-7D08-484E-0AD96EC2E227}"/>
          </ac:spMkLst>
        </pc:spChg>
        <pc:spChg chg="add del mod">
          <ac:chgData name="Roy Chowdhury, Ritwik" userId="bfb84a7f-f393-43f0-840f-80c362df9247" providerId="ADAL" clId="{D98D1D94-E5EF-4A5F-8B22-D2A92A3A93DC}" dt="2023-11-08T02:52:22.505" v="11246"/>
          <ac:spMkLst>
            <pc:docMk/>
            <pc:sldMk cId="3130399512" sldId="450"/>
            <ac:spMk id="384" creationId="{7285677D-BA69-0521-F103-65F96612D954}"/>
          </ac:spMkLst>
        </pc:spChg>
        <pc:spChg chg="mod ord">
          <ac:chgData name="Roy Chowdhury, Ritwik" userId="bfb84a7f-f393-43f0-840f-80c362df9247" providerId="ADAL" clId="{D98D1D94-E5EF-4A5F-8B22-D2A92A3A93DC}" dt="2023-11-08T03:14:44.818" v="11614" actId="1037"/>
          <ac:spMkLst>
            <pc:docMk/>
            <pc:sldMk cId="3130399512" sldId="450"/>
            <ac:spMk id="407" creationId="{00000000-0000-0000-0000-000000000000}"/>
          </ac:spMkLst>
        </pc:spChg>
        <pc:grpChg chg="add mod">
          <ac:chgData name="Roy Chowdhury, Ritwik" userId="bfb84a7f-f393-43f0-840f-80c362df9247" providerId="ADAL" clId="{D98D1D94-E5EF-4A5F-8B22-D2A92A3A93DC}" dt="2023-11-08T08:05:59.456" v="12009" actId="14100"/>
          <ac:grpSpMkLst>
            <pc:docMk/>
            <pc:sldMk cId="3130399512" sldId="450"/>
            <ac:grpSpMk id="3" creationId="{93B3E554-BABF-B432-F988-AF0ADA4D4D78}"/>
          </ac:grpSpMkLst>
        </pc:grpChg>
        <pc:grpChg chg="add mod">
          <ac:chgData name="Roy Chowdhury, Ritwik" userId="bfb84a7f-f393-43f0-840f-80c362df9247" providerId="ADAL" clId="{D98D1D94-E5EF-4A5F-8B22-D2A92A3A93DC}" dt="2023-11-08T03:19:34.712" v="11669" actId="1076"/>
          <ac:grpSpMkLst>
            <pc:docMk/>
            <pc:sldMk cId="3130399512" sldId="450"/>
            <ac:grpSpMk id="8" creationId="{7521B56D-7056-206F-BE82-87C9C552BB8D}"/>
          </ac:grpSpMkLst>
        </pc:grpChg>
        <pc:grpChg chg="add mod">
          <ac:chgData name="Roy Chowdhury, Ritwik" userId="bfb84a7f-f393-43f0-840f-80c362df9247" providerId="ADAL" clId="{D98D1D94-E5EF-4A5F-8B22-D2A92A3A93DC}" dt="2023-11-08T07:30:38.524" v="12000" actId="14100"/>
          <ac:grpSpMkLst>
            <pc:docMk/>
            <pc:sldMk cId="3130399512" sldId="450"/>
            <ac:grpSpMk id="9" creationId="{5F92DC02-5138-5406-814F-6CC5B3F1CBFD}"/>
          </ac:grpSpMkLst>
        </pc:grpChg>
        <pc:grpChg chg="add mod">
          <ac:chgData name="Roy Chowdhury, Ritwik" userId="bfb84a7f-f393-43f0-840f-80c362df9247" providerId="ADAL" clId="{D98D1D94-E5EF-4A5F-8B22-D2A92A3A93DC}" dt="2023-11-08T02:21:38.120" v="10978" actId="207"/>
          <ac:grpSpMkLst>
            <pc:docMk/>
            <pc:sldMk cId="3130399512" sldId="450"/>
            <ac:grpSpMk id="18" creationId="{956479D0-7C68-0834-0D9C-432999888FA3}"/>
          </ac:grpSpMkLst>
        </pc:grpChg>
        <pc:grpChg chg="add mod">
          <ac:chgData name="Roy Chowdhury, Ritwik" userId="bfb84a7f-f393-43f0-840f-80c362df9247" providerId="ADAL" clId="{D98D1D94-E5EF-4A5F-8B22-D2A92A3A93DC}" dt="2023-11-08T03:19:23.705" v="11667" actId="164"/>
          <ac:grpSpMkLst>
            <pc:docMk/>
            <pc:sldMk cId="3130399512" sldId="450"/>
            <ac:grpSpMk id="22" creationId="{A7A31476-4C75-14FA-413E-ECB5043086FA}"/>
          </ac:grpSpMkLst>
        </pc:grpChg>
        <pc:grpChg chg="add del mod">
          <ac:chgData name="Roy Chowdhury, Ritwik" userId="bfb84a7f-f393-43f0-840f-80c362df9247" providerId="ADAL" clId="{D98D1D94-E5EF-4A5F-8B22-D2A92A3A93DC}" dt="2023-11-08T02:21:46.627" v="10979" actId="478"/>
          <ac:grpSpMkLst>
            <pc:docMk/>
            <pc:sldMk cId="3130399512" sldId="450"/>
            <ac:grpSpMk id="23" creationId="{D6204AAD-678D-1771-6E2A-EE9096DA1B08}"/>
          </ac:grpSpMkLst>
        </pc:grpChg>
        <pc:grpChg chg="mod">
          <ac:chgData name="Roy Chowdhury, Ritwik" userId="bfb84a7f-f393-43f0-840f-80c362df9247" providerId="ADAL" clId="{D98D1D94-E5EF-4A5F-8B22-D2A92A3A93DC}" dt="2023-11-08T02:20:56.280" v="10975"/>
          <ac:grpSpMkLst>
            <pc:docMk/>
            <pc:sldMk cId="3130399512" sldId="450"/>
            <ac:grpSpMk id="24" creationId="{1120F3DE-EED4-4D6D-F581-8AD9BA89D691}"/>
          </ac:grpSpMkLst>
        </pc:grpChg>
        <pc:grpChg chg="add mod">
          <ac:chgData name="Roy Chowdhury, Ritwik" userId="bfb84a7f-f393-43f0-840f-80c362df9247" providerId="ADAL" clId="{D98D1D94-E5EF-4A5F-8B22-D2A92A3A93DC}" dt="2023-11-08T03:19:43.173" v="11670" actId="164"/>
          <ac:grpSpMkLst>
            <pc:docMk/>
            <pc:sldMk cId="3130399512" sldId="450"/>
            <ac:grpSpMk id="29" creationId="{297C5CC4-5623-0991-A1A2-09107AE78CAD}"/>
          </ac:grpSpMkLst>
        </pc:grpChg>
        <pc:grpChg chg="mod">
          <ac:chgData name="Roy Chowdhury, Ritwik" userId="bfb84a7f-f393-43f0-840f-80c362df9247" providerId="ADAL" clId="{D98D1D94-E5EF-4A5F-8B22-D2A92A3A93DC}" dt="2023-11-08T02:21:51.537" v="10980"/>
          <ac:grpSpMkLst>
            <pc:docMk/>
            <pc:sldMk cId="3130399512" sldId="450"/>
            <ac:grpSpMk id="30" creationId="{59E44EAF-88BC-6A26-F841-DCE75B7A19B6}"/>
          </ac:grpSpMkLst>
        </pc:grpChg>
        <pc:grpChg chg="add del mod">
          <ac:chgData name="Roy Chowdhury, Ritwik" userId="bfb84a7f-f393-43f0-840f-80c362df9247" providerId="ADAL" clId="{D98D1D94-E5EF-4A5F-8B22-D2A92A3A93DC}" dt="2023-11-08T02:26:14.141" v="11027" actId="165"/>
          <ac:grpSpMkLst>
            <pc:docMk/>
            <pc:sldMk cId="3130399512" sldId="450"/>
            <ac:grpSpMk id="35" creationId="{93D752EB-DDF5-B77E-3972-1D925E88CADE}"/>
          </ac:grpSpMkLst>
        </pc:grpChg>
        <pc:grpChg chg="mod topLvl">
          <ac:chgData name="Roy Chowdhury, Ritwik" userId="bfb84a7f-f393-43f0-840f-80c362df9247" providerId="ADAL" clId="{D98D1D94-E5EF-4A5F-8B22-D2A92A3A93DC}" dt="2023-11-08T02:30:55.929" v="11084" actId="164"/>
          <ac:grpSpMkLst>
            <pc:docMk/>
            <pc:sldMk cId="3130399512" sldId="450"/>
            <ac:grpSpMk id="36" creationId="{DD327FC0-4A8B-ED28-4FE6-2502092F375F}"/>
          </ac:grpSpMkLst>
        </pc:grpChg>
        <pc:grpChg chg="add mod">
          <ac:chgData name="Roy Chowdhury, Ritwik" userId="bfb84a7f-f393-43f0-840f-80c362df9247" providerId="ADAL" clId="{D98D1D94-E5EF-4A5F-8B22-D2A92A3A93DC}" dt="2023-11-08T03:21:10.170" v="11685" actId="1037"/>
          <ac:grpSpMkLst>
            <pc:docMk/>
            <pc:sldMk cId="3130399512" sldId="450"/>
            <ac:grpSpMk id="43" creationId="{16CAA7BF-D41C-EE43-F04E-0ED5D57A1F32}"/>
          </ac:grpSpMkLst>
        </pc:grpChg>
        <pc:grpChg chg="mod">
          <ac:chgData name="Roy Chowdhury, Ritwik" userId="bfb84a7f-f393-43f0-840f-80c362df9247" providerId="ADAL" clId="{D98D1D94-E5EF-4A5F-8B22-D2A92A3A93DC}" dt="2023-11-08T02:25:42.588" v="11019"/>
          <ac:grpSpMkLst>
            <pc:docMk/>
            <pc:sldMk cId="3130399512" sldId="450"/>
            <ac:grpSpMk id="44" creationId="{523BA198-C356-CA0F-8BF2-E753522DA669}"/>
          </ac:grpSpMkLst>
        </pc:grpChg>
        <pc:grpChg chg="add del mod">
          <ac:chgData name="Roy Chowdhury, Ritwik" userId="bfb84a7f-f393-43f0-840f-80c362df9247" providerId="ADAL" clId="{D98D1D94-E5EF-4A5F-8B22-D2A92A3A93DC}" dt="2023-11-08T02:30:49.752" v="11083" actId="165"/>
          <ac:grpSpMkLst>
            <pc:docMk/>
            <pc:sldMk cId="3130399512" sldId="450"/>
            <ac:grpSpMk id="49" creationId="{FDA93AFF-1B3D-F4AB-BD7F-E6D2BD18A360}"/>
          </ac:grpSpMkLst>
        </pc:grpChg>
        <pc:grpChg chg="add mod">
          <ac:chgData name="Roy Chowdhury, Ritwik" userId="bfb84a7f-f393-43f0-840f-80c362df9247" providerId="ADAL" clId="{D98D1D94-E5EF-4A5F-8B22-D2A92A3A93DC}" dt="2023-11-08T02:58:15.304" v="11327" actId="164"/>
          <ac:grpSpMkLst>
            <pc:docMk/>
            <pc:sldMk cId="3130399512" sldId="450"/>
            <ac:grpSpMk id="50" creationId="{2C252AE1-338F-8620-5FEC-F11B9A1E0C0A}"/>
          </ac:grpSpMkLst>
        </pc:grpChg>
        <pc:picChg chg="add mod">
          <ac:chgData name="Roy Chowdhury, Ritwik" userId="bfb84a7f-f393-43f0-840f-80c362df9247" providerId="ADAL" clId="{D98D1D94-E5EF-4A5F-8B22-D2A92A3A93DC}" dt="2023-11-08T03:20:06.641" v="11673" actId="1076"/>
          <ac:picMkLst>
            <pc:docMk/>
            <pc:sldMk cId="3130399512" sldId="450"/>
            <ac:picMk id="52" creationId="{2787F9E3-3C8D-7366-4B97-96167B53B327}"/>
          </ac:picMkLst>
        </pc:picChg>
        <pc:picChg chg="add mod">
          <ac:chgData name="Roy Chowdhury, Ritwik" userId="bfb84a7f-f393-43f0-840f-80c362df9247" providerId="ADAL" clId="{D98D1D94-E5EF-4A5F-8B22-D2A92A3A93DC}" dt="2023-11-08T03:19:56.760" v="11672" actId="1076"/>
          <ac:picMkLst>
            <pc:docMk/>
            <pc:sldMk cId="3130399512" sldId="450"/>
            <ac:picMk id="54" creationId="{95E632D9-03B6-6617-6D1B-009AA411B267}"/>
          </ac:picMkLst>
        </pc:picChg>
        <pc:picChg chg="add del mod">
          <ac:chgData name="Roy Chowdhury, Ritwik" userId="bfb84a7f-f393-43f0-840f-80c362df9247" providerId="ADAL" clId="{D98D1D94-E5EF-4A5F-8B22-D2A92A3A93DC}" dt="2023-11-08T02:35:36.034" v="11107" actId="478"/>
          <ac:picMkLst>
            <pc:docMk/>
            <pc:sldMk cId="3130399512" sldId="450"/>
            <ac:picMk id="56" creationId="{E11D6868-43CD-99EE-8DF9-55037A38E748}"/>
          </ac:picMkLst>
        </pc:picChg>
        <pc:picChg chg="add mod">
          <ac:chgData name="Roy Chowdhury, Ritwik" userId="bfb84a7f-f393-43f0-840f-80c362df9247" providerId="ADAL" clId="{D98D1D94-E5EF-4A5F-8B22-D2A92A3A93DC}" dt="2023-11-08T03:21:53.211" v="11693" actId="1076"/>
          <ac:picMkLst>
            <pc:docMk/>
            <pc:sldMk cId="3130399512" sldId="450"/>
            <ac:picMk id="58" creationId="{F0B00FCC-DF0E-61A6-8C36-1D7239AABA26}"/>
          </ac:picMkLst>
        </pc:picChg>
        <pc:picChg chg="add mod">
          <ac:chgData name="Roy Chowdhury, Ritwik" userId="bfb84a7f-f393-43f0-840f-80c362df9247" providerId="ADAL" clId="{D98D1D94-E5EF-4A5F-8B22-D2A92A3A93DC}" dt="2023-11-08T03:21:16.652" v="11686" actId="1076"/>
          <ac:picMkLst>
            <pc:docMk/>
            <pc:sldMk cId="3130399512" sldId="450"/>
            <ac:picMk id="60" creationId="{4566E9E7-D007-29EC-AA8B-798CF2520E15}"/>
          </ac:picMkLst>
        </pc:picChg>
        <pc:cxnChg chg="add mod">
          <ac:chgData name="Roy Chowdhury, Ritwik" userId="bfb84a7f-f393-43f0-840f-80c362df9247" providerId="ADAL" clId="{D98D1D94-E5EF-4A5F-8B22-D2A92A3A93DC}" dt="2023-11-08T02:21:38.120" v="10978" actId="207"/>
          <ac:cxnSpMkLst>
            <pc:docMk/>
            <pc:sldMk cId="3130399512" sldId="450"/>
            <ac:cxnSpMk id="15" creationId="{99AE9C1B-AD7A-2640-FD24-04E4E59E8764}"/>
          </ac:cxnSpMkLst>
        </pc:cxnChg>
        <pc:cxnChg chg="mod">
          <ac:chgData name="Roy Chowdhury, Ritwik" userId="bfb84a7f-f393-43f0-840f-80c362df9247" providerId="ADAL" clId="{D98D1D94-E5EF-4A5F-8B22-D2A92A3A93DC}" dt="2023-11-08T02:20:56.280" v="10975"/>
          <ac:cxnSpMkLst>
            <pc:docMk/>
            <pc:sldMk cId="3130399512" sldId="450"/>
            <ac:cxnSpMk id="28" creationId="{AACE3700-BF5E-90ED-1A52-C8C5C751B1CC}"/>
          </ac:cxnSpMkLst>
        </pc:cxnChg>
        <pc:cxnChg chg="mod">
          <ac:chgData name="Roy Chowdhury, Ritwik" userId="bfb84a7f-f393-43f0-840f-80c362df9247" providerId="ADAL" clId="{D98D1D94-E5EF-4A5F-8B22-D2A92A3A93DC}" dt="2023-11-08T02:49:54.382" v="11173" actId="14100"/>
          <ac:cxnSpMkLst>
            <pc:docMk/>
            <pc:sldMk cId="3130399512" sldId="450"/>
            <ac:cxnSpMk id="34" creationId="{4D709CDA-414B-5507-AD80-780546E7E9CF}"/>
          </ac:cxnSpMkLst>
        </pc:cxnChg>
        <pc:cxnChg chg="mod">
          <ac:chgData name="Roy Chowdhury, Ritwik" userId="bfb84a7f-f393-43f0-840f-80c362df9247" providerId="ADAL" clId="{D98D1D94-E5EF-4A5F-8B22-D2A92A3A93DC}" dt="2023-11-08T03:17:57.654" v="11653" actId="14100"/>
          <ac:cxnSpMkLst>
            <pc:docMk/>
            <pc:sldMk cId="3130399512" sldId="450"/>
            <ac:cxnSpMk id="40" creationId="{5806C1FE-E4EB-4B81-1E36-698E24AA9A6B}"/>
          </ac:cxnSpMkLst>
        </pc:cxnChg>
        <pc:cxnChg chg="mod">
          <ac:chgData name="Roy Chowdhury, Ritwik" userId="bfb84a7f-f393-43f0-840f-80c362df9247" providerId="ADAL" clId="{D98D1D94-E5EF-4A5F-8B22-D2A92A3A93DC}" dt="2023-11-08T03:18:43.061" v="11661" actId="14100"/>
          <ac:cxnSpMkLst>
            <pc:docMk/>
            <pc:sldMk cId="3130399512" sldId="450"/>
            <ac:cxnSpMk id="48" creationId="{11C158D5-6440-7E9B-D847-9307BA3E767C}"/>
          </ac:cxnSpMkLst>
        </pc:cxnChg>
      </pc:sldChg>
      <pc:sldChg chg="modSp mod">
        <pc:chgData name="Roy Chowdhury, Ritwik" userId="bfb84a7f-f393-43f0-840f-80c362df9247" providerId="ADAL" clId="{D98D1D94-E5EF-4A5F-8B22-D2A92A3A93DC}" dt="2023-11-08T16:08:58.387" v="12014" actId="1582"/>
        <pc:sldMkLst>
          <pc:docMk/>
          <pc:sldMk cId="1877260670" sldId="454"/>
        </pc:sldMkLst>
        <pc:spChg chg="mod">
          <ac:chgData name="Roy Chowdhury, Ritwik" userId="bfb84a7f-f393-43f0-840f-80c362df9247" providerId="ADAL" clId="{D98D1D94-E5EF-4A5F-8B22-D2A92A3A93DC}" dt="2023-11-08T16:08:58.387" v="12014" actId="1582"/>
          <ac:spMkLst>
            <pc:docMk/>
            <pc:sldMk cId="1877260670" sldId="454"/>
            <ac:spMk id="8" creationId="{EDF34244-66A6-FC1C-C055-8D1D9893023C}"/>
          </ac:spMkLst>
        </pc:spChg>
        <pc:spChg chg="mod">
          <ac:chgData name="Roy Chowdhury, Ritwik" userId="bfb84a7f-f393-43f0-840f-80c362df9247" providerId="ADAL" clId="{D98D1D94-E5EF-4A5F-8B22-D2A92A3A93DC}" dt="2023-11-08T16:08:58.387" v="12014" actId="1582"/>
          <ac:spMkLst>
            <pc:docMk/>
            <pc:sldMk cId="1877260670" sldId="454"/>
            <ac:spMk id="10" creationId="{A630DADF-AD80-4875-CD1F-93697289D4E6}"/>
          </ac:spMkLst>
        </pc:spChg>
        <pc:spChg chg="mod">
          <ac:chgData name="Roy Chowdhury, Ritwik" userId="bfb84a7f-f393-43f0-840f-80c362df9247" providerId="ADAL" clId="{D98D1D94-E5EF-4A5F-8B22-D2A92A3A93DC}" dt="2023-11-08T16:08:58.387" v="12014" actId="1582"/>
          <ac:spMkLst>
            <pc:docMk/>
            <pc:sldMk cId="1877260670" sldId="454"/>
            <ac:spMk id="11" creationId="{6FF49E31-F050-39EB-4395-A658E348917C}"/>
          </ac:spMkLst>
        </pc:spChg>
        <pc:spChg chg="mod">
          <ac:chgData name="Roy Chowdhury, Ritwik" userId="bfb84a7f-f393-43f0-840f-80c362df9247" providerId="ADAL" clId="{D98D1D94-E5EF-4A5F-8B22-D2A92A3A93DC}" dt="2023-11-08T16:08:58.387" v="12014" actId="1582"/>
          <ac:spMkLst>
            <pc:docMk/>
            <pc:sldMk cId="1877260670" sldId="454"/>
            <ac:spMk id="13" creationId="{6D64455E-0F21-D311-F794-CBE43BE2CA4B}"/>
          </ac:spMkLst>
        </pc:spChg>
        <pc:picChg chg="mod">
          <ac:chgData name="Roy Chowdhury, Ritwik" userId="bfb84a7f-f393-43f0-840f-80c362df9247" providerId="ADAL" clId="{D98D1D94-E5EF-4A5F-8B22-D2A92A3A93DC}" dt="2023-11-08T16:08:14.718" v="12011" actId="1582"/>
          <ac:picMkLst>
            <pc:docMk/>
            <pc:sldMk cId="1877260670" sldId="454"/>
            <ac:picMk id="1026" creationId="{6BA4887F-DF66-0876-48B8-25E0E8A0115E}"/>
          </ac:picMkLst>
        </pc:picChg>
        <pc:picChg chg="mod">
          <ac:chgData name="Roy Chowdhury, Ritwik" userId="bfb84a7f-f393-43f0-840f-80c362df9247" providerId="ADAL" clId="{D98D1D94-E5EF-4A5F-8B22-D2A92A3A93DC}" dt="2023-11-08T16:08:14.718" v="12011" actId="1582"/>
          <ac:picMkLst>
            <pc:docMk/>
            <pc:sldMk cId="1877260670" sldId="454"/>
            <ac:picMk id="1028" creationId="{3A4CB70D-FD64-E792-5267-DA8ECB9FFA7F}"/>
          </ac:picMkLst>
        </pc:picChg>
        <pc:picChg chg="mod">
          <ac:chgData name="Roy Chowdhury, Ritwik" userId="bfb84a7f-f393-43f0-840f-80c362df9247" providerId="ADAL" clId="{D98D1D94-E5EF-4A5F-8B22-D2A92A3A93DC}" dt="2023-11-08T16:08:14.718" v="12011" actId="1582"/>
          <ac:picMkLst>
            <pc:docMk/>
            <pc:sldMk cId="1877260670" sldId="454"/>
            <ac:picMk id="1030" creationId="{323F26C5-6081-723A-34BC-3080FD9E1097}"/>
          </ac:picMkLst>
        </pc:picChg>
        <pc:picChg chg="mod">
          <ac:chgData name="Roy Chowdhury, Ritwik" userId="bfb84a7f-f393-43f0-840f-80c362df9247" providerId="ADAL" clId="{D98D1D94-E5EF-4A5F-8B22-D2A92A3A93DC}" dt="2023-11-08T16:08:14.718" v="12011" actId="1582"/>
          <ac:picMkLst>
            <pc:docMk/>
            <pc:sldMk cId="1877260670" sldId="454"/>
            <ac:picMk id="1032" creationId="{14361B67-38C9-BD8B-3901-D007EE81BC7C}"/>
          </ac:picMkLst>
        </pc:picChg>
      </pc:sldChg>
      <pc:sldChg chg="modSp mod">
        <pc:chgData name="Roy Chowdhury, Ritwik" userId="bfb84a7f-f393-43f0-840f-80c362df9247" providerId="ADAL" clId="{D98D1D94-E5EF-4A5F-8B22-D2A92A3A93DC}" dt="2023-11-08T22:10:09.902" v="12431" actId="1076"/>
        <pc:sldMkLst>
          <pc:docMk/>
          <pc:sldMk cId="1422633457" sldId="457"/>
        </pc:sldMkLst>
        <pc:spChg chg="mod">
          <ac:chgData name="Roy Chowdhury, Ritwik" userId="bfb84a7f-f393-43f0-840f-80c362df9247" providerId="ADAL" clId="{D98D1D94-E5EF-4A5F-8B22-D2A92A3A93DC}" dt="2023-11-08T22:10:09.902" v="12431" actId="1076"/>
          <ac:spMkLst>
            <pc:docMk/>
            <pc:sldMk cId="1422633457" sldId="457"/>
            <ac:spMk id="4" creationId="{119984D1-2C54-3088-E118-735368F69FAB}"/>
          </ac:spMkLst>
        </pc:spChg>
      </pc:sldChg>
      <pc:sldChg chg="modSp mod">
        <pc:chgData name="Roy Chowdhury, Ritwik" userId="bfb84a7f-f393-43f0-840f-80c362df9247" providerId="ADAL" clId="{D98D1D94-E5EF-4A5F-8B22-D2A92A3A93DC}" dt="2023-11-08T22:11:17.938" v="12442" actId="207"/>
        <pc:sldMkLst>
          <pc:docMk/>
          <pc:sldMk cId="1844015214" sldId="474"/>
        </pc:sldMkLst>
        <pc:graphicFrameChg chg="mod modGraphic">
          <ac:chgData name="Roy Chowdhury, Ritwik" userId="bfb84a7f-f393-43f0-840f-80c362df9247" providerId="ADAL" clId="{D98D1D94-E5EF-4A5F-8B22-D2A92A3A93DC}" dt="2023-11-08T22:11:17.938" v="12442" actId="207"/>
          <ac:graphicFrameMkLst>
            <pc:docMk/>
            <pc:sldMk cId="1844015214" sldId="474"/>
            <ac:graphicFrameMk id="2" creationId="{E9E2ECDC-2043-1F79-3795-CCD7F70E7340}"/>
          </ac:graphicFrameMkLst>
        </pc:graphicFrameChg>
      </pc:sldChg>
      <pc:sldChg chg="addSp modSp new mod">
        <pc:chgData name="Roy Chowdhury, Ritwik" userId="bfb84a7f-f393-43f0-840f-80c362df9247" providerId="ADAL" clId="{D98D1D94-E5EF-4A5F-8B22-D2A92A3A93DC}" dt="2023-11-08T21:48:59.713" v="12352" actId="20577"/>
        <pc:sldMkLst>
          <pc:docMk/>
          <pc:sldMk cId="111284301" sldId="477"/>
        </pc:sldMkLst>
        <pc:spChg chg="add mod">
          <ac:chgData name="Roy Chowdhury, Ritwik" userId="bfb84a7f-f393-43f0-840f-80c362df9247" providerId="ADAL" clId="{D98D1D94-E5EF-4A5F-8B22-D2A92A3A93DC}" dt="2023-11-08T21:48:59.713" v="12352" actId="20577"/>
          <ac:spMkLst>
            <pc:docMk/>
            <pc:sldMk cId="111284301" sldId="477"/>
            <ac:spMk id="3" creationId="{D1190394-96B8-C784-89E3-6444BDC592A7}"/>
          </ac:spMkLst>
        </pc:spChg>
      </pc:sldChg>
      <pc:sldChg chg="addSp modSp new mod">
        <pc:chgData name="Roy Chowdhury, Ritwik" userId="bfb84a7f-f393-43f0-840f-80c362df9247" providerId="ADAL" clId="{D98D1D94-E5EF-4A5F-8B22-D2A92A3A93DC}" dt="2023-11-08T22:07:20.902" v="12379"/>
        <pc:sldMkLst>
          <pc:docMk/>
          <pc:sldMk cId="85616894" sldId="479"/>
        </pc:sldMkLst>
        <pc:spChg chg="add mod">
          <ac:chgData name="Roy Chowdhury, Ritwik" userId="bfb84a7f-f393-43f0-840f-80c362df9247" providerId="ADAL" clId="{D98D1D94-E5EF-4A5F-8B22-D2A92A3A93DC}" dt="2023-11-08T21:09:02.229" v="12046" actId="20577"/>
          <ac:spMkLst>
            <pc:docMk/>
            <pc:sldMk cId="85616894" sldId="479"/>
            <ac:spMk id="3" creationId="{E76DDEDF-0BE0-21C6-0507-4E75535CF53B}"/>
          </ac:spMkLst>
        </pc:spChg>
        <pc:graphicFrameChg chg="mod modGraphic">
          <ac:chgData name="Roy Chowdhury, Ritwik" userId="bfb84a7f-f393-43f0-840f-80c362df9247" providerId="ADAL" clId="{D98D1D94-E5EF-4A5F-8B22-D2A92A3A93DC}" dt="2023-11-08T22:07:20.902" v="12379"/>
          <ac:graphicFrameMkLst>
            <pc:docMk/>
            <pc:sldMk cId="85616894" sldId="479"/>
            <ac:graphicFrameMk id="4" creationId="{018A1B8D-0BC5-0D67-2468-1203C0DB885D}"/>
          </ac:graphicFrameMkLst>
        </pc:graphicFrameChg>
      </pc:sldChg>
      <pc:sldChg chg="addSp delSp modSp add mod">
        <pc:chgData name="Roy Chowdhury, Ritwik" userId="bfb84a7f-f393-43f0-840f-80c362df9247" providerId="ADAL" clId="{D98D1D94-E5EF-4A5F-8B22-D2A92A3A93DC}" dt="2023-11-08T21:18:21.448" v="12098"/>
        <pc:sldMkLst>
          <pc:docMk/>
          <pc:sldMk cId="2918235384" sldId="481"/>
        </pc:sldMkLst>
        <pc:spChg chg="add mod">
          <ac:chgData name="Roy Chowdhury, Ritwik" userId="bfb84a7f-f393-43f0-840f-80c362df9247" providerId="ADAL" clId="{D98D1D94-E5EF-4A5F-8B22-D2A92A3A93DC}" dt="2023-11-08T21:18:21.448" v="12098"/>
          <ac:spMkLst>
            <pc:docMk/>
            <pc:sldMk cId="2918235384" sldId="481"/>
            <ac:spMk id="9" creationId="{5D44BC79-FA98-993A-6CAD-FAF430F93EE1}"/>
          </ac:spMkLst>
        </pc:spChg>
        <pc:spChg chg="mod">
          <ac:chgData name="Roy Chowdhury, Ritwik" userId="bfb84a7f-f393-43f0-840f-80c362df9247" providerId="ADAL" clId="{D98D1D94-E5EF-4A5F-8B22-D2A92A3A93DC}" dt="2023-11-08T21:18:04.417" v="12097" actId="20577"/>
          <ac:spMkLst>
            <pc:docMk/>
            <pc:sldMk cId="2918235384" sldId="481"/>
            <ac:spMk id="25" creationId="{91448A82-D3F1-BCEF-9863-30B9F919645B}"/>
          </ac:spMkLst>
        </pc:spChg>
        <pc:grpChg chg="del">
          <ac:chgData name="Roy Chowdhury, Ritwik" userId="bfb84a7f-f393-43f0-840f-80c362df9247" providerId="ADAL" clId="{D98D1D94-E5EF-4A5F-8B22-D2A92A3A93DC}" dt="2023-11-08T21:13:02.258" v="12074" actId="478"/>
          <ac:grpSpMkLst>
            <pc:docMk/>
            <pc:sldMk cId="2918235384" sldId="481"/>
            <ac:grpSpMk id="14" creationId="{81BFA6F2-56DD-6063-DC9D-211987CA7129}"/>
          </ac:grpSpMkLst>
        </pc:grpChg>
        <pc:graphicFrameChg chg="add mod modGraphic">
          <ac:chgData name="Roy Chowdhury, Ritwik" userId="bfb84a7f-f393-43f0-840f-80c362df9247" providerId="ADAL" clId="{D98D1D94-E5EF-4A5F-8B22-D2A92A3A93DC}" dt="2023-11-08T21:17:34.088" v="12083" actId="14100"/>
          <ac:graphicFrameMkLst>
            <pc:docMk/>
            <pc:sldMk cId="2918235384" sldId="481"/>
            <ac:graphicFrameMk id="8" creationId="{76BECEAD-D438-58C6-165B-AEFEC37CCF8C}"/>
          </ac:graphicFrameMkLst>
        </pc:graphicFrameChg>
        <pc:picChg chg="add mod">
          <ac:chgData name="Roy Chowdhury, Ritwik" userId="bfb84a7f-f393-43f0-840f-80c362df9247" providerId="ADAL" clId="{D98D1D94-E5EF-4A5F-8B22-D2A92A3A93DC}" dt="2023-11-08T21:17:00.316" v="12080" actId="1076"/>
          <ac:picMkLst>
            <pc:docMk/>
            <pc:sldMk cId="2918235384" sldId="481"/>
            <ac:picMk id="7" creationId="{00A5C011-0D1C-35FE-1209-0C7E5096DFB9}"/>
          </ac:picMkLst>
        </pc:picChg>
      </pc:sldChg>
      <pc:sldChg chg="addSp delSp modSp add mod">
        <pc:chgData name="Roy Chowdhury, Ritwik" userId="bfb84a7f-f393-43f0-840f-80c362df9247" providerId="ADAL" clId="{D98D1D94-E5EF-4A5F-8B22-D2A92A3A93DC}" dt="2023-11-08T22:14:05.251" v="12462" actId="1076"/>
        <pc:sldMkLst>
          <pc:docMk/>
          <pc:sldMk cId="2002536109" sldId="483"/>
        </pc:sldMkLst>
        <pc:spChg chg="mod">
          <ac:chgData name="Roy Chowdhury, Ritwik" userId="bfb84a7f-f393-43f0-840f-80c362df9247" providerId="ADAL" clId="{D98D1D94-E5EF-4A5F-8B22-D2A92A3A93DC}" dt="2023-11-08T21:27:16.560" v="12205"/>
          <ac:spMkLst>
            <pc:docMk/>
            <pc:sldMk cId="2002536109" sldId="483"/>
            <ac:spMk id="9" creationId="{5D44BC79-FA98-993A-6CAD-FAF430F93EE1}"/>
          </ac:spMkLst>
        </pc:spChg>
        <pc:spChg chg="add mod">
          <ac:chgData name="Roy Chowdhury, Ritwik" userId="bfb84a7f-f393-43f0-840f-80c362df9247" providerId="ADAL" clId="{D98D1D94-E5EF-4A5F-8B22-D2A92A3A93DC}" dt="2023-11-08T22:13:02.314" v="12451" actId="1076"/>
          <ac:spMkLst>
            <pc:docMk/>
            <pc:sldMk cId="2002536109" sldId="483"/>
            <ac:spMk id="10" creationId="{E170F46D-1BD5-2526-15FB-9FEDBED08067}"/>
          </ac:spMkLst>
        </pc:spChg>
        <pc:spChg chg="add mod">
          <ac:chgData name="Roy Chowdhury, Ritwik" userId="bfb84a7f-f393-43f0-840f-80c362df9247" providerId="ADAL" clId="{D98D1D94-E5EF-4A5F-8B22-D2A92A3A93DC}" dt="2023-11-08T22:14:05.251" v="12462" actId="1076"/>
          <ac:spMkLst>
            <pc:docMk/>
            <pc:sldMk cId="2002536109" sldId="483"/>
            <ac:spMk id="11" creationId="{9B7C8C9F-06F7-EADE-422E-314D000EA92B}"/>
          </ac:spMkLst>
        </pc:spChg>
        <pc:spChg chg="mod">
          <ac:chgData name="Roy Chowdhury, Ritwik" userId="bfb84a7f-f393-43f0-840f-80c362df9247" providerId="ADAL" clId="{D98D1D94-E5EF-4A5F-8B22-D2A92A3A93DC}" dt="2023-11-08T21:18:54.324" v="12131" actId="20577"/>
          <ac:spMkLst>
            <pc:docMk/>
            <pc:sldMk cId="2002536109" sldId="483"/>
            <ac:spMk id="25" creationId="{91448A82-D3F1-BCEF-9863-30B9F919645B}"/>
          </ac:spMkLst>
        </pc:spChg>
        <pc:graphicFrameChg chg="del">
          <ac:chgData name="Roy Chowdhury, Ritwik" userId="bfb84a7f-f393-43f0-840f-80c362df9247" providerId="ADAL" clId="{D98D1D94-E5EF-4A5F-8B22-D2A92A3A93DC}" dt="2023-11-08T21:18:58.998" v="12133" actId="478"/>
          <ac:graphicFrameMkLst>
            <pc:docMk/>
            <pc:sldMk cId="2002536109" sldId="483"/>
            <ac:graphicFrameMk id="8" creationId="{76BECEAD-D438-58C6-165B-AEFEC37CCF8C}"/>
          </ac:graphicFrameMkLst>
        </pc:graphicFrameChg>
        <pc:picChg chg="add mod">
          <ac:chgData name="Roy Chowdhury, Ritwik" userId="bfb84a7f-f393-43f0-840f-80c362df9247" providerId="ADAL" clId="{D98D1D94-E5EF-4A5F-8B22-D2A92A3A93DC}" dt="2023-11-08T22:14:01.293" v="12461" actId="208"/>
          <ac:picMkLst>
            <pc:docMk/>
            <pc:sldMk cId="2002536109" sldId="483"/>
            <ac:picMk id="4" creationId="{58C5FFAB-2E9C-5AD7-056D-72A144A7B515}"/>
          </ac:picMkLst>
        </pc:picChg>
        <pc:picChg chg="add mod modCrop">
          <ac:chgData name="Roy Chowdhury, Ritwik" userId="bfb84a7f-f393-43f0-840f-80c362df9247" providerId="ADAL" clId="{D98D1D94-E5EF-4A5F-8B22-D2A92A3A93DC}" dt="2023-11-08T22:13:58.119" v="12460" actId="208"/>
          <ac:picMkLst>
            <pc:docMk/>
            <pc:sldMk cId="2002536109" sldId="483"/>
            <ac:picMk id="6" creationId="{7F9A8C9C-3862-B2DF-F9A2-BF28B92BC5D6}"/>
          </ac:picMkLst>
        </pc:picChg>
        <pc:picChg chg="del">
          <ac:chgData name="Roy Chowdhury, Ritwik" userId="bfb84a7f-f393-43f0-840f-80c362df9247" providerId="ADAL" clId="{D98D1D94-E5EF-4A5F-8B22-D2A92A3A93DC}" dt="2023-11-08T21:18:57.945" v="12132" actId="478"/>
          <ac:picMkLst>
            <pc:docMk/>
            <pc:sldMk cId="2002536109" sldId="483"/>
            <ac:picMk id="7" creationId="{00A5C011-0D1C-35FE-1209-0C7E5096DFB9}"/>
          </ac:picMkLst>
        </pc:picChg>
        <pc:cxnChg chg="add mod">
          <ac:chgData name="Roy Chowdhury, Ritwik" userId="bfb84a7f-f393-43f0-840f-80c362df9247" providerId="ADAL" clId="{D98D1D94-E5EF-4A5F-8B22-D2A92A3A93DC}" dt="2023-11-08T22:13:40.358" v="12458" actId="14100"/>
          <ac:cxnSpMkLst>
            <pc:docMk/>
            <pc:sldMk cId="2002536109" sldId="483"/>
            <ac:cxnSpMk id="13" creationId="{3ADFD712-ED69-9B6D-BB88-005E3F7A7289}"/>
          </ac:cxnSpMkLst>
        </pc:cxnChg>
      </pc:sldChg>
      <pc:sldChg chg="modSp mod">
        <pc:chgData name="Roy Chowdhury, Ritwik" userId="bfb84a7f-f393-43f0-840f-80c362df9247" providerId="ADAL" clId="{D98D1D94-E5EF-4A5F-8B22-D2A92A3A93DC}" dt="2023-11-08T22:11:52.349" v="12445" actId="207"/>
        <pc:sldMkLst>
          <pc:docMk/>
          <pc:sldMk cId="53695002" sldId="489"/>
        </pc:sldMkLst>
        <pc:graphicFrameChg chg="mod modGraphic">
          <ac:chgData name="Roy Chowdhury, Ritwik" userId="bfb84a7f-f393-43f0-840f-80c362df9247" providerId="ADAL" clId="{D98D1D94-E5EF-4A5F-8B22-D2A92A3A93DC}" dt="2023-11-08T22:11:52.349" v="12445" actId="207"/>
          <ac:graphicFrameMkLst>
            <pc:docMk/>
            <pc:sldMk cId="53695002" sldId="489"/>
            <ac:graphicFrameMk id="24" creationId="{34DEFDFB-8146-D96A-B75B-2B1A24CF99CC}"/>
          </ac:graphicFrameMkLst>
        </pc:graphicFrameChg>
      </pc:sldChg>
      <pc:sldChg chg="addSp modSp add">
        <pc:chgData name="Roy Chowdhury, Ritwik" userId="bfb84a7f-f393-43f0-840f-80c362df9247" providerId="ADAL" clId="{D98D1D94-E5EF-4A5F-8B22-D2A92A3A93DC}" dt="2023-11-08T21:49:22.816" v="12353"/>
        <pc:sldMkLst>
          <pc:docMk/>
          <pc:sldMk cId="2536079350" sldId="490"/>
        </pc:sldMkLst>
        <pc:spChg chg="add mod">
          <ac:chgData name="Roy Chowdhury, Ritwik" userId="bfb84a7f-f393-43f0-840f-80c362df9247" providerId="ADAL" clId="{D98D1D94-E5EF-4A5F-8B22-D2A92A3A93DC}" dt="2023-11-08T21:49:22.816" v="12353"/>
          <ac:spMkLst>
            <pc:docMk/>
            <pc:sldMk cId="2536079350" sldId="490"/>
            <ac:spMk id="3" creationId="{53709FE1-9E1C-D702-5388-A4ECAA49C2D8}"/>
          </ac:spMkLst>
        </pc:spChg>
      </pc:sldChg>
      <pc:sldChg chg="modSp mod">
        <pc:chgData name="Roy Chowdhury, Ritwik" userId="bfb84a7f-f393-43f0-840f-80c362df9247" providerId="ADAL" clId="{D98D1D94-E5EF-4A5F-8B22-D2A92A3A93DC}" dt="2023-11-08T22:06:38.040" v="12372" actId="207"/>
        <pc:sldMkLst>
          <pc:docMk/>
          <pc:sldMk cId="528521342" sldId="491"/>
        </pc:sldMkLst>
        <pc:graphicFrameChg chg="mod modGraphic">
          <ac:chgData name="Roy Chowdhury, Ritwik" userId="bfb84a7f-f393-43f0-840f-80c362df9247" providerId="ADAL" clId="{D98D1D94-E5EF-4A5F-8B22-D2A92A3A93DC}" dt="2023-11-08T22:06:38.040" v="12372" actId="207"/>
          <ac:graphicFrameMkLst>
            <pc:docMk/>
            <pc:sldMk cId="528521342" sldId="491"/>
            <ac:graphicFrameMk id="74" creationId="{1C715E1C-C77F-2946-55A3-C026FBB432B0}"/>
          </ac:graphicFrameMkLst>
        </pc:graphicFrameChg>
      </pc:sldChg>
      <pc:sldChg chg="modSp mod">
        <pc:chgData name="Roy Chowdhury, Ritwik" userId="bfb84a7f-f393-43f0-840f-80c362df9247" providerId="ADAL" clId="{D98D1D94-E5EF-4A5F-8B22-D2A92A3A93DC}" dt="2023-11-08T22:32:44.864" v="12484" actId="20577"/>
        <pc:sldMkLst>
          <pc:docMk/>
          <pc:sldMk cId="961198796" sldId="492"/>
        </pc:sldMkLst>
        <pc:graphicFrameChg chg="mod modGraphic">
          <ac:chgData name="Roy Chowdhury, Ritwik" userId="bfb84a7f-f393-43f0-840f-80c362df9247" providerId="ADAL" clId="{D98D1D94-E5EF-4A5F-8B22-D2A92A3A93DC}" dt="2023-11-08T22:32:44.864" v="12484" actId="20577"/>
          <ac:graphicFrameMkLst>
            <pc:docMk/>
            <pc:sldMk cId="961198796" sldId="492"/>
            <ac:graphicFrameMk id="3" creationId="{BF097ADF-6D25-CFB0-A3F1-36D1A6243C30}"/>
          </ac:graphicFrameMkLst>
        </pc:graphicFrameChg>
      </pc:sldChg>
      <pc:sldMasterChg chg="delSldLayout modSldLayout">
        <pc:chgData name="Roy Chowdhury, Ritwik" userId="bfb84a7f-f393-43f0-840f-80c362df9247" providerId="ADAL" clId="{D98D1D94-E5EF-4A5F-8B22-D2A92A3A93DC}" dt="2023-11-07T09:33:17.399" v="7270" actId="2696"/>
        <pc:sldMasterMkLst>
          <pc:docMk/>
          <pc:sldMasterMk cId="0" sldId="2147483678"/>
        </pc:sldMasterMkLst>
        <pc:sldLayoutChg chg="del">
          <pc:chgData name="Roy Chowdhury, Ritwik" userId="bfb84a7f-f393-43f0-840f-80c362df9247" providerId="ADAL" clId="{D98D1D94-E5EF-4A5F-8B22-D2A92A3A93DC}" dt="2023-11-07T09:32:50.500" v="7267" actId="2696"/>
          <pc:sldLayoutMkLst>
            <pc:docMk/>
            <pc:sldMasterMk cId="0" sldId="2147483678"/>
            <pc:sldLayoutMk cId="0" sldId="2147483649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51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53"/>
          </pc:sldLayoutMkLst>
        </pc:sldLayoutChg>
        <pc:sldLayoutChg chg="del">
          <pc:chgData name="Roy Chowdhury, Ritwik" userId="bfb84a7f-f393-43f0-840f-80c362df9247" providerId="ADAL" clId="{D98D1D94-E5EF-4A5F-8B22-D2A92A3A93DC}" dt="2023-11-07T09:32:54.251" v="7268" actId="2696"/>
          <pc:sldLayoutMkLst>
            <pc:docMk/>
            <pc:sldMasterMk cId="0" sldId="2147483678"/>
            <pc:sldLayoutMk cId="0" sldId="2147483654"/>
          </pc:sldLayoutMkLst>
        </pc:sldLayoutChg>
        <pc:sldLayoutChg chg="del">
          <pc:chgData name="Roy Chowdhury, Ritwik" userId="bfb84a7f-f393-43f0-840f-80c362df9247" providerId="ADAL" clId="{D98D1D94-E5EF-4A5F-8B22-D2A92A3A93DC}" dt="2023-11-07T09:32:47.390" v="7266" actId="2696"/>
          <pc:sldLayoutMkLst>
            <pc:docMk/>
            <pc:sldMasterMk cId="0" sldId="2147483678"/>
            <pc:sldLayoutMk cId="0" sldId="2147483655"/>
          </pc:sldLayoutMkLst>
        </pc:sldLayoutChg>
        <pc:sldLayoutChg chg="del">
          <pc:chgData name="Roy Chowdhury, Ritwik" userId="bfb84a7f-f393-43f0-840f-80c362df9247" providerId="ADAL" clId="{D98D1D94-E5EF-4A5F-8B22-D2A92A3A93DC}" dt="2023-11-07T09:32:58.026" v="7269" actId="2696"/>
          <pc:sldLayoutMkLst>
            <pc:docMk/>
            <pc:sldMasterMk cId="0" sldId="2147483678"/>
            <pc:sldLayoutMk cId="0" sldId="2147483656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57"/>
          </pc:sldLayoutMkLst>
        </pc:sldLayoutChg>
        <pc:sldLayoutChg chg="del">
          <pc:chgData name="Roy Chowdhury, Ritwik" userId="bfb84a7f-f393-43f0-840f-80c362df9247" providerId="ADAL" clId="{D98D1D94-E5EF-4A5F-8B22-D2A92A3A93DC}" dt="2023-11-07T09:32:42.775" v="7265" actId="2696"/>
          <pc:sldLayoutMkLst>
            <pc:docMk/>
            <pc:sldMasterMk cId="0" sldId="2147483678"/>
            <pc:sldLayoutMk cId="0" sldId="2147483659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61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63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65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67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69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70"/>
          </pc:sldLayoutMkLst>
        </pc:sldLayoutChg>
        <pc:sldLayoutChg chg="del">
          <pc:chgData name="Roy Chowdhury, Ritwik" userId="bfb84a7f-f393-43f0-840f-80c362df9247" providerId="ADAL" clId="{D98D1D94-E5EF-4A5F-8B22-D2A92A3A93DC}" dt="2023-11-07T09:33:17.399" v="7270" actId="2696"/>
          <pc:sldLayoutMkLst>
            <pc:docMk/>
            <pc:sldMasterMk cId="0" sldId="2147483678"/>
            <pc:sldLayoutMk cId="0" sldId="2147483671"/>
          </pc:sldLayoutMkLst>
        </pc:sldLayoutChg>
        <pc:sldLayoutChg chg="del">
          <pc:chgData name="Roy Chowdhury, Ritwik" userId="bfb84a7f-f393-43f0-840f-80c362df9247" providerId="ADAL" clId="{D98D1D94-E5EF-4A5F-8B22-D2A92A3A93DC}" dt="2023-11-05T01:12:36.428" v="2190" actId="47"/>
          <pc:sldLayoutMkLst>
            <pc:docMk/>
            <pc:sldMasterMk cId="0" sldId="2147483678"/>
            <pc:sldLayoutMk cId="2441920289" sldId="2147483730"/>
          </pc:sldLayoutMkLst>
        </pc:sldLayoutChg>
        <pc:sldLayoutChg chg="delSp modSp mod">
          <pc:chgData name="Roy Chowdhury, Ritwik" userId="bfb84a7f-f393-43f0-840f-80c362df9247" providerId="ADAL" clId="{D98D1D94-E5EF-4A5F-8B22-D2A92A3A93DC}" dt="2023-11-05T19:51:00.232" v="4566" actId="478"/>
          <pc:sldLayoutMkLst>
            <pc:docMk/>
            <pc:sldMasterMk cId="0" sldId="2147483678"/>
            <pc:sldLayoutMk cId="2209248226" sldId="2147483735"/>
          </pc:sldLayoutMkLst>
          <pc:spChg chg="del">
            <ac:chgData name="Roy Chowdhury, Ritwik" userId="bfb84a7f-f393-43f0-840f-80c362df9247" providerId="ADAL" clId="{D98D1D94-E5EF-4A5F-8B22-D2A92A3A93DC}" dt="2023-11-05T19:50:48.946" v="4560" actId="478"/>
            <ac:spMkLst>
              <pc:docMk/>
              <pc:sldMasterMk cId="0" sldId="2147483678"/>
              <pc:sldLayoutMk cId="2209248226" sldId="2147483735"/>
              <ac:spMk id="11" creationId="{00000000-0000-0000-0000-000000000000}"/>
            </ac:spMkLst>
          </pc:spChg>
          <pc:spChg chg="del">
            <ac:chgData name="Roy Chowdhury, Ritwik" userId="bfb84a7f-f393-43f0-840f-80c362df9247" providerId="ADAL" clId="{D98D1D94-E5EF-4A5F-8B22-D2A92A3A93DC}" dt="2023-11-05T19:51:00.232" v="4566" actId="478"/>
            <ac:spMkLst>
              <pc:docMk/>
              <pc:sldMasterMk cId="0" sldId="2147483678"/>
              <pc:sldLayoutMk cId="2209248226" sldId="2147483735"/>
              <ac:spMk id="17" creationId="{00000000-0000-0000-0000-000000000000}"/>
            </ac:spMkLst>
          </pc:spChg>
          <pc:spChg chg="del mod">
            <ac:chgData name="Roy Chowdhury, Ritwik" userId="bfb84a7f-f393-43f0-840f-80c362df9247" providerId="ADAL" clId="{D98D1D94-E5EF-4A5F-8B22-D2A92A3A93DC}" dt="2023-11-05T19:50:58.253" v="4565" actId="478"/>
            <ac:spMkLst>
              <pc:docMk/>
              <pc:sldMasterMk cId="0" sldId="2147483678"/>
              <pc:sldLayoutMk cId="2209248226" sldId="2147483735"/>
              <ac:spMk id="18" creationId="{00000000-0000-0000-0000-000000000000}"/>
            </ac:spMkLst>
          </pc:spChg>
          <pc:grpChg chg="del">
            <ac:chgData name="Roy Chowdhury, Ritwik" userId="bfb84a7f-f393-43f0-840f-80c362df9247" providerId="ADAL" clId="{D98D1D94-E5EF-4A5F-8B22-D2A92A3A93DC}" dt="2023-11-05T19:50:52.192" v="4562" actId="478"/>
            <ac:grpSpMkLst>
              <pc:docMk/>
              <pc:sldMasterMk cId="0" sldId="2147483678"/>
              <pc:sldLayoutMk cId="2209248226" sldId="2147483735"/>
              <ac:grpSpMk id="5" creationId="{00000000-0000-0000-0000-000000000000}"/>
            </ac:grpSpMkLst>
          </pc:grpChg>
          <pc:grpChg chg="del">
            <ac:chgData name="Roy Chowdhury, Ritwik" userId="bfb84a7f-f393-43f0-840f-80c362df9247" providerId="ADAL" clId="{D98D1D94-E5EF-4A5F-8B22-D2A92A3A93DC}" dt="2023-11-05T19:50:51.449" v="4561" actId="478"/>
            <ac:grpSpMkLst>
              <pc:docMk/>
              <pc:sldMasterMk cId="0" sldId="2147483678"/>
              <pc:sldLayoutMk cId="2209248226" sldId="2147483735"/>
              <ac:grpSpMk id="8" creationId="{00000000-0000-0000-0000-000000000000}"/>
            </ac:grpSpMkLst>
          </pc:grpChg>
          <pc:cxnChg chg="del">
            <ac:chgData name="Roy Chowdhury, Ritwik" userId="bfb84a7f-f393-43f0-840f-80c362df9247" providerId="ADAL" clId="{D98D1D94-E5EF-4A5F-8B22-D2A92A3A93DC}" dt="2023-11-05T19:50:57.479" v="4564" actId="478"/>
            <ac:cxnSpMkLst>
              <pc:docMk/>
              <pc:sldMasterMk cId="0" sldId="2147483678"/>
              <pc:sldLayoutMk cId="2209248226" sldId="2147483735"/>
              <ac:cxnSpMk id="12" creationId="{00000000-0000-0000-0000-000000000000}"/>
            </ac:cxnSpMkLst>
          </pc:cxnChg>
        </pc:sldLayoutChg>
      </pc:sldMasterChg>
      <pc:sldMasterChg chg="del delSldLayout">
        <pc:chgData name="Roy Chowdhury, Ritwik" userId="bfb84a7f-f393-43f0-840f-80c362df9247" providerId="ADAL" clId="{D98D1D94-E5EF-4A5F-8B22-D2A92A3A93DC}" dt="2023-11-03T18:31:00.217" v="165" actId="2696"/>
        <pc:sldMasterMkLst>
          <pc:docMk/>
          <pc:sldMasterMk cId="675666610" sldId="2147483731"/>
        </pc:sldMasterMkLst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331457445" sldId="2147483732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390757276" sldId="2147483733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1401190775" sldId="2147483734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3770502491" sldId="2147483735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4082190714" sldId="2147483736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2130674278" sldId="2147483737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3687568065" sldId="2147483738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1215002802" sldId="2147483739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2153923402" sldId="2147483740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1582367853" sldId="2147483741"/>
          </pc:sldLayoutMkLst>
        </pc:sldLayoutChg>
        <pc:sldLayoutChg chg="del">
          <pc:chgData name="Roy Chowdhury, Ritwik" userId="bfb84a7f-f393-43f0-840f-80c362df9247" providerId="ADAL" clId="{D98D1D94-E5EF-4A5F-8B22-D2A92A3A93DC}" dt="2023-11-03T18:31:00.217" v="165" actId="2696"/>
          <pc:sldLayoutMkLst>
            <pc:docMk/>
            <pc:sldMasterMk cId="675666610" sldId="2147483731"/>
            <pc:sldLayoutMk cId="259452395" sldId="2147483742"/>
          </pc:sldLayoutMkLst>
        </pc:sldLayoutChg>
      </pc:sldMasterChg>
      <pc:sldMasterChg chg="del delSldLayout">
        <pc:chgData name="Roy Chowdhury, Ritwik" userId="bfb84a7f-f393-43f0-840f-80c362df9247" providerId="ADAL" clId="{D98D1D94-E5EF-4A5F-8B22-D2A92A3A93DC}" dt="2023-11-03T18:18:11.435" v="52" actId="2696"/>
        <pc:sldMasterMkLst>
          <pc:docMk/>
          <pc:sldMasterMk cId="4008398714" sldId="2147483731"/>
        </pc:sldMasterMkLst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3903036394" sldId="2147483732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4162195687" sldId="2147483733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1477516474" sldId="2147483734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2833110416" sldId="2147483735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2280468386" sldId="2147483736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1408107912" sldId="2147483737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3455503265" sldId="2147483738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551523238" sldId="2147483739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7522809" sldId="2147483740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293034430" sldId="2147483741"/>
          </pc:sldLayoutMkLst>
        </pc:sldLayoutChg>
        <pc:sldLayoutChg chg="del">
          <pc:chgData name="Roy Chowdhury, Ritwik" userId="bfb84a7f-f393-43f0-840f-80c362df9247" providerId="ADAL" clId="{D98D1D94-E5EF-4A5F-8B22-D2A92A3A93DC}" dt="2023-11-03T18:18:11.435" v="52" actId="2696"/>
          <pc:sldLayoutMkLst>
            <pc:docMk/>
            <pc:sldMasterMk cId="4008398714" sldId="2147483731"/>
            <pc:sldLayoutMk cId="3827241850" sldId="2147483742"/>
          </pc:sldLayoutMkLst>
        </pc:sldLayoutChg>
      </pc:sldMasterChg>
    </pc:docChg>
  </pc:docChgLst>
  <pc:docChgLst>
    <pc:chgData name="Roy Chowdhury, Ritwik" userId="bfb84a7f-f393-43f0-840f-80c362df9247" providerId="ADAL" clId="{41F4B594-AF29-4A9F-A026-1FF36D047A55}"/>
    <pc:docChg chg="undo custSel addSld modSld sldOrd">
      <pc:chgData name="Roy Chowdhury, Ritwik" userId="bfb84a7f-f393-43f0-840f-80c362df9247" providerId="ADAL" clId="{41F4B594-AF29-4A9F-A026-1FF36D047A55}" dt="2024-02-08T05:51:08.652" v="583" actId="20577"/>
      <pc:docMkLst>
        <pc:docMk/>
      </pc:docMkLst>
      <pc:sldChg chg="modSp mod">
        <pc:chgData name="Roy Chowdhury, Ritwik" userId="bfb84a7f-f393-43f0-840f-80c362df9247" providerId="ADAL" clId="{41F4B594-AF29-4A9F-A026-1FF36D047A55}" dt="2024-02-08T05:47:53.068" v="473" actId="20577"/>
        <pc:sldMkLst>
          <pc:docMk/>
          <pc:sldMk cId="3130399512" sldId="450"/>
        </pc:sldMkLst>
        <pc:spChg chg="mod">
          <ac:chgData name="Roy Chowdhury, Ritwik" userId="bfb84a7f-f393-43f0-840f-80c362df9247" providerId="ADAL" clId="{41F4B594-AF29-4A9F-A026-1FF36D047A55}" dt="2024-02-08T05:47:53.068" v="473" actId="20577"/>
          <ac:spMkLst>
            <pc:docMk/>
            <pc:sldMk cId="3130399512" sldId="450"/>
            <ac:spMk id="45" creationId="{24DAA71A-304D-69D7-70A0-426DD0423008}"/>
          </ac:spMkLst>
        </pc:spChg>
        <pc:grpChg chg="mod">
          <ac:chgData name="Roy Chowdhury, Ritwik" userId="bfb84a7f-f393-43f0-840f-80c362df9247" providerId="ADAL" clId="{41F4B594-AF29-4A9F-A026-1FF36D047A55}" dt="2024-02-08T05:47:39.807" v="471" actId="14100"/>
          <ac:grpSpMkLst>
            <pc:docMk/>
            <pc:sldMk cId="3130399512" sldId="450"/>
            <ac:grpSpMk id="43" creationId="{16CAA7BF-D41C-EE43-F04E-0ED5D57A1F32}"/>
          </ac:grpSpMkLst>
        </pc:grpChg>
      </pc:sldChg>
      <pc:sldChg chg="modSp mod">
        <pc:chgData name="Roy Chowdhury, Ritwik" userId="bfb84a7f-f393-43f0-840f-80c362df9247" providerId="ADAL" clId="{41F4B594-AF29-4A9F-A026-1FF36D047A55}" dt="2024-02-08T05:51:08.652" v="583" actId="20577"/>
        <pc:sldMkLst>
          <pc:docMk/>
          <pc:sldMk cId="1422633457" sldId="457"/>
        </pc:sldMkLst>
        <pc:spChg chg="mod">
          <ac:chgData name="Roy Chowdhury, Ritwik" userId="bfb84a7f-f393-43f0-840f-80c362df9247" providerId="ADAL" clId="{41F4B594-AF29-4A9F-A026-1FF36D047A55}" dt="2024-02-08T05:51:08.652" v="583" actId="20577"/>
          <ac:spMkLst>
            <pc:docMk/>
            <pc:sldMk cId="1422633457" sldId="457"/>
            <ac:spMk id="4" creationId="{119984D1-2C54-3088-E118-735368F69FAB}"/>
          </ac:spMkLst>
        </pc:spChg>
      </pc:sldChg>
      <pc:sldChg chg="ord">
        <pc:chgData name="Roy Chowdhury, Ritwik" userId="bfb84a7f-f393-43f0-840f-80c362df9247" providerId="ADAL" clId="{41F4B594-AF29-4A9F-A026-1FF36D047A55}" dt="2024-02-08T05:43:38.682" v="399"/>
        <pc:sldMkLst>
          <pc:docMk/>
          <pc:sldMk cId="4265490173" sldId="473"/>
        </pc:sldMkLst>
      </pc:sldChg>
      <pc:sldChg chg="ord">
        <pc:chgData name="Roy Chowdhury, Ritwik" userId="bfb84a7f-f393-43f0-840f-80c362df9247" providerId="ADAL" clId="{41F4B594-AF29-4A9F-A026-1FF36D047A55}" dt="2024-02-08T05:43:50.532" v="401"/>
        <pc:sldMkLst>
          <pc:docMk/>
          <pc:sldMk cId="1847215615" sldId="476"/>
        </pc:sldMkLst>
      </pc:sldChg>
      <pc:sldChg chg="addSp modSp mod">
        <pc:chgData name="Roy Chowdhury, Ritwik" userId="bfb84a7f-f393-43f0-840f-80c362df9247" providerId="ADAL" clId="{41F4B594-AF29-4A9F-A026-1FF36D047A55}" dt="2024-02-08T05:45:01.205" v="468" actId="1076"/>
        <pc:sldMkLst>
          <pc:docMk/>
          <pc:sldMk cId="3674934328" sldId="477"/>
        </pc:sldMkLst>
        <pc:spChg chg="add mod">
          <ac:chgData name="Roy Chowdhury, Ritwik" userId="bfb84a7f-f393-43f0-840f-80c362df9247" providerId="ADAL" clId="{41F4B594-AF29-4A9F-A026-1FF36D047A55}" dt="2024-02-08T05:45:01.205" v="468" actId="1076"/>
          <ac:spMkLst>
            <pc:docMk/>
            <pc:sldMk cId="3674934328" sldId="477"/>
            <ac:spMk id="3" creationId="{5DFC407D-98FB-3BF9-F017-E3EDEF82A190}"/>
          </ac:spMkLst>
        </pc:spChg>
        <pc:graphicFrameChg chg="mod">
          <ac:chgData name="Roy Chowdhury, Ritwik" userId="bfb84a7f-f393-43f0-840f-80c362df9247" providerId="ADAL" clId="{41F4B594-AF29-4A9F-A026-1FF36D047A55}" dt="2024-02-08T05:44:58.844" v="467" actId="1076"/>
          <ac:graphicFrameMkLst>
            <pc:docMk/>
            <pc:sldMk cId="3674934328" sldId="477"/>
            <ac:graphicFrameMk id="36" creationId="{63EE0721-C91A-8229-C1CE-25343D4977B2}"/>
          </ac:graphicFrameMkLst>
        </pc:graphicFrameChg>
      </pc:sldChg>
      <pc:sldChg chg="addSp modSp">
        <pc:chgData name="Roy Chowdhury, Ritwik" userId="bfb84a7f-f393-43f0-840f-80c362df9247" providerId="ADAL" clId="{41F4B594-AF29-4A9F-A026-1FF36D047A55}" dt="2024-02-08T05:45:10.881" v="469"/>
        <pc:sldMkLst>
          <pc:docMk/>
          <pc:sldMk cId="353574152" sldId="482"/>
        </pc:sldMkLst>
        <pc:spChg chg="add mod">
          <ac:chgData name="Roy Chowdhury, Ritwik" userId="bfb84a7f-f393-43f0-840f-80c362df9247" providerId="ADAL" clId="{41F4B594-AF29-4A9F-A026-1FF36D047A55}" dt="2024-02-08T05:45:10.881" v="469"/>
          <ac:spMkLst>
            <pc:docMk/>
            <pc:sldMk cId="353574152" sldId="482"/>
            <ac:spMk id="3" creationId="{A7587D25-75BB-9FD8-8AB7-7F2BEBD9434D}"/>
          </ac:spMkLst>
        </pc:spChg>
      </pc:sldChg>
      <pc:sldChg chg="ord">
        <pc:chgData name="Roy Chowdhury, Ritwik" userId="bfb84a7f-f393-43f0-840f-80c362df9247" providerId="ADAL" clId="{41F4B594-AF29-4A9F-A026-1FF36D047A55}" dt="2024-02-08T05:44:03.531" v="403"/>
        <pc:sldMkLst>
          <pc:docMk/>
          <pc:sldMk cId="2320697523" sldId="489"/>
        </pc:sldMkLst>
      </pc:sldChg>
      <pc:sldChg chg="addSp modSp mod">
        <pc:chgData name="Roy Chowdhury, Ritwik" userId="bfb84a7f-f393-43f0-840f-80c362df9247" providerId="ADAL" clId="{41F4B594-AF29-4A9F-A026-1FF36D047A55}" dt="2024-02-08T05:33:56.405" v="179" actId="14100"/>
        <pc:sldMkLst>
          <pc:docMk/>
          <pc:sldMk cId="481331116" sldId="493"/>
        </pc:sldMkLst>
        <pc:spChg chg="mod">
          <ac:chgData name="Roy Chowdhury, Ritwik" userId="bfb84a7f-f393-43f0-840f-80c362df9247" providerId="ADAL" clId="{41F4B594-AF29-4A9F-A026-1FF36D047A55}" dt="2024-02-08T05:33:47.547" v="178" actId="20577"/>
          <ac:spMkLst>
            <pc:docMk/>
            <pc:sldMk cId="481331116" sldId="493"/>
            <ac:spMk id="3" creationId="{5A53B42F-D278-0B50-8407-BF9EFA75D07E}"/>
          </ac:spMkLst>
        </pc:spChg>
        <pc:spChg chg="add mod">
          <ac:chgData name="Roy Chowdhury, Ritwik" userId="bfb84a7f-f393-43f0-840f-80c362df9247" providerId="ADAL" clId="{41F4B594-AF29-4A9F-A026-1FF36D047A55}" dt="2024-02-08T05:32:49.499" v="141" actId="14100"/>
          <ac:spMkLst>
            <pc:docMk/>
            <pc:sldMk cId="481331116" sldId="493"/>
            <ac:spMk id="4" creationId="{1A8B7051-7581-66AE-C12E-E942AF4E82FE}"/>
          </ac:spMkLst>
        </pc:spChg>
        <pc:spChg chg="add mod">
          <ac:chgData name="Roy Chowdhury, Ritwik" userId="bfb84a7f-f393-43f0-840f-80c362df9247" providerId="ADAL" clId="{41F4B594-AF29-4A9F-A026-1FF36D047A55}" dt="2024-02-08T05:33:56.405" v="179" actId="14100"/>
          <ac:spMkLst>
            <pc:docMk/>
            <pc:sldMk cId="481331116" sldId="493"/>
            <ac:spMk id="5" creationId="{9A929659-6908-394A-7DD3-5EFFC8DE666D}"/>
          </ac:spMkLst>
        </pc:spChg>
      </pc:sldChg>
      <pc:sldChg chg="addSp modSp new mod">
        <pc:chgData name="Roy Chowdhury, Ritwik" userId="bfb84a7f-f393-43f0-840f-80c362df9247" providerId="ADAL" clId="{41F4B594-AF29-4A9F-A026-1FF36D047A55}" dt="2024-02-08T05:39:37.463" v="397" actId="20577"/>
        <pc:sldMkLst>
          <pc:docMk/>
          <pc:sldMk cId="524113774" sldId="496"/>
        </pc:sldMkLst>
        <pc:spChg chg="add mod">
          <ac:chgData name="Roy Chowdhury, Ritwik" userId="bfb84a7f-f393-43f0-840f-80c362df9247" providerId="ADAL" clId="{41F4B594-AF29-4A9F-A026-1FF36D047A55}" dt="2024-02-08T05:39:37.463" v="397" actId="20577"/>
          <ac:spMkLst>
            <pc:docMk/>
            <pc:sldMk cId="524113774" sldId="496"/>
            <ac:spMk id="3" creationId="{DBACBD9F-9C18-5798-E457-3EDCD9F25AF8}"/>
          </ac:spMkLst>
        </pc:spChg>
        <pc:spChg chg="add mod">
          <ac:chgData name="Roy Chowdhury, Ritwik" userId="bfb84a7f-f393-43f0-840f-80c362df9247" providerId="ADAL" clId="{41F4B594-AF29-4A9F-A026-1FF36D047A55}" dt="2024-02-08T05:39:10.496" v="386" actId="1076"/>
          <ac:spMkLst>
            <pc:docMk/>
            <pc:sldMk cId="524113774" sldId="496"/>
            <ac:spMk id="8" creationId="{C59E2AEE-A99A-03AB-E011-357720AC95F0}"/>
          </ac:spMkLst>
        </pc:spChg>
        <pc:spChg chg="add mod">
          <ac:chgData name="Roy Chowdhury, Ritwik" userId="bfb84a7f-f393-43f0-840f-80c362df9247" providerId="ADAL" clId="{41F4B594-AF29-4A9F-A026-1FF36D047A55}" dt="2024-02-08T05:39:05.777" v="385" actId="403"/>
          <ac:spMkLst>
            <pc:docMk/>
            <pc:sldMk cId="524113774" sldId="496"/>
            <ac:spMk id="9" creationId="{8854DC53-2977-9B52-C8CF-881DFB4131DA}"/>
          </ac:spMkLst>
        </pc:spChg>
        <pc:spChg chg="add mod">
          <ac:chgData name="Roy Chowdhury, Ritwik" userId="bfb84a7f-f393-43f0-840f-80c362df9247" providerId="ADAL" clId="{41F4B594-AF29-4A9F-A026-1FF36D047A55}" dt="2024-02-08T05:39:01.239" v="382" actId="1076"/>
          <ac:spMkLst>
            <pc:docMk/>
            <pc:sldMk cId="524113774" sldId="496"/>
            <ac:spMk id="10" creationId="{A5152BAD-203E-9AD9-F2F9-34F0D84E5516}"/>
          </ac:spMkLst>
        </pc:spChg>
        <pc:picChg chg="add mod">
          <ac:chgData name="Roy Chowdhury, Ritwik" userId="bfb84a7f-f393-43f0-840f-80c362df9247" providerId="ADAL" clId="{41F4B594-AF29-4A9F-A026-1FF36D047A55}" dt="2024-02-08T05:38:11.208" v="328" actId="1076"/>
          <ac:picMkLst>
            <pc:docMk/>
            <pc:sldMk cId="524113774" sldId="496"/>
            <ac:picMk id="5" creationId="{A073D479-7A06-CF9B-B0E7-DB6BDAC3C5AE}"/>
          </ac:picMkLst>
        </pc:picChg>
        <pc:picChg chg="add mod">
          <ac:chgData name="Roy Chowdhury, Ritwik" userId="bfb84a7f-f393-43f0-840f-80c362df9247" providerId="ADAL" clId="{41F4B594-AF29-4A9F-A026-1FF36D047A55}" dt="2024-02-08T05:38:25.040" v="331" actId="1076"/>
          <ac:picMkLst>
            <pc:docMk/>
            <pc:sldMk cId="524113774" sldId="496"/>
            <ac:picMk id="7" creationId="{542A09E3-7673-F178-E906-5E8EDB9D1459}"/>
          </ac:picMkLst>
        </pc:picChg>
      </pc:sldChg>
    </pc:docChg>
  </pc:docChgLst>
  <pc:docChgLst>
    <pc:chgData name="Muchahary, Frankle" userId="0f2bf491-0617-4378-90b8-89af8fa381b9" providerId="ADAL" clId="{EF1B1206-FDDC-46E4-A328-0322BAF93445}"/>
    <pc:docChg chg="undo custSel addSld delSld modSld replTag">
      <pc:chgData name="Muchahary, Frankle" userId="0f2bf491-0617-4378-90b8-89af8fa381b9" providerId="ADAL" clId="{EF1B1206-FDDC-46E4-A328-0322BAF93445}" dt="2024-02-08T05:52:03.427" v="9991"/>
      <pc:docMkLst>
        <pc:docMk/>
      </pc:docMkLst>
      <pc:sldChg chg="modSp mod">
        <pc:chgData name="Muchahary, Frankle" userId="0f2bf491-0617-4378-90b8-89af8fa381b9" providerId="ADAL" clId="{EF1B1206-FDDC-46E4-A328-0322BAF93445}" dt="2024-02-08T05:49:22.207" v="9938" actId="20577"/>
        <pc:sldMkLst>
          <pc:docMk/>
          <pc:sldMk cId="1357425586" sldId="373"/>
        </pc:sldMkLst>
        <pc:spChg chg="mod">
          <ac:chgData name="Muchahary, Frankle" userId="0f2bf491-0617-4378-90b8-89af8fa381b9" providerId="ADAL" clId="{EF1B1206-FDDC-46E4-A328-0322BAF93445}" dt="2024-02-08T05:33:39.358" v="9001" actId="1076"/>
          <ac:spMkLst>
            <pc:docMk/>
            <pc:sldMk cId="1357425586" sldId="373"/>
            <ac:spMk id="887" creationId="{00000000-0000-0000-0000-000000000000}"/>
          </ac:spMkLst>
        </pc:spChg>
        <pc:spChg chg="mod">
          <ac:chgData name="Muchahary, Frankle" userId="0f2bf491-0617-4378-90b8-89af8fa381b9" providerId="ADAL" clId="{EF1B1206-FDDC-46E4-A328-0322BAF93445}" dt="2024-02-08T05:33:41.266" v="9002" actId="1076"/>
          <ac:spMkLst>
            <pc:docMk/>
            <pc:sldMk cId="1357425586" sldId="373"/>
            <ac:spMk id="888" creationId="{00000000-0000-0000-0000-000000000000}"/>
          </ac:spMkLst>
        </pc:spChg>
        <pc:spChg chg="mod">
          <ac:chgData name="Muchahary, Frankle" userId="0f2bf491-0617-4378-90b8-89af8fa381b9" providerId="ADAL" clId="{EF1B1206-FDDC-46E4-A328-0322BAF93445}" dt="2024-02-08T05:33:45.557" v="9003" actId="1076"/>
          <ac:spMkLst>
            <pc:docMk/>
            <pc:sldMk cId="1357425586" sldId="373"/>
            <ac:spMk id="889" creationId="{00000000-0000-0000-0000-000000000000}"/>
          </ac:spMkLst>
        </pc:spChg>
        <pc:spChg chg="mod">
          <ac:chgData name="Muchahary, Frankle" userId="0f2bf491-0617-4378-90b8-89af8fa381b9" providerId="ADAL" clId="{EF1B1206-FDDC-46E4-A328-0322BAF93445}" dt="2024-02-08T05:34:03.313" v="9028" actId="14100"/>
          <ac:spMkLst>
            <pc:docMk/>
            <pc:sldMk cId="1357425586" sldId="373"/>
            <ac:spMk id="890" creationId="{00000000-0000-0000-0000-000000000000}"/>
          </ac:spMkLst>
        </pc:spChg>
        <pc:spChg chg="mod">
          <ac:chgData name="Muchahary, Frankle" userId="0f2bf491-0617-4378-90b8-89af8fa381b9" providerId="ADAL" clId="{EF1B1206-FDDC-46E4-A328-0322BAF93445}" dt="2024-02-08T05:49:22.207" v="9938" actId="20577"/>
          <ac:spMkLst>
            <pc:docMk/>
            <pc:sldMk cId="1357425586" sldId="373"/>
            <ac:spMk id="894" creationId="{00000000-0000-0000-0000-000000000000}"/>
          </ac:spMkLst>
        </pc:spChg>
      </pc:sldChg>
      <pc:sldChg chg="modNotesTx">
        <pc:chgData name="Muchahary, Frankle" userId="0f2bf491-0617-4378-90b8-89af8fa381b9" providerId="ADAL" clId="{EF1B1206-FDDC-46E4-A328-0322BAF93445}" dt="2024-02-08T05:26:53.352" v="8786" actId="20577"/>
        <pc:sldMkLst>
          <pc:docMk/>
          <pc:sldMk cId="722401933" sldId="374"/>
        </pc:sldMkLst>
      </pc:sldChg>
      <pc:sldChg chg="modNotesTx">
        <pc:chgData name="Muchahary, Frankle" userId="0f2bf491-0617-4378-90b8-89af8fa381b9" providerId="ADAL" clId="{EF1B1206-FDDC-46E4-A328-0322BAF93445}" dt="2024-02-08T05:27:11.738" v="8816" actId="20577"/>
        <pc:sldMkLst>
          <pc:docMk/>
          <pc:sldMk cId="4242406866" sldId="375"/>
        </pc:sldMkLst>
      </pc:sldChg>
      <pc:sldChg chg="modSp mod">
        <pc:chgData name="Muchahary, Frankle" userId="0f2bf491-0617-4378-90b8-89af8fa381b9" providerId="ADAL" clId="{EF1B1206-FDDC-46E4-A328-0322BAF93445}" dt="2024-02-08T05:48:04.696" v="9902" actId="20577"/>
        <pc:sldMkLst>
          <pc:docMk/>
          <pc:sldMk cId="3130399512" sldId="450"/>
        </pc:sldMkLst>
        <pc:spChg chg="mod">
          <ac:chgData name="Muchahary, Frankle" userId="0f2bf491-0617-4378-90b8-89af8fa381b9" providerId="ADAL" clId="{EF1B1206-FDDC-46E4-A328-0322BAF93445}" dt="2024-02-08T05:37:23.583" v="9206" actId="20577"/>
          <ac:spMkLst>
            <pc:docMk/>
            <pc:sldMk cId="3130399512" sldId="450"/>
            <ac:spMk id="31" creationId="{993477CE-2EF3-37A5-7F8D-B548FB966A6C}"/>
          </ac:spMkLst>
        </pc:spChg>
        <pc:spChg chg="mod">
          <ac:chgData name="Muchahary, Frankle" userId="0f2bf491-0617-4378-90b8-89af8fa381b9" providerId="ADAL" clId="{EF1B1206-FDDC-46E4-A328-0322BAF93445}" dt="2024-02-08T05:36:07.079" v="9106" actId="14100"/>
          <ac:spMkLst>
            <pc:docMk/>
            <pc:sldMk cId="3130399512" sldId="450"/>
            <ac:spMk id="33" creationId="{F5A08578-670F-D68C-67AF-28F1E856DDA2}"/>
          </ac:spMkLst>
        </pc:spChg>
        <pc:spChg chg="mod">
          <ac:chgData name="Muchahary, Frankle" userId="0f2bf491-0617-4378-90b8-89af8fa381b9" providerId="ADAL" clId="{EF1B1206-FDDC-46E4-A328-0322BAF93445}" dt="2024-02-08T05:48:04.696" v="9902" actId="20577"/>
          <ac:spMkLst>
            <pc:docMk/>
            <pc:sldMk cId="3130399512" sldId="450"/>
            <ac:spMk id="37" creationId="{439FC097-85EB-CA53-776E-44365FB5FB91}"/>
          </ac:spMkLst>
        </pc:spChg>
        <pc:spChg chg="mod">
          <ac:chgData name="Muchahary, Frankle" userId="0f2bf491-0617-4378-90b8-89af8fa381b9" providerId="ADAL" clId="{EF1B1206-FDDC-46E4-A328-0322BAF93445}" dt="2024-02-08T05:46:31.782" v="9751" actId="20577"/>
          <ac:spMkLst>
            <pc:docMk/>
            <pc:sldMk cId="3130399512" sldId="450"/>
            <ac:spMk id="45" creationId="{24DAA71A-304D-69D7-70A0-426DD0423008}"/>
          </ac:spMkLst>
        </pc:spChg>
        <pc:spChg chg="mod">
          <ac:chgData name="Muchahary, Frankle" userId="0f2bf491-0617-4378-90b8-89af8fa381b9" providerId="ADAL" clId="{EF1B1206-FDDC-46E4-A328-0322BAF93445}" dt="2024-02-08T05:42:53.299" v="9573" actId="14100"/>
          <ac:spMkLst>
            <pc:docMk/>
            <pc:sldMk cId="3130399512" sldId="450"/>
            <ac:spMk id="47" creationId="{86498A5D-9013-3335-FCBC-BE1B2686EDF7}"/>
          </ac:spMkLst>
        </pc:spChg>
        <pc:grpChg chg="mod">
          <ac:chgData name="Muchahary, Frankle" userId="0f2bf491-0617-4378-90b8-89af8fa381b9" providerId="ADAL" clId="{EF1B1206-FDDC-46E4-A328-0322BAF93445}" dt="2024-02-08T05:36:29.379" v="9109" actId="1076"/>
          <ac:grpSpMkLst>
            <pc:docMk/>
            <pc:sldMk cId="3130399512" sldId="450"/>
            <ac:grpSpMk id="3" creationId="{93B3E554-BABF-B432-F988-AF0ADA4D4D78}"/>
          </ac:grpSpMkLst>
        </pc:grpChg>
        <pc:grpChg chg="mod">
          <ac:chgData name="Muchahary, Frankle" userId="0f2bf491-0617-4378-90b8-89af8fa381b9" providerId="ADAL" clId="{EF1B1206-FDDC-46E4-A328-0322BAF93445}" dt="2024-02-08T05:36:00.790" v="9105" actId="14100"/>
          <ac:grpSpMkLst>
            <pc:docMk/>
            <pc:sldMk cId="3130399512" sldId="450"/>
            <ac:grpSpMk id="9" creationId="{5F92DC02-5138-5406-814F-6CC5B3F1CBFD}"/>
          </ac:grpSpMkLst>
        </pc:grpChg>
        <pc:grpChg chg="mod">
          <ac:chgData name="Muchahary, Frankle" userId="0f2bf491-0617-4378-90b8-89af8fa381b9" providerId="ADAL" clId="{EF1B1206-FDDC-46E4-A328-0322BAF93445}" dt="2024-02-08T05:35:07.523" v="9034" actId="14100"/>
          <ac:grpSpMkLst>
            <pc:docMk/>
            <pc:sldMk cId="3130399512" sldId="450"/>
            <ac:grpSpMk id="43" creationId="{16CAA7BF-D41C-EE43-F04E-0ED5D57A1F32}"/>
          </ac:grpSpMkLst>
        </pc:grpChg>
        <pc:cxnChg chg="mod">
          <ac:chgData name="Muchahary, Frankle" userId="0f2bf491-0617-4378-90b8-89af8fa381b9" providerId="ADAL" clId="{EF1B1206-FDDC-46E4-A328-0322BAF93445}" dt="2024-02-08T05:36:11.844" v="9107" actId="14100"/>
          <ac:cxnSpMkLst>
            <pc:docMk/>
            <pc:sldMk cId="3130399512" sldId="450"/>
            <ac:cxnSpMk id="34" creationId="{4D709CDA-414B-5507-AD80-780546E7E9CF}"/>
          </ac:cxnSpMkLst>
        </pc:cxnChg>
        <pc:cxnChg chg="mod">
          <ac:chgData name="Muchahary, Frankle" userId="0f2bf491-0617-4378-90b8-89af8fa381b9" providerId="ADAL" clId="{EF1B1206-FDDC-46E4-A328-0322BAF93445}" dt="2024-02-08T05:43:05.180" v="9574" actId="14100"/>
          <ac:cxnSpMkLst>
            <pc:docMk/>
            <pc:sldMk cId="3130399512" sldId="450"/>
            <ac:cxnSpMk id="48" creationId="{11C158D5-6440-7E9B-D847-9307BA3E767C}"/>
          </ac:cxnSpMkLst>
        </pc:cxnChg>
      </pc:sldChg>
      <pc:sldChg chg="addSp delSp modSp mod">
        <pc:chgData name="Muchahary, Frankle" userId="0f2bf491-0617-4378-90b8-89af8fa381b9" providerId="ADAL" clId="{EF1B1206-FDDC-46E4-A328-0322BAF93445}" dt="2024-02-08T05:52:03.427" v="9991"/>
        <pc:sldMkLst>
          <pc:docMk/>
          <pc:sldMk cId="3742642329" sldId="455"/>
        </pc:sldMkLst>
        <pc:spChg chg="add del mod modVis">
          <ac:chgData name="Muchahary, Frankle" userId="0f2bf491-0617-4378-90b8-89af8fa381b9" providerId="ADAL" clId="{EF1B1206-FDDC-46E4-A328-0322BAF93445}" dt="2024-02-08T05:52:03.426" v="9989"/>
          <ac:spMkLst>
            <pc:docMk/>
            <pc:sldMk cId="3742642329" sldId="455"/>
            <ac:spMk id="2" creationId="{BA230066-A5A5-FCB8-1EAB-2E3B66060FE8}"/>
          </ac:spMkLst>
        </pc:spChg>
        <pc:spChg chg="mod">
          <ac:chgData name="Muchahary, Frankle" userId="0f2bf491-0617-4378-90b8-89af8fa381b9" providerId="ADAL" clId="{EF1B1206-FDDC-46E4-A328-0322BAF93445}" dt="2024-02-08T05:52:03.355" v="9966" actId="948"/>
          <ac:spMkLst>
            <pc:docMk/>
            <pc:sldMk cId="3742642329" sldId="455"/>
            <ac:spMk id="3" creationId="{72E3E6EA-111F-56AA-553A-86DC36436039}"/>
          </ac:spMkLst>
        </pc:spChg>
        <pc:graphicFrameChg chg="mod">
          <ac:chgData name="Muchahary, Frankle" userId="0f2bf491-0617-4378-90b8-89af8fa381b9" providerId="ADAL" clId="{EF1B1206-FDDC-46E4-A328-0322BAF93445}" dt="2024-02-08T05:52:03.427" v="9991"/>
          <ac:graphicFrameMkLst>
            <pc:docMk/>
            <pc:sldMk cId="3742642329" sldId="455"/>
            <ac:graphicFrameMk id="4" creationId="{ECE92B82-86F3-9DAE-CCB0-A8B46E3F36BF}"/>
          </ac:graphicFrameMkLst>
        </pc:graphicFrameChg>
      </pc:sldChg>
      <pc:sldChg chg="modSp mod">
        <pc:chgData name="Muchahary, Frankle" userId="0f2bf491-0617-4378-90b8-89af8fa381b9" providerId="ADAL" clId="{EF1B1206-FDDC-46E4-A328-0322BAF93445}" dt="2024-02-08T05:01:28.761" v="7388" actId="20577"/>
        <pc:sldMkLst>
          <pc:docMk/>
          <pc:sldMk cId="1161872400" sldId="464"/>
        </pc:sldMkLst>
        <pc:spChg chg="mod">
          <ac:chgData name="Muchahary, Frankle" userId="0f2bf491-0617-4378-90b8-89af8fa381b9" providerId="ADAL" clId="{EF1B1206-FDDC-46E4-A328-0322BAF93445}" dt="2024-02-08T05:01:28.761" v="7388" actId="20577"/>
          <ac:spMkLst>
            <pc:docMk/>
            <pc:sldMk cId="1161872400" sldId="464"/>
            <ac:spMk id="54" creationId="{3E34A4C5-CF61-2F2D-F8C8-829E69187329}"/>
          </ac:spMkLst>
        </pc:spChg>
        <pc:spChg chg="mod">
          <ac:chgData name="Muchahary, Frankle" userId="0f2bf491-0617-4378-90b8-89af8fa381b9" providerId="ADAL" clId="{EF1B1206-FDDC-46E4-A328-0322BAF93445}" dt="2024-02-08T04:53:34.810" v="7312" actId="113"/>
          <ac:spMkLst>
            <pc:docMk/>
            <pc:sldMk cId="1161872400" sldId="464"/>
            <ac:spMk id="55" creationId="{6BE2E20C-742F-64D4-19B6-5E8EF03C07A9}"/>
          </ac:spMkLst>
        </pc:spChg>
        <pc:spChg chg="mod">
          <ac:chgData name="Muchahary, Frankle" userId="0f2bf491-0617-4378-90b8-89af8fa381b9" providerId="ADAL" clId="{EF1B1206-FDDC-46E4-A328-0322BAF93445}" dt="2024-02-08T05:01:22.980" v="7377" actId="20577"/>
          <ac:spMkLst>
            <pc:docMk/>
            <pc:sldMk cId="1161872400" sldId="464"/>
            <ac:spMk id="56" creationId="{0E093429-2E0B-D463-08B2-454F6E3A3F68}"/>
          </ac:spMkLst>
        </pc:spChg>
        <pc:spChg chg="mod">
          <ac:chgData name="Muchahary, Frankle" userId="0f2bf491-0617-4378-90b8-89af8fa381b9" providerId="ADAL" clId="{EF1B1206-FDDC-46E4-A328-0322BAF93445}" dt="2024-02-08T05:01:06.580" v="7358" actId="20577"/>
          <ac:spMkLst>
            <pc:docMk/>
            <pc:sldMk cId="1161872400" sldId="464"/>
            <ac:spMk id="57" creationId="{8E7CD8E8-098D-2A59-8EE4-9864EE4BB88D}"/>
          </ac:spMkLst>
        </pc:spChg>
      </pc:sldChg>
      <pc:sldChg chg="modSp mod">
        <pc:chgData name="Muchahary, Frankle" userId="0f2bf491-0617-4378-90b8-89af8fa381b9" providerId="ADAL" clId="{EF1B1206-FDDC-46E4-A328-0322BAF93445}" dt="2024-02-08T05:32:51.496" v="8986" actId="20577"/>
        <pc:sldMkLst>
          <pc:docMk/>
          <pc:sldMk cId="773538737" sldId="465"/>
        </pc:sldMkLst>
        <pc:spChg chg="mod">
          <ac:chgData name="Muchahary, Frankle" userId="0f2bf491-0617-4378-90b8-89af8fa381b9" providerId="ADAL" clId="{EF1B1206-FDDC-46E4-A328-0322BAF93445}" dt="2024-02-08T05:32:51.496" v="8986" actId="20577"/>
          <ac:spMkLst>
            <pc:docMk/>
            <pc:sldMk cId="773538737" sldId="465"/>
            <ac:spMk id="2" creationId="{A69DF033-5A89-C24A-59AC-1A40B7057136}"/>
          </ac:spMkLst>
        </pc:spChg>
        <pc:spChg chg="mod">
          <ac:chgData name="Muchahary, Frankle" userId="0f2bf491-0617-4378-90b8-89af8fa381b9" providerId="ADAL" clId="{EF1B1206-FDDC-46E4-A328-0322BAF93445}" dt="2024-02-08T04:51:41.715" v="7267" actId="20577"/>
          <ac:spMkLst>
            <pc:docMk/>
            <pc:sldMk cId="773538737" sldId="465"/>
            <ac:spMk id="3" creationId="{FA486285-85CE-19F7-F98B-34DF72348331}"/>
          </ac:spMkLst>
        </pc:spChg>
      </pc:sldChg>
      <pc:sldChg chg="modSp mod">
        <pc:chgData name="Muchahary, Frankle" userId="0f2bf491-0617-4378-90b8-89af8fa381b9" providerId="ADAL" clId="{EF1B1206-FDDC-46E4-A328-0322BAF93445}" dt="2024-02-08T05:32:59.887" v="8990" actId="20577"/>
        <pc:sldMkLst>
          <pc:docMk/>
          <pc:sldMk cId="309938798" sldId="466"/>
        </pc:sldMkLst>
        <pc:spChg chg="mod">
          <ac:chgData name="Muchahary, Frankle" userId="0f2bf491-0617-4378-90b8-89af8fa381b9" providerId="ADAL" clId="{EF1B1206-FDDC-46E4-A328-0322BAF93445}" dt="2024-02-08T05:32:59.887" v="8990" actId="20577"/>
          <ac:spMkLst>
            <pc:docMk/>
            <pc:sldMk cId="309938798" sldId="466"/>
            <ac:spMk id="2" creationId="{FE79A1F7-8A04-78E7-3E3F-6422E8E7D564}"/>
          </ac:spMkLst>
        </pc:spChg>
        <pc:spChg chg="mod">
          <ac:chgData name="Muchahary, Frankle" userId="0f2bf491-0617-4378-90b8-89af8fa381b9" providerId="ADAL" clId="{EF1B1206-FDDC-46E4-A328-0322BAF93445}" dt="2024-02-08T04:51:31.318" v="7265" actId="20577"/>
          <ac:spMkLst>
            <pc:docMk/>
            <pc:sldMk cId="309938798" sldId="466"/>
            <ac:spMk id="3" creationId="{957F8758-D5EE-E518-371A-4D73E0096360}"/>
          </ac:spMkLst>
        </pc:spChg>
      </pc:sldChg>
      <pc:sldChg chg="modSp mod">
        <pc:chgData name="Muchahary, Frankle" userId="0f2bf491-0617-4378-90b8-89af8fa381b9" providerId="ADAL" clId="{EF1B1206-FDDC-46E4-A328-0322BAF93445}" dt="2024-02-08T05:33:20.273" v="8999" actId="20577"/>
        <pc:sldMkLst>
          <pc:docMk/>
          <pc:sldMk cId="2251145721" sldId="468"/>
        </pc:sldMkLst>
        <pc:spChg chg="mod">
          <ac:chgData name="Muchahary, Frankle" userId="0f2bf491-0617-4378-90b8-89af8fa381b9" providerId="ADAL" clId="{EF1B1206-FDDC-46E4-A328-0322BAF93445}" dt="2024-02-08T05:33:20.273" v="8999" actId="20577"/>
          <ac:spMkLst>
            <pc:docMk/>
            <pc:sldMk cId="2251145721" sldId="468"/>
            <ac:spMk id="2" creationId="{32B95CDE-5588-14A8-82BC-5FB622BAF64F}"/>
          </ac:spMkLst>
        </pc:spChg>
      </pc:sldChg>
      <pc:sldChg chg="modSp mod">
        <pc:chgData name="Muchahary, Frankle" userId="0f2bf491-0617-4378-90b8-89af8fa381b9" providerId="ADAL" clId="{EF1B1206-FDDC-46E4-A328-0322BAF93445}" dt="2024-02-08T05:33:11.029" v="8995" actId="14100"/>
        <pc:sldMkLst>
          <pc:docMk/>
          <pc:sldMk cId="3781530259" sldId="469"/>
        </pc:sldMkLst>
        <pc:spChg chg="mod">
          <ac:chgData name="Muchahary, Frankle" userId="0f2bf491-0617-4378-90b8-89af8fa381b9" providerId="ADAL" clId="{EF1B1206-FDDC-46E4-A328-0322BAF93445}" dt="2024-02-08T05:33:11.029" v="8995" actId="14100"/>
          <ac:spMkLst>
            <pc:docMk/>
            <pc:sldMk cId="3781530259" sldId="469"/>
            <ac:spMk id="2" creationId="{735748B9-85B1-92D3-BFAF-5F19310808FF}"/>
          </ac:spMkLst>
        </pc:spChg>
        <pc:spChg chg="mod">
          <ac:chgData name="Muchahary, Frankle" userId="0f2bf491-0617-4378-90b8-89af8fa381b9" providerId="ADAL" clId="{EF1B1206-FDDC-46E4-A328-0322BAF93445}" dt="2024-02-08T05:26:04.508" v="8704" actId="20577"/>
          <ac:spMkLst>
            <pc:docMk/>
            <pc:sldMk cId="3781530259" sldId="469"/>
            <ac:spMk id="3" creationId="{BD767CFF-2AC9-AD85-160E-6A80E6D0EFEE}"/>
          </ac:spMkLst>
        </pc:spChg>
      </pc:sldChg>
      <pc:sldChg chg="modSp mod">
        <pc:chgData name="Muchahary, Frankle" userId="0f2bf491-0617-4378-90b8-89af8fa381b9" providerId="ADAL" clId="{EF1B1206-FDDC-46E4-A328-0322BAF93445}" dt="2024-02-08T05:29:41.617" v="8845" actId="113"/>
        <pc:sldMkLst>
          <pc:docMk/>
          <pc:sldMk cId="3674934328" sldId="477"/>
        </pc:sldMkLst>
        <pc:graphicFrameChg chg="modGraphic">
          <ac:chgData name="Muchahary, Frankle" userId="0f2bf491-0617-4378-90b8-89af8fa381b9" providerId="ADAL" clId="{EF1B1206-FDDC-46E4-A328-0322BAF93445}" dt="2024-02-08T05:29:41.617" v="8845" actId="113"/>
          <ac:graphicFrameMkLst>
            <pc:docMk/>
            <pc:sldMk cId="3674934328" sldId="477"/>
            <ac:graphicFrameMk id="33" creationId="{B0EC5D30-B3B2-FEB8-D4E6-7E71E837D4F4}"/>
          </ac:graphicFrameMkLst>
        </pc:graphicFrameChg>
      </pc:sldChg>
      <pc:sldChg chg="modSp mod">
        <pc:chgData name="Muchahary, Frankle" userId="0f2bf491-0617-4378-90b8-89af8fa381b9" providerId="ADAL" clId="{EF1B1206-FDDC-46E4-A328-0322BAF93445}" dt="2024-02-08T05:14:44.963" v="8143" actId="20577"/>
        <pc:sldMkLst>
          <pc:docMk/>
          <pc:sldMk cId="841303760" sldId="481"/>
        </pc:sldMkLst>
        <pc:spChg chg="mod">
          <ac:chgData name="Muchahary, Frankle" userId="0f2bf491-0617-4378-90b8-89af8fa381b9" providerId="ADAL" clId="{EF1B1206-FDDC-46E4-A328-0322BAF93445}" dt="2024-02-08T05:14:44.963" v="8143" actId="20577"/>
          <ac:spMkLst>
            <pc:docMk/>
            <pc:sldMk cId="841303760" sldId="481"/>
            <ac:spMk id="127" creationId="{BBD37B03-1A27-DD07-547E-BB32EA267434}"/>
          </ac:spMkLst>
        </pc:spChg>
      </pc:sldChg>
      <pc:sldChg chg="modSp mod">
        <pc:chgData name="Muchahary, Frankle" userId="0f2bf491-0617-4378-90b8-89af8fa381b9" providerId="ADAL" clId="{EF1B1206-FDDC-46E4-A328-0322BAF93445}" dt="2024-02-08T05:29:24.442" v="8844" actId="113"/>
        <pc:sldMkLst>
          <pc:docMk/>
          <pc:sldMk cId="353574152" sldId="482"/>
        </pc:sldMkLst>
        <pc:graphicFrameChg chg="modGraphic">
          <ac:chgData name="Muchahary, Frankle" userId="0f2bf491-0617-4378-90b8-89af8fa381b9" providerId="ADAL" clId="{EF1B1206-FDDC-46E4-A328-0322BAF93445}" dt="2024-02-08T05:29:24.442" v="8844" actId="113"/>
          <ac:graphicFrameMkLst>
            <pc:docMk/>
            <pc:sldMk cId="353574152" sldId="482"/>
            <ac:graphicFrameMk id="33" creationId="{78716B8E-B96E-6A90-266F-6701D4405824}"/>
          </ac:graphicFrameMkLst>
        </pc:graphicFrameChg>
      </pc:sldChg>
      <pc:sldChg chg="modSp mod">
        <pc:chgData name="Muchahary, Frankle" userId="0f2bf491-0617-4378-90b8-89af8fa381b9" providerId="ADAL" clId="{EF1B1206-FDDC-46E4-A328-0322BAF93445}" dt="2024-02-08T05:17:17.282" v="8174"/>
        <pc:sldMkLst>
          <pc:docMk/>
          <pc:sldMk cId="3358799017" sldId="484"/>
        </pc:sldMkLst>
        <pc:graphicFrameChg chg="mod">
          <ac:chgData name="Muchahary, Frankle" userId="0f2bf491-0617-4378-90b8-89af8fa381b9" providerId="ADAL" clId="{EF1B1206-FDDC-46E4-A328-0322BAF93445}" dt="2024-02-08T05:17:17.282" v="8174"/>
          <ac:graphicFrameMkLst>
            <pc:docMk/>
            <pc:sldMk cId="3358799017" sldId="484"/>
            <ac:graphicFrameMk id="8" creationId="{FA83731C-ED16-C651-A4FC-F9A12EBE7456}"/>
          </ac:graphicFrameMkLst>
        </pc:graphicFrameChg>
      </pc:sldChg>
      <pc:sldChg chg="modSp mod">
        <pc:chgData name="Muchahary, Frankle" userId="0f2bf491-0617-4378-90b8-89af8fa381b9" providerId="ADAL" clId="{EF1B1206-FDDC-46E4-A328-0322BAF93445}" dt="2024-02-08T05:18:30.190" v="8192" actId="1076"/>
        <pc:sldMkLst>
          <pc:docMk/>
          <pc:sldMk cId="1019381096" sldId="485"/>
        </pc:sldMkLst>
        <pc:graphicFrameChg chg="mod">
          <ac:chgData name="Muchahary, Frankle" userId="0f2bf491-0617-4378-90b8-89af8fa381b9" providerId="ADAL" clId="{EF1B1206-FDDC-46E4-A328-0322BAF93445}" dt="2024-02-08T05:18:30.190" v="8192" actId="1076"/>
          <ac:graphicFrameMkLst>
            <pc:docMk/>
            <pc:sldMk cId="1019381096" sldId="485"/>
            <ac:graphicFrameMk id="3" creationId="{11A04F49-292C-1436-37DD-33D20CF2F091}"/>
          </ac:graphicFrameMkLst>
        </pc:graphicFrameChg>
      </pc:sldChg>
      <pc:sldChg chg="modSp mod">
        <pc:chgData name="Muchahary, Frankle" userId="0f2bf491-0617-4378-90b8-89af8fa381b9" providerId="ADAL" clId="{EF1B1206-FDDC-46E4-A328-0322BAF93445}" dt="2024-02-08T05:34:23.826" v="9032" actId="20577"/>
        <pc:sldMkLst>
          <pc:docMk/>
          <pc:sldMk cId="3433030978" sldId="486"/>
        </pc:sldMkLst>
        <pc:graphicFrameChg chg="mod modGraphic">
          <ac:chgData name="Muchahary, Frankle" userId="0f2bf491-0617-4378-90b8-89af8fa381b9" providerId="ADAL" clId="{EF1B1206-FDDC-46E4-A328-0322BAF93445}" dt="2024-02-08T05:34:23.826" v="9032" actId="20577"/>
          <ac:graphicFrameMkLst>
            <pc:docMk/>
            <pc:sldMk cId="3433030978" sldId="486"/>
            <ac:graphicFrameMk id="16" creationId="{58BF5606-59F7-83C1-A8D0-D7A36E7164BD}"/>
          </ac:graphicFrameMkLst>
        </pc:graphicFrameChg>
      </pc:sldChg>
      <pc:sldChg chg="addSp modSp mod">
        <pc:chgData name="Muchahary, Frankle" userId="0f2bf491-0617-4378-90b8-89af8fa381b9" providerId="ADAL" clId="{EF1B1206-FDDC-46E4-A328-0322BAF93445}" dt="2024-02-08T05:14:01.546" v="8136" actId="14100"/>
        <pc:sldMkLst>
          <pc:docMk/>
          <pc:sldMk cId="3136799684" sldId="487"/>
        </pc:sldMkLst>
        <pc:spChg chg="add mod">
          <ac:chgData name="Muchahary, Frankle" userId="0f2bf491-0617-4378-90b8-89af8fa381b9" providerId="ADAL" clId="{EF1B1206-FDDC-46E4-A328-0322BAF93445}" dt="2024-02-08T05:09:49.761" v="7808" actId="1076"/>
          <ac:spMkLst>
            <pc:docMk/>
            <pc:sldMk cId="3136799684" sldId="487"/>
            <ac:spMk id="3" creationId="{9FF9132F-EC03-3D25-4631-75C631673617}"/>
          </ac:spMkLst>
        </pc:spChg>
        <pc:spChg chg="add mod">
          <ac:chgData name="Muchahary, Frankle" userId="0f2bf491-0617-4378-90b8-89af8fa381b9" providerId="ADAL" clId="{EF1B1206-FDDC-46E4-A328-0322BAF93445}" dt="2024-02-08T05:12:27.547" v="7959" actId="20577"/>
          <ac:spMkLst>
            <pc:docMk/>
            <pc:sldMk cId="3136799684" sldId="487"/>
            <ac:spMk id="4" creationId="{A812E8B6-293F-F253-5596-DCCB5A7E650D}"/>
          </ac:spMkLst>
        </pc:spChg>
        <pc:spChg chg="mod">
          <ac:chgData name="Muchahary, Frankle" userId="0f2bf491-0617-4378-90b8-89af8fa381b9" providerId="ADAL" clId="{EF1B1206-FDDC-46E4-A328-0322BAF93445}" dt="2024-02-08T05:10:53.306" v="7830" actId="14100"/>
          <ac:spMkLst>
            <pc:docMk/>
            <pc:sldMk cId="3136799684" sldId="487"/>
            <ac:spMk id="18" creationId="{BB0BAAB2-85F5-E847-DF4C-282BA7728ACC}"/>
          </ac:spMkLst>
        </pc:spChg>
        <pc:spChg chg="mod">
          <ac:chgData name="Muchahary, Frankle" userId="0f2bf491-0617-4378-90b8-89af8fa381b9" providerId="ADAL" clId="{EF1B1206-FDDC-46E4-A328-0322BAF93445}" dt="2024-02-08T05:11:36.170" v="7843" actId="1076"/>
          <ac:spMkLst>
            <pc:docMk/>
            <pc:sldMk cId="3136799684" sldId="487"/>
            <ac:spMk id="23" creationId="{E007D920-EB9C-036A-6095-38F8A111A1FA}"/>
          </ac:spMkLst>
        </pc:spChg>
        <pc:spChg chg="mod">
          <ac:chgData name="Muchahary, Frankle" userId="0f2bf491-0617-4378-90b8-89af8fa381b9" providerId="ADAL" clId="{EF1B1206-FDDC-46E4-A328-0322BAF93445}" dt="2024-02-08T05:11:23.926" v="7839" actId="1076"/>
          <ac:spMkLst>
            <pc:docMk/>
            <pc:sldMk cId="3136799684" sldId="487"/>
            <ac:spMk id="24" creationId="{0A862E1E-2B7E-10FF-9C1F-2C1DA64979CD}"/>
          </ac:spMkLst>
        </pc:spChg>
        <pc:spChg chg="add mod">
          <ac:chgData name="Muchahary, Frankle" userId="0f2bf491-0617-4378-90b8-89af8fa381b9" providerId="ADAL" clId="{EF1B1206-FDDC-46E4-A328-0322BAF93445}" dt="2024-02-08T05:13:59.089" v="8135" actId="14100"/>
          <ac:spMkLst>
            <pc:docMk/>
            <pc:sldMk cId="3136799684" sldId="487"/>
            <ac:spMk id="25" creationId="{10391AD0-F046-B268-E2EC-41757A8EA5E2}"/>
          </ac:spMkLst>
        </pc:spChg>
        <pc:picChg chg="mod">
          <ac:chgData name="Muchahary, Frankle" userId="0f2bf491-0617-4378-90b8-89af8fa381b9" providerId="ADAL" clId="{EF1B1206-FDDC-46E4-A328-0322BAF93445}" dt="2024-02-08T05:11:18.403" v="7838" actId="1076"/>
          <ac:picMkLst>
            <pc:docMk/>
            <pc:sldMk cId="3136799684" sldId="487"/>
            <ac:picMk id="17" creationId="{0FEADBF9-E4E6-6CBB-6682-BFBA5DE83803}"/>
          </ac:picMkLst>
        </pc:picChg>
        <pc:cxnChg chg="mod">
          <ac:chgData name="Muchahary, Frankle" userId="0f2bf491-0617-4378-90b8-89af8fa381b9" providerId="ADAL" clId="{EF1B1206-FDDC-46E4-A328-0322BAF93445}" dt="2024-02-08T05:11:23.926" v="7839" actId="1076"/>
          <ac:cxnSpMkLst>
            <pc:docMk/>
            <pc:sldMk cId="3136799684" sldId="487"/>
            <ac:cxnSpMk id="27" creationId="{DF718F10-F920-B64B-5D6C-3F744CE9CCC7}"/>
          </ac:cxnSpMkLst>
        </pc:cxnChg>
        <pc:cxnChg chg="mod">
          <ac:chgData name="Muchahary, Frankle" userId="0f2bf491-0617-4378-90b8-89af8fa381b9" providerId="ADAL" clId="{EF1B1206-FDDC-46E4-A328-0322BAF93445}" dt="2024-02-08T05:10:53.306" v="7830" actId="14100"/>
          <ac:cxnSpMkLst>
            <pc:docMk/>
            <pc:sldMk cId="3136799684" sldId="487"/>
            <ac:cxnSpMk id="29" creationId="{4144F1AB-8990-820F-E678-205230A2F85C}"/>
          </ac:cxnSpMkLst>
        </pc:cxnChg>
        <pc:cxnChg chg="mod">
          <ac:chgData name="Muchahary, Frankle" userId="0f2bf491-0617-4378-90b8-89af8fa381b9" providerId="ADAL" clId="{EF1B1206-FDDC-46E4-A328-0322BAF93445}" dt="2024-02-08T05:14:01.546" v="8136" actId="14100"/>
          <ac:cxnSpMkLst>
            <pc:docMk/>
            <pc:sldMk cId="3136799684" sldId="487"/>
            <ac:cxnSpMk id="33" creationId="{4FB97731-B8AF-8DE9-D001-0779BBAA0633}"/>
          </ac:cxnSpMkLst>
        </pc:cxnChg>
      </pc:sldChg>
      <pc:sldChg chg="addSp delSp modSp mod">
        <pc:chgData name="Muchahary, Frankle" userId="0f2bf491-0617-4378-90b8-89af8fa381b9" providerId="ADAL" clId="{EF1B1206-FDDC-46E4-A328-0322BAF93445}" dt="2024-02-08T04:51:19.623" v="7263" actId="1076"/>
        <pc:sldMkLst>
          <pc:docMk/>
          <pc:sldMk cId="4078416900" sldId="490"/>
        </pc:sldMkLst>
        <pc:spChg chg="mod">
          <ac:chgData name="Muchahary, Frankle" userId="0f2bf491-0617-4378-90b8-89af8fa381b9" providerId="ADAL" clId="{EF1B1206-FDDC-46E4-A328-0322BAF93445}" dt="2024-02-08T04:50:57.446" v="7260" actId="20577"/>
          <ac:spMkLst>
            <pc:docMk/>
            <pc:sldMk cId="4078416900" sldId="490"/>
            <ac:spMk id="2" creationId="{D48318E4-0C62-6D40-A2EB-5B725434D279}"/>
          </ac:spMkLst>
        </pc:spChg>
        <pc:spChg chg="add mod">
          <ac:chgData name="Muchahary, Frankle" userId="0f2bf491-0617-4378-90b8-89af8fa381b9" providerId="ADAL" clId="{EF1B1206-FDDC-46E4-A328-0322BAF93445}" dt="2024-02-08T04:44:42.398" v="6847"/>
          <ac:spMkLst>
            <pc:docMk/>
            <pc:sldMk cId="4078416900" sldId="490"/>
            <ac:spMk id="3" creationId="{15A6CA81-2598-31F8-4325-DC05140BEB9A}"/>
          </ac:spMkLst>
        </pc:spChg>
        <pc:spChg chg="add mod">
          <ac:chgData name="Muchahary, Frankle" userId="0f2bf491-0617-4378-90b8-89af8fa381b9" providerId="ADAL" clId="{EF1B1206-FDDC-46E4-A328-0322BAF93445}" dt="2024-02-08T04:47:38.780" v="6886" actId="207"/>
          <ac:spMkLst>
            <pc:docMk/>
            <pc:sldMk cId="4078416900" sldId="490"/>
            <ac:spMk id="4" creationId="{725AC535-4650-0657-B4F5-7DB06599F1AA}"/>
          </ac:spMkLst>
        </pc:spChg>
        <pc:spChg chg="add mod">
          <ac:chgData name="Muchahary, Frankle" userId="0f2bf491-0617-4378-90b8-89af8fa381b9" providerId="ADAL" clId="{EF1B1206-FDDC-46E4-A328-0322BAF93445}" dt="2024-02-08T04:48:38.225" v="6966" actId="1582"/>
          <ac:spMkLst>
            <pc:docMk/>
            <pc:sldMk cId="4078416900" sldId="490"/>
            <ac:spMk id="10" creationId="{897ABFA4-6CF1-ADE1-DC04-100D8F4D1601}"/>
          </ac:spMkLst>
        </pc:spChg>
        <pc:spChg chg="mod">
          <ac:chgData name="Muchahary, Frankle" userId="0f2bf491-0617-4378-90b8-89af8fa381b9" providerId="ADAL" clId="{EF1B1206-FDDC-46E4-A328-0322BAF93445}" dt="2024-02-08T04:47:39.052" v="6887" actId="207"/>
          <ac:spMkLst>
            <pc:docMk/>
            <pc:sldMk cId="4078416900" sldId="490"/>
            <ac:spMk id="12" creationId="{C108B2B6-3C27-69FE-AE47-DB7702F78085}"/>
          </ac:spMkLst>
        </pc:spChg>
        <pc:spChg chg="add mod">
          <ac:chgData name="Muchahary, Frankle" userId="0f2bf491-0617-4378-90b8-89af8fa381b9" providerId="ADAL" clId="{EF1B1206-FDDC-46E4-A328-0322BAF93445}" dt="2024-02-08T04:51:19.623" v="7263" actId="1076"/>
          <ac:spMkLst>
            <pc:docMk/>
            <pc:sldMk cId="4078416900" sldId="490"/>
            <ac:spMk id="13" creationId="{8748B22C-09C8-7A60-129D-32199F42F730}"/>
          </ac:spMkLst>
        </pc:spChg>
        <pc:spChg chg="add mod">
          <ac:chgData name="Muchahary, Frankle" userId="0f2bf491-0617-4378-90b8-89af8fa381b9" providerId="ADAL" clId="{EF1B1206-FDDC-46E4-A328-0322BAF93445}" dt="2024-02-08T04:49:42.308" v="7161" actId="14100"/>
          <ac:spMkLst>
            <pc:docMk/>
            <pc:sldMk cId="4078416900" sldId="490"/>
            <ac:spMk id="15" creationId="{DBA46D26-9D97-5822-3246-F1B68029B6D4}"/>
          </ac:spMkLst>
        </pc:spChg>
        <pc:picChg chg="mod">
          <ac:chgData name="Muchahary, Frankle" userId="0f2bf491-0617-4378-90b8-89af8fa381b9" providerId="ADAL" clId="{EF1B1206-FDDC-46E4-A328-0322BAF93445}" dt="2024-02-08T04:51:07.876" v="7261" actId="14100"/>
          <ac:picMkLst>
            <pc:docMk/>
            <pc:sldMk cId="4078416900" sldId="490"/>
            <ac:picMk id="6" creationId="{1D2933D0-7586-6263-EB67-91E03E2611BE}"/>
          </ac:picMkLst>
        </pc:picChg>
        <pc:picChg chg="del mod">
          <ac:chgData name="Muchahary, Frankle" userId="0f2bf491-0617-4378-90b8-89af8fa381b9" providerId="ADAL" clId="{EF1B1206-FDDC-46E4-A328-0322BAF93445}" dt="2024-02-08T04:43:19.659" v="6772" actId="478"/>
          <ac:picMkLst>
            <pc:docMk/>
            <pc:sldMk cId="4078416900" sldId="490"/>
            <ac:picMk id="9" creationId="{8BF81369-398C-8C15-578F-8BD9CCD4B304}"/>
          </ac:picMkLst>
        </pc:picChg>
        <pc:picChg chg="mod">
          <ac:chgData name="Muchahary, Frankle" userId="0f2bf491-0617-4378-90b8-89af8fa381b9" providerId="ADAL" clId="{EF1B1206-FDDC-46E4-A328-0322BAF93445}" dt="2024-02-08T04:51:11.329" v="7262" actId="14100"/>
          <ac:picMkLst>
            <pc:docMk/>
            <pc:sldMk cId="4078416900" sldId="490"/>
            <ac:picMk id="11" creationId="{1FD60BA4-BEE4-C91E-3C8C-64601E9B1FEC}"/>
          </ac:picMkLst>
        </pc:picChg>
        <pc:cxnChg chg="add del mod">
          <ac:chgData name="Muchahary, Frankle" userId="0f2bf491-0617-4378-90b8-89af8fa381b9" providerId="ADAL" clId="{EF1B1206-FDDC-46E4-A328-0322BAF93445}" dt="2024-02-08T04:45:53.710" v="6868" actId="478"/>
          <ac:cxnSpMkLst>
            <pc:docMk/>
            <pc:sldMk cId="4078416900" sldId="490"/>
            <ac:cxnSpMk id="8" creationId="{0BB7CCA0-FB12-923D-7F24-F9F6ABAD1FEC}"/>
          </ac:cxnSpMkLst>
        </pc:cxnChg>
      </pc:sldChg>
      <pc:sldChg chg="addSp delSp modSp add mod">
        <pc:chgData name="Muchahary, Frankle" userId="0f2bf491-0617-4378-90b8-89af8fa381b9" providerId="ADAL" clId="{EF1B1206-FDDC-46E4-A328-0322BAF93445}" dt="2024-02-08T04:38:52.429" v="6737" actId="1076"/>
        <pc:sldMkLst>
          <pc:docMk/>
          <pc:sldMk cId="3449723310" sldId="491"/>
        </pc:sldMkLst>
        <pc:spChg chg="mod ord">
          <ac:chgData name="Muchahary, Frankle" userId="0f2bf491-0617-4378-90b8-89af8fa381b9" providerId="ADAL" clId="{EF1B1206-FDDC-46E4-A328-0322BAF93445}" dt="2024-02-08T04:34:07.290" v="6511" actId="20577"/>
          <ac:spMkLst>
            <pc:docMk/>
            <pc:sldMk cId="3449723310" sldId="491"/>
            <ac:spMk id="2" creationId="{27C6FB64-4850-309D-614C-5198A2A6CD41}"/>
          </ac:spMkLst>
        </pc:spChg>
        <pc:spChg chg="add del mod modVis">
          <ac:chgData name="Muchahary, Frankle" userId="0f2bf491-0617-4378-90b8-89af8fa381b9" providerId="ADAL" clId="{EF1B1206-FDDC-46E4-A328-0322BAF93445}" dt="2024-02-08T04:27:15.197" v="251"/>
          <ac:spMkLst>
            <pc:docMk/>
            <pc:sldMk cId="3449723310" sldId="491"/>
            <ac:spMk id="3" creationId="{6DA338B6-C90C-45F2-4B2B-FE1A03829EBA}"/>
          </ac:spMkLst>
        </pc:spChg>
        <pc:spChg chg="mod">
          <ac:chgData name="Muchahary, Frankle" userId="0f2bf491-0617-4378-90b8-89af8fa381b9" providerId="ADAL" clId="{EF1B1206-FDDC-46E4-A328-0322BAF93445}" dt="2024-02-08T04:30:21.561" v="6237"/>
          <ac:spMkLst>
            <pc:docMk/>
            <pc:sldMk cId="3449723310" sldId="491"/>
            <ac:spMk id="4" creationId="{01414C3A-E55E-3D2C-B384-BF48D07683AA}"/>
          </ac:spMkLst>
        </pc:spChg>
        <pc:spChg chg="mod">
          <ac:chgData name="Muchahary, Frankle" userId="0f2bf491-0617-4378-90b8-89af8fa381b9" providerId="ADAL" clId="{EF1B1206-FDDC-46E4-A328-0322BAF93445}" dt="2024-02-08T04:30:21.562" v="6238"/>
          <ac:spMkLst>
            <pc:docMk/>
            <pc:sldMk cId="3449723310" sldId="491"/>
            <ac:spMk id="5" creationId="{70F047BB-8664-24D8-2A91-64DED4E0C40A}"/>
          </ac:spMkLst>
        </pc:spChg>
        <pc:spChg chg="mod">
          <ac:chgData name="Muchahary, Frankle" userId="0f2bf491-0617-4378-90b8-89af8fa381b9" providerId="ADAL" clId="{EF1B1206-FDDC-46E4-A328-0322BAF93445}" dt="2024-02-08T04:30:21.565" v="6244"/>
          <ac:spMkLst>
            <pc:docMk/>
            <pc:sldMk cId="3449723310" sldId="491"/>
            <ac:spMk id="6" creationId="{A7AF659D-B4AB-E300-B75A-DAA6B603C384}"/>
          </ac:spMkLst>
        </pc:spChg>
        <pc:spChg chg="mod ord">
          <ac:chgData name="Muchahary, Frankle" userId="0f2bf491-0617-4378-90b8-89af8fa381b9" providerId="ADAL" clId="{EF1B1206-FDDC-46E4-A328-0322BAF93445}" dt="2024-02-08T04:30:21.560" v="6234"/>
          <ac:spMkLst>
            <pc:docMk/>
            <pc:sldMk cId="3449723310" sldId="491"/>
            <ac:spMk id="7" creationId="{1A4A5659-F3A7-A340-8400-C24A94615DDA}"/>
          </ac:spMkLst>
        </pc:spChg>
        <pc:spChg chg="mod">
          <ac:chgData name="Muchahary, Frankle" userId="0f2bf491-0617-4378-90b8-89af8fa381b9" providerId="ADAL" clId="{EF1B1206-FDDC-46E4-A328-0322BAF93445}" dt="2024-02-08T04:30:21.565" v="6245"/>
          <ac:spMkLst>
            <pc:docMk/>
            <pc:sldMk cId="3449723310" sldId="491"/>
            <ac:spMk id="8" creationId="{CB477713-BCC1-086B-B296-A154E4B0A00C}"/>
          </ac:spMkLst>
        </pc:spChg>
        <pc:spChg chg="add del mod modVis">
          <ac:chgData name="Muchahary, Frankle" userId="0f2bf491-0617-4378-90b8-89af8fa381b9" providerId="ADAL" clId="{EF1B1206-FDDC-46E4-A328-0322BAF93445}" dt="2024-02-08T04:29:07.677" v="4442"/>
          <ac:spMkLst>
            <pc:docMk/>
            <pc:sldMk cId="3449723310" sldId="491"/>
            <ac:spMk id="10" creationId="{866F9346-6445-F032-AD76-5D88A6ED6739}"/>
          </ac:spMkLst>
        </pc:spChg>
        <pc:spChg chg="add del mod modVis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12" creationId="{6A83440A-E4A2-E84E-3F85-B4147109FDB8}"/>
          </ac:spMkLst>
        </pc:spChg>
        <pc:spChg chg="add del mod or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13" creationId="{10435BC4-8694-9A38-4C43-6A1983AFC8B9}"/>
          </ac:spMkLst>
        </pc:spChg>
        <pc:spChg chg="add del mod or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15" creationId="{E7F30990-2048-6BAA-BC71-D8462E8A1EB0}"/>
          </ac:spMkLst>
        </pc:spChg>
        <pc:spChg chg="mod">
          <ac:chgData name="Muchahary, Frankle" userId="0f2bf491-0617-4378-90b8-89af8fa381b9" providerId="ADAL" clId="{EF1B1206-FDDC-46E4-A328-0322BAF93445}" dt="2024-02-08T04:30:21.563" v="6239"/>
          <ac:spMkLst>
            <pc:docMk/>
            <pc:sldMk cId="3449723310" sldId="491"/>
            <ac:spMk id="16" creationId="{534EE0CA-F211-DDA5-FAC6-827637412DB3}"/>
          </ac:spMkLst>
        </pc:spChg>
        <pc:spChg chg="mod">
          <ac:chgData name="Muchahary, Frankle" userId="0f2bf491-0617-4378-90b8-89af8fa381b9" providerId="ADAL" clId="{EF1B1206-FDDC-46E4-A328-0322BAF93445}" dt="2024-02-08T04:30:21.563" v="6240"/>
          <ac:spMkLst>
            <pc:docMk/>
            <pc:sldMk cId="3449723310" sldId="491"/>
            <ac:spMk id="17" creationId="{2E1E0DFE-C927-A823-E6AB-D05EBF6321EB}"/>
          </ac:spMkLst>
        </pc:spChg>
        <pc:spChg chg="mod">
          <ac:chgData name="Muchahary, Frankle" userId="0f2bf491-0617-4378-90b8-89af8fa381b9" providerId="ADAL" clId="{EF1B1206-FDDC-46E4-A328-0322BAF93445}" dt="2024-02-08T04:30:21.563" v="6241"/>
          <ac:spMkLst>
            <pc:docMk/>
            <pc:sldMk cId="3449723310" sldId="491"/>
            <ac:spMk id="18" creationId="{76B336F0-3A41-44F9-90A8-0694D9EF4E73}"/>
          </ac:spMkLst>
        </pc:spChg>
        <pc:spChg chg="mod">
          <ac:chgData name="Muchahary, Frankle" userId="0f2bf491-0617-4378-90b8-89af8fa381b9" providerId="ADAL" clId="{EF1B1206-FDDC-46E4-A328-0322BAF93445}" dt="2024-02-08T04:30:21.564" v="6242"/>
          <ac:spMkLst>
            <pc:docMk/>
            <pc:sldMk cId="3449723310" sldId="491"/>
            <ac:spMk id="19" creationId="{67B4AD5E-AE12-940C-1DBA-B3FD4D01C90E}"/>
          </ac:spMkLst>
        </pc:spChg>
        <pc:spChg chg="mod">
          <ac:chgData name="Muchahary, Frankle" userId="0f2bf491-0617-4378-90b8-89af8fa381b9" providerId="ADAL" clId="{EF1B1206-FDDC-46E4-A328-0322BAF93445}" dt="2024-02-08T04:30:21.564" v="6243"/>
          <ac:spMkLst>
            <pc:docMk/>
            <pc:sldMk cId="3449723310" sldId="491"/>
            <ac:spMk id="20" creationId="{0DBA498F-D5F6-582F-F32F-90509631B6EE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21" creationId="{05FB50BC-A270-2DCC-6CAC-C3376CF98C68}"/>
          </ac:spMkLst>
        </pc:spChg>
        <pc:spChg chg="add del mod or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22" creationId="{17D88728-FB25-8692-DF92-B95401793DDD}"/>
          </ac:spMkLst>
        </pc:spChg>
        <pc:spChg chg="mod">
          <ac:chgData name="Muchahary, Frankle" userId="0f2bf491-0617-4378-90b8-89af8fa381b9" providerId="ADAL" clId="{EF1B1206-FDDC-46E4-A328-0322BAF93445}" dt="2024-02-08T04:30:21.566" v="6246"/>
          <ac:spMkLst>
            <pc:docMk/>
            <pc:sldMk cId="3449723310" sldId="491"/>
            <ac:spMk id="23" creationId="{2E419DE2-EDAA-404E-87A7-E5E1C3630947}"/>
          </ac:spMkLst>
        </pc:spChg>
        <pc:spChg chg="mod">
          <ac:chgData name="Muchahary, Frankle" userId="0f2bf491-0617-4378-90b8-89af8fa381b9" providerId="ADAL" clId="{EF1B1206-FDDC-46E4-A328-0322BAF93445}" dt="2024-02-08T04:30:21.566" v="6247"/>
          <ac:spMkLst>
            <pc:docMk/>
            <pc:sldMk cId="3449723310" sldId="491"/>
            <ac:spMk id="24" creationId="{4E0B4760-B77F-CED3-6C63-8AA557F747E1}"/>
          </ac:spMkLst>
        </pc:spChg>
        <pc:spChg chg="mod">
          <ac:chgData name="Muchahary, Frankle" userId="0f2bf491-0617-4378-90b8-89af8fa381b9" providerId="ADAL" clId="{EF1B1206-FDDC-46E4-A328-0322BAF93445}" dt="2024-02-08T04:30:21.567" v="6248"/>
          <ac:spMkLst>
            <pc:docMk/>
            <pc:sldMk cId="3449723310" sldId="491"/>
            <ac:spMk id="25" creationId="{4827F8C0-FE98-B222-DC32-4331D751D0AA}"/>
          </ac:spMkLst>
        </pc:spChg>
        <pc:spChg chg="mod">
          <ac:chgData name="Muchahary, Frankle" userId="0f2bf491-0617-4378-90b8-89af8fa381b9" providerId="ADAL" clId="{EF1B1206-FDDC-46E4-A328-0322BAF93445}" dt="2024-02-08T04:30:21.567" v="6249"/>
          <ac:spMkLst>
            <pc:docMk/>
            <pc:sldMk cId="3449723310" sldId="491"/>
            <ac:spMk id="26" creationId="{E064DBE2-BA12-5167-2900-D88BF34C6988}"/>
          </ac:spMkLst>
        </pc:spChg>
        <pc:spChg chg="mod">
          <ac:chgData name="Muchahary, Frankle" userId="0f2bf491-0617-4378-90b8-89af8fa381b9" providerId="ADAL" clId="{EF1B1206-FDDC-46E4-A328-0322BAF93445}" dt="2024-02-08T04:30:21.568" v="6250"/>
          <ac:spMkLst>
            <pc:docMk/>
            <pc:sldMk cId="3449723310" sldId="491"/>
            <ac:spMk id="27" creationId="{CB0C063C-F12E-7437-E94A-5523DB42C99D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28" creationId="{54319A26-579E-5102-0CA4-6C97C4675FF5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29" creationId="{E1AB03E2-E099-667C-C674-F2820CE167F0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30" creationId="{51B353F7-3030-E493-A5B4-E936FC6CB133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31" creationId="{613D1012-E600-A4F7-59B7-5A4C54747E96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32" creationId="{E01EDCA9-9257-0D59-8D7F-2340B8C9BCA6}"/>
          </ac:spMkLst>
        </pc:spChg>
        <pc:spChg chg="add del mod replST delST">
          <ac:chgData name="Muchahary, Frankle" userId="0f2bf491-0617-4378-90b8-89af8fa381b9" providerId="ADAL" clId="{EF1B1206-FDDC-46E4-A328-0322BAF93445}" dt="2024-02-08T04:29:06.584" v="4392"/>
          <ac:spMkLst>
            <pc:docMk/>
            <pc:sldMk cId="3449723310" sldId="491"/>
            <ac:spMk id="33" creationId="{53769DFD-B15D-2665-2CB6-1D21B27E5FAB}"/>
          </ac:spMkLst>
        </pc:spChg>
        <pc:spChg chg="add del mod modVis">
          <ac:chgData name="Muchahary, Frankle" userId="0f2bf491-0617-4378-90b8-89af8fa381b9" providerId="ADAL" clId="{EF1B1206-FDDC-46E4-A328-0322BAF93445}" dt="2024-02-08T04:29:05.353" v="3827"/>
          <ac:spMkLst>
            <pc:docMk/>
            <pc:sldMk cId="3449723310" sldId="491"/>
            <ac:spMk id="35" creationId="{FF124096-2294-E327-8614-50455E7A23EC}"/>
          </ac:spMkLst>
        </pc:spChg>
        <pc:spChg chg="add del mod replST delST">
          <ac:chgData name="Muchahary, Frankle" userId="0f2bf491-0617-4378-90b8-89af8fa381b9" providerId="ADAL" clId="{EF1B1206-FDDC-46E4-A328-0322BAF93445}" dt="2024-02-08T04:29:04.405" v="3761"/>
          <ac:spMkLst>
            <pc:docMk/>
            <pc:sldMk cId="3449723310" sldId="491"/>
            <ac:spMk id="37" creationId="{B3719202-2814-6ABD-A8D3-D909A32C6DFF}"/>
          </ac:spMkLst>
        </pc:spChg>
        <pc:spChg chg="add del mod modVis">
          <ac:chgData name="Muchahary, Frankle" userId="0f2bf491-0617-4378-90b8-89af8fa381b9" providerId="ADAL" clId="{EF1B1206-FDDC-46E4-A328-0322BAF93445}" dt="2024-02-08T04:29:04.405" v="3761"/>
          <ac:spMkLst>
            <pc:docMk/>
            <pc:sldMk cId="3449723310" sldId="491"/>
            <ac:spMk id="38" creationId="{26E9841D-D2F8-B7A9-3CA7-56DF4529EC5C}"/>
          </ac:spMkLst>
        </pc:spChg>
        <pc:spChg chg="add del mod replST delST">
          <ac:chgData name="Muchahary, Frankle" userId="0f2bf491-0617-4378-90b8-89af8fa381b9" providerId="ADAL" clId="{EF1B1206-FDDC-46E4-A328-0322BAF93445}" dt="2024-02-08T04:29:04.405" v="3761"/>
          <ac:spMkLst>
            <pc:docMk/>
            <pc:sldMk cId="3449723310" sldId="491"/>
            <ac:spMk id="40" creationId="{AF66521E-4CDA-71C5-3007-D4A7B90C219F}"/>
          </ac:spMkLst>
        </pc:spChg>
        <pc:spChg chg="add del mod modVis">
          <ac:chgData name="Muchahary, Frankle" userId="0f2bf491-0617-4378-90b8-89af8fa381b9" providerId="ADAL" clId="{EF1B1206-FDDC-46E4-A328-0322BAF93445}" dt="2024-02-08T04:29:04.405" v="3761"/>
          <ac:spMkLst>
            <pc:docMk/>
            <pc:sldMk cId="3449723310" sldId="491"/>
            <ac:spMk id="41" creationId="{41F368AF-1E32-8E36-3077-405567519966}"/>
          </ac:spMkLst>
        </pc:spChg>
        <pc:spChg chg="add del mod modVis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4" creationId="{9E92C88D-8376-0F2B-1E90-205848EE93BA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5" creationId="{37B18D21-257A-5D5C-478A-D11CCD4D3CF7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6" creationId="{6D745AFF-001B-D623-3557-67805A275AF0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7" creationId="{B9A999EB-0D6C-9767-5BA1-B909DF5DF537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8" creationId="{3A830460-41D6-2497-0CF1-A3CF6918ED35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49" creationId="{F5F2F6FE-BEE3-B53F-13A8-01A6DAF68404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0" creationId="{6FB1B701-483E-D732-80B7-07DE0BDB0C78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1" creationId="{A951F066-6A7D-5380-9FB4-9B0A583E0C6A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2" creationId="{B87CD389-A9F8-E16A-EA5B-8D5E795F8393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3" creationId="{31EAC76B-4B7D-5DD0-295C-A9DA948DC890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4" creationId="{DF932D39-5B28-592B-ECCC-AE6BE9FAD52A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5" creationId="{D0C23AEB-1876-6853-4CA8-87883A8E322B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6" creationId="{3260D01A-8086-2169-A73C-407DCAFAC2E4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7" creationId="{57400769-EA6F-1B49-1885-6BE4032C904B}"/>
          </ac:spMkLst>
        </pc:spChg>
        <pc:spChg chg="add mod replST delST">
          <ac:chgData name="Muchahary, Frankle" userId="0f2bf491-0617-4378-90b8-89af8fa381b9" providerId="ADAL" clId="{EF1B1206-FDDC-46E4-A328-0322BAF93445}" dt="2024-02-08T04:29:03.759" v="3609"/>
          <ac:spMkLst>
            <pc:docMk/>
            <pc:sldMk cId="3449723310" sldId="491"/>
            <ac:spMk id="58" creationId="{BB2D8614-6841-7DD4-8F3B-6EA7C5A81566}"/>
          </ac:spMkLst>
        </pc:spChg>
        <pc:spChg chg="add del mod modVis">
          <ac:chgData name="Muchahary, Frankle" userId="0f2bf491-0617-4378-90b8-89af8fa381b9" providerId="ADAL" clId="{EF1B1206-FDDC-46E4-A328-0322BAF93445}" dt="2024-02-08T04:29:02.810" v="2992"/>
          <ac:spMkLst>
            <pc:docMk/>
            <pc:sldMk cId="3449723310" sldId="491"/>
            <ac:spMk id="61" creationId="{B2E1124E-85DA-5A67-7E4A-15B564CAC5E2}"/>
          </ac:spMkLst>
        </pc:spChg>
        <pc:spChg chg="add del mod modVis">
          <ac:chgData name="Muchahary, Frankle" userId="0f2bf491-0617-4378-90b8-89af8fa381b9" providerId="ADAL" clId="{EF1B1206-FDDC-46E4-A328-0322BAF93445}" dt="2024-02-08T04:29:25.524" v="4675"/>
          <ac:spMkLst>
            <pc:docMk/>
            <pc:sldMk cId="3449723310" sldId="491"/>
            <ac:spMk id="63" creationId="{B951A667-68E6-2540-023E-12A6FEE2A9FD}"/>
          </ac:spMkLst>
        </pc:spChg>
        <pc:spChg chg="add del mod replST">
          <ac:chgData name="Muchahary, Frankle" userId="0f2bf491-0617-4378-90b8-89af8fa381b9" providerId="ADAL" clId="{EF1B1206-FDDC-46E4-A328-0322BAF93445}" dt="2024-02-08T04:29:34.738" v="4877"/>
          <ac:spMkLst>
            <pc:docMk/>
            <pc:sldMk cId="3449723310" sldId="491"/>
            <ac:spMk id="66" creationId="{0E0DF366-298C-D70F-8B5B-FCAD72B7C86E}"/>
          </ac:spMkLst>
        </pc:spChg>
        <pc:spChg chg="add del mod modVis">
          <ac:chgData name="Muchahary, Frankle" userId="0f2bf491-0617-4378-90b8-89af8fa381b9" providerId="ADAL" clId="{EF1B1206-FDDC-46E4-A328-0322BAF93445}" dt="2024-02-08T04:29:34.084" v="4866"/>
          <ac:spMkLst>
            <pc:docMk/>
            <pc:sldMk cId="3449723310" sldId="491"/>
            <ac:spMk id="67" creationId="{C3145867-2701-7FA5-741D-FE395E458C85}"/>
          </ac:spMkLst>
        </pc:spChg>
        <pc:spChg chg="add del mod modVis">
          <ac:chgData name="Muchahary, Frankle" userId="0f2bf491-0617-4378-90b8-89af8fa381b9" providerId="ADAL" clId="{EF1B1206-FDDC-46E4-A328-0322BAF93445}" dt="2024-02-08T04:29:42.473" v="5449"/>
          <ac:spMkLst>
            <pc:docMk/>
            <pc:sldMk cId="3449723310" sldId="491"/>
            <ac:spMk id="70" creationId="{1C8B78E2-1297-B6E8-3DFD-7429F7731BFC}"/>
          </ac:spMkLst>
        </pc:spChg>
        <pc:spChg chg="add mod replST">
          <ac:chgData name="Muchahary, Frankle" userId="0f2bf491-0617-4378-90b8-89af8fa381b9" providerId="ADAL" clId="{EF1B1206-FDDC-46E4-A328-0322BAF93445}" dt="2024-02-08T04:30:21.573" v="6260"/>
          <ac:spMkLst>
            <pc:docMk/>
            <pc:sldMk cId="3449723310" sldId="491"/>
            <ac:spMk id="71" creationId="{D137DEF7-61A6-F34A-E856-E81B1B742E00}"/>
          </ac:spMkLst>
        </pc:spChg>
        <pc:spChg chg="add mod replST">
          <ac:chgData name="Muchahary, Frankle" userId="0f2bf491-0617-4378-90b8-89af8fa381b9" providerId="ADAL" clId="{EF1B1206-FDDC-46E4-A328-0322BAF93445}" dt="2024-02-08T04:30:21.573" v="6261"/>
          <ac:spMkLst>
            <pc:docMk/>
            <pc:sldMk cId="3449723310" sldId="491"/>
            <ac:spMk id="72" creationId="{69647926-DABC-983F-63DF-82615DC02F4E}"/>
          </ac:spMkLst>
        </pc:spChg>
        <pc:spChg chg="add mod replST">
          <ac:chgData name="Muchahary, Frankle" userId="0f2bf491-0617-4378-90b8-89af8fa381b9" providerId="ADAL" clId="{EF1B1206-FDDC-46E4-A328-0322BAF93445}" dt="2024-02-08T04:30:21.575" v="6262"/>
          <ac:spMkLst>
            <pc:docMk/>
            <pc:sldMk cId="3449723310" sldId="491"/>
            <ac:spMk id="73" creationId="{5FDB99A5-D492-3FF1-8AAD-68089852B657}"/>
          </ac:spMkLst>
        </pc:spChg>
        <pc:spChg chg="add mod replST">
          <ac:chgData name="Muchahary, Frankle" userId="0f2bf491-0617-4378-90b8-89af8fa381b9" providerId="ADAL" clId="{EF1B1206-FDDC-46E4-A328-0322BAF93445}" dt="2024-02-08T04:30:21.576" v="6263"/>
          <ac:spMkLst>
            <pc:docMk/>
            <pc:sldMk cId="3449723310" sldId="491"/>
            <ac:spMk id="74" creationId="{49E67748-1917-51E0-B6C5-3C1782255F34}"/>
          </ac:spMkLst>
        </pc:spChg>
        <pc:spChg chg="add mod replST">
          <ac:chgData name="Muchahary, Frankle" userId="0f2bf491-0617-4378-90b8-89af8fa381b9" providerId="ADAL" clId="{EF1B1206-FDDC-46E4-A328-0322BAF93445}" dt="2024-02-08T04:30:21.576" v="6264"/>
          <ac:spMkLst>
            <pc:docMk/>
            <pc:sldMk cId="3449723310" sldId="491"/>
            <ac:spMk id="75" creationId="{5A983BB5-FF09-C309-6A02-6CACB60A2903}"/>
          </ac:spMkLst>
        </pc:spChg>
        <pc:spChg chg="add mod replST">
          <ac:chgData name="Muchahary, Frankle" userId="0f2bf491-0617-4378-90b8-89af8fa381b9" providerId="ADAL" clId="{EF1B1206-FDDC-46E4-A328-0322BAF93445}" dt="2024-02-08T04:30:21.577" v="6265"/>
          <ac:spMkLst>
            <pc:docMk/>
            <pc:sldMk cId="3449723310" sldId="491"/>
            <ac:spMk id="76" creationId="{43F81FB7-0C26-AEB5-9221-4A3EDAC10F82}"/>
          </ac:spMkLst>
        </pc:spChg>
        <pc:spChg chg="add mod replST">
          <ac:chgData name="Muchahary, Frankle" userId="0f2bf491-0617-4378-90b8-89af8fa381b9" providerId="ADAL" clId="{EF1B1206-FDDC-46E4-A328-0322BAF93445}" dt="2024-02-08T04:30:21.578" v="6266"/>
          <ac:spMkLst>
            <pc:docMk/>
            <pc:sldMk cId="3449723310" sldId="491"/>
            <ac:spMk id="77" creationId="{B3D6589B-33C3-E1A9-F8D7-42C49672C213}"/>
          </ac:spMkLst>
        </pc:spChg>
        <pc:spChg chg="add del mod modVis">
          <ac:chgData name="Muchahary, Frankle" userId="0f2bf491-0617-4378-90b8-89af8fa381b9" providerId="ADAL" clId="{EF1B1206-FDDC-46E4-A328-0322BAF93445}" dt="2024-02-08T04:30:02.976" v="5913"/>
          <ac:spMkLst>
            <pc:docMk/>
            <pc:sldMk cId="3449723310" sldId="491"/>
            <ac:spMk id="79" creationId="{84495AFA-A6EE-9EC3-F68C-1E2C9350B421}"/>
          </ac:spMkLst>
        </pc:spChg>
        <pc:spChg chg="add del mod modVis">
          <ac:chgData name="Muchahary, Frankle" userId="0f2bf491-0617-4378-90b8-89af8fa381b9" providerId="ADAL" clId="{EF1B1206-FDDC-46E4-A328-0322BAF93445}" dt="2024-02-08T04:30:01.432" v="5865"/>
          <ac:spMkLst>
            <pc:docMk/>
            <pc:sldMk cId="3449723310" sldId="491"/>
            <ac:spMk id="81" creationId="{6800A734-10A2-2BFB-D2FC-F9BA4447DCA7}"/>
          </ac:spMkLst>
        </pc:spChg>
        <pc:spChg chg="add del mod modVis">
          <ac:chgData name="Muchahary, Frankle" userId="0f2bf491-0617-4378-90b8-89af8fa381b9" providerId="ADAL" clId="{EF1B1206-FDDC-46E4-A328-0322BAF93445}" dt="2024-02-08T04:30:21.583" v="6276"/>
          <ac:spMkLst>
            <pc:docMk/>
            <pc:sldMk cId="3449723310" sldId="491"/>
            <ac:spMk id="83" creationId="{45BF456F-6321-6B67-13D1-7A8FAABE31F7}"/>
          </ac:spMkLst>
        </pc:spChg>
        <pc:spChg chg="add mod">
          <ac:chgData name="Muchahary, Frankle" userId="0f2bf491-0617-4378-90b8-89af8fa381b9" providerId="ADAL" clId="{EF1B1206-FDDC-46E4-A328-0322BAF93445}" dt="2024-02-08T04:35:30.395" v="6657" actId="14100"/>
          <ac:spMkLst>
            <pc:docMk/>
            <pc:sldMk cId="3449723310" sldId="491"/>
            <ac:spMk id="85" creationId="{159F435D-0B3E-39C7-89BB-6FC5443C5360}"/>
          </ac:spMkLst>
        </pc:spChg>
        <pc:spChg chg="add mod">
          <ac:chgData name="Muchahary, Frankle" userId="0f2bf491-0617-4378-90b8-89af8fa381b9" providerId="ADAL" clId="{EF1B1206-FDDC-46E4-A328-0322BAF93445}" dt="2024-02-08T04:32:47.559" v="6381" actId="1076"/>
          <ac:spMkLst>
            <pc:docMk/>
            <pc:sldMk cId="3449723310" sldId="491"/>
            <ac:spMk id="86" creationId="{CC1A5F06-8AB6-0790-C756-8CD9791D8B16}"/>
          </ac:spMkLst>
        </pc:spChg>
        <pc:spChg chg="add mod">
          <ac:chgData name="Muchahary, Frankle" userId="0f2bf491-0617-4378-90b8-89af8fa381b9" providerId="ADAL" clId="{EF1B1206-FDDC-46E4-A328-0322BAF93445}" dt="2024-02-08T04:38:52.429" v="6737" actId="1076"/>
          <ac:spMkLst>
            <pc:docMk/>
            <pc:sldMk cId="3449723310" sldId="491"/>
            <ac:spMk id="87" creationId="{7827106A-0A2A-1F28-BD57-6D4B88E28C15}"/>
          </ac:spMkLst>
        </pc:spChg>
        <pc:spChg chg="add del mod">
          <ac:chgData name="Muchahary, Frankle" userId="0f2bf491-0617-4378-90b8-89af8fa381b9" providerId="ADAL" clId="{EF1B1206-FDDC-46E4-A328-0322BAF93445}" dt="2024-02-08T04:30:21.569" v="6253"/>
          <ac:spMkLst>
            <pc:docMk/>
            <pc:sldMk cId="3449723310" sldId="491"/>
            <ac:spMk id="91" creationId="{0195CDD6-58EF-8453-7B61-5140CE5E024B}"/>
          </ac:spMkLst>
        </pc:spChg>
        <pc:spChg chg="add del mod">
          <ac:chgData name="Muchahary, Frankle" userId="0f2bf491-0617-4378-90b8-89af8fa381b9" providerId="ADAL" clId="{EF1B1206-FDDC-46E4-A328-0322BAF93445}" dt="2024-02-08T04:30:21.570" v="6254"/>
          <ac:spMkLst>
            <pc:docMk/>
            <pc:sldMk cId="3449723310" sldId="491"/>
            <ac:spMk id="92" creationId="{73DBA3A4-C447-9C2A-C5E9-8A8E1E0D1ED1}"/>
          </ac:spMkLst>
        </pc:spChg>
        <pc:spChg chg="add del mod">
          <ac:chgData name="Muchahary, Frankle" userId="0f2bf491-0617-4378-90b8-89af8fa381b9" providerId="ADAL" clId="{EF1B1206-FDDC-46E4-A328-0322BAF93445}" dt="2024-02-08T04:30:21.570" v="6255"/>
          <ac:spMkLst>
            <pc:docMk/>
            <pc:sldMk cId="3449723310" sldId="491"/>
            <ac:spMk id="93" creationId="{B0AE4398-ED1E-94BB-1302-93592165D71C}"/>
          </ac:spMkLst>
        </pc:spChg>
        <pc:spChg chg="add del mod">
          <ac:chgData name="Muchahary, Frankle" userId="0f2bf491-0617-4378-90b8-89af8fa381b9" providerId="ADAL" clId="{EF1B1206-FDDC-46E4-A328-0322BAF93445}" dt="2024-02-08T04:30:21.571" v="6256"/>
          <ac:spMkLst>
            <pc:docMk/>
            <pc:sldMk cId="3449723310" sldId="491"/>
            <ac:spMk id="94" creationId="{1E42E34B-6A90-4E88-F04E-C61C6BBB53FB}"/>
          </ac:spMkLst>
        </pc:spChg>
        <pc:spChg chg="add del mod">
          <ac:chgData name="Muchahary, Frankle" userId="0f2bf491-0617-4378-90b8-89af8fa381b9" providerId="ADAL" clId="{EF1B1206-FDDC-46E4-A328-0322BAF93445}" dt="2024-02-08T04:30:21.571" v="6257"/>
          <ac:spMkLst>
            <pc:docMk/>
            <pc:sldMk cId="3449723310" sldId="491"/>
            <ac:spMk id="95" creationId="{F12409CF-AF72-5606-9793-2429A680A11B}"/>
          </ac:spMkLst>
        </pc:spChg>
        <pc:spChg chg="add del mod">
          <ac:chgData name="Muchahary, Frankle" userId="0f2bf491-0617-4378-90b8-89af8fa381b9" providerId="ADAL" clId="{EF1B1206-FDDC-46E4-A328-0322BAF93445}" dt="2024-02-08T04:30:21.572" v="6258"/>
          <ac:spMkLst>
            <pc:docMk/>
            <pc:sldMk cId="3449723310" sldId="491"/>
            <ac:spMk id="96" creationId="{3227A88C-5D3D-3ED0-152C-EA23462C57C9}"/>
          </ac:spMkLst>
        </pc:spChg>
        <pc:spChg chg="add del mod">
          <ac:chgData name="Muchahary, Frankle" userId="0f2bf491-0617-4378-90b8-89af8fa381b9" providerId="ADAL" clId="{EF1B1206-FDDC-46E4-A328-0322BAF93445}" dt="2024-02-08T04:30:21.572" v="6259"/>
          <ac:spMkLst>
            <pc:docMk/>
            <pc:sldMk cId="3449723310" sldId="491"/>
            <ac:spMk id="97" creationId="{BE5FE4B2-6771-8958-CF05-30948306A599}"/>
          </ac:spMkLst>
        </pc:spChg>
        <pc:spChg chg="mod ord">
          <ac:chgData name="Muchahary, Frankle" userId="0f2bf491-0617-4378-90b8-89af8fa381b9" providerId="ADAL" clId="{EF1B1206-FDDC-46E4-A328-0322BAF93445}" dt="2024-02-08T04:32:02.457" v="6374" actId="1076"/>
          <ac:spMkLst>
            <pc:docMk/>
            <pc:sldMk cId="3449723310" sldId="491"/>
            <ac:spMk id="113" creationId="{7E180D42-E200-737B-7545-01FFC6EA8AEC}"/>
          </ac:spMkLst>
        </pc:spChg>
        <pc:spChg chg="mod ord">
          <ac:chgData name="Muchahary, Frankle" userId="0f2bf491-0617-4378-90b8-89af8fa381b9" providerId="ADAL" clId="{EF1B1206-FDDC-46E4-A328-0322BAF93445}" dt="2024-02-08T04:31:41.520" v="6365" actId="20577"/>
          <ac:spMkLst>
            <pc:docMk/>
            <pc:sldMk cId="3449723310" sldId="491"/>
            <ac:spMk id="123" creationId="{C2291815-FDA1-0AD2-36CD-1A9FC8F7CA4B}"/>
          </ac:spMkLst>
        </pc:spChg>
        <pc:spChg chg="del mod ord">
          <ac:chgData name="Muchahary, Frankle" userId="0f2bf491-0617-4378-90b8-89af8fa381b9" providerId="ADAL" clId="{EF1B1206-FDDC-46E4-A328-0322BAF93445}" dt="2024-02-08T04:32:06.418" v="6375" actId="478"/>
          <ac:spMkLst>
            <pc:docMk/>
            <pc:sldMk cId="3449723310" sldId="491"/>
            <ac:spMk id="127" creationId="{1FF53E82-7502-7B12-2B78-77518CD63516}"/>
          </ac:spMkLst>
        </pc:spChg>
        <pc:graphicFrameChg chg="add del mod ord replST">
          <ac:chgData name="Muchahary, Frankle" userId="0f2bf491-0617-4378-90b8-89af8fa381b9" providerId="ADAL" clId="{EF1B1206-FDDC-46E4-A328-0322BAF93445}" dt="2024-02-08T04:29:25.468" v="4630"/>
          <ac:graphicFrameMkLst>
            <pc:docMk/>
            <pc:sldMk cId="3449723310" sldId="491"/>
            <ac:graphicFrameMk id="9" creationId="{A8AC3238-48BD-E789-50F3-CE8B532CEB8C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7.677" v="4442"/>
          <ac:graphicFrameMkLst>
            <pc:docMk/>
            <pc:sldMk cId="3449723310" sldId="491"/>
            <ac:graphicFrameMk id="11" creationId="{E669334C-8B0B-B86A-7599-AC8A0E57BDD3}"/>
          </ac:graphicFrameMkLst>
        </pc:graphicFrameChg>
        <pc:graphicFrameChg chg="mod">
          <ac:chgData name="Muchahary, Frankle" userId="0f2bf491-0617-4378-90b8-89af8fa381b9" providerId="ADAL" clId="{EF1B1206-FDDC-46E4-A328-0322BAF93445}" dt="2024-02-08T04:30:21.592" v="6278"/>
          <ac:graphicFrameMkLst>
            <pc:docMk/>
            <pc:sldMk cId="3449723310" sldId="491"/>
            <ac:graphicFrameMk id="14" creationId="{10CD1331-E7AA-26AB-E49A-DD29D3C5833B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6.584" v="4392"/>
          <ac:graphicFrameMkLst>
            <pc:docMk/>
            <pc:sldMk cId="3449723310" sldId="491"/>
            <ac:graphicFrameMk id="34" creationId="{B410C6D8-68F4-B71F-FA98-847072FC0169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5.353" v="3827"/>
          <ac:graphicFrameMkLst>
            <pc:docMk/>
            <pc:sldMk cId="3449723310" sldId="491"/>
            <ac:graphicFrameMk id="36" creationId="{F91BDFE1-1B71-FB73-B475-01AB876481C2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4.405" v="3761"/>
          <ac:graphicFrameMkLst>
            <pc:docMk/>
            <pc:sldMk cId="3449723310" sldId="491"/>
            <ac:graphicFrameMk id="39" creationId="{3A771978-9C5D-A7EB-9341-39742E025D13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4.405" v="3761"/>
          <ac:graphicFrameMkLst>
            <pc:docMk/>
            <pc:sldMk cId="3449723310" sldId="491"/>
            <ac:graphicFrameMk id="42" creationId="{26291CF0-C75D-2EF7-74D7-8392EB07BF3C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4.405" v="3761"/>
          <ac:graphicFrameMkLst>
            <pc:docMk/>
            <pc:sldMk cId="3449723310" sldId="491"/>
            <ac:graphicFrameMk id="43" creationId="{733E3ACF-5993-133A-3657-59549A8B3231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3.759" v="3609"/>
          <ac:graphicFrameMkLst>
            <pc:docMk/>
            <pc:sldMk cId="3449723310" sldId="491"/>
            <ac:graphicFrameMk id="59" creationId="{B2DBDE93-6A78-8D8C-E12C-7FFE4A472D15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29:03.759" v="3609"/>
          <ac:graphicFrameMkLst>
            <pc:docMk/>
            <pc:sldMk cId="3449723310" sldId="491"/>
            <ac:graphicFrameMk id="60" creationId="{3996AE59-64A4-D308-58CD-18AF4577C504}"/>
          </ac:graphicFrameMkLst>
        </pc:graphicFrameChg>
        <pc:graphicFrameChg chg="add mod ord replST delST">
          <ac:chgData name="Muchahary, Frankle" userId="0f2bf491-0617-4378-90b8-89af8fa381b9" providerId="ADAL" clId="{EF1B1206-FDDC-46E4-A328-0322BAF93445}" dt="2024-02-08T04:29:02.810" v="2992"/>
          <ac:graphicFrameMkLst>
            <pc:docMk/>
            <pc:sldMk cId="3449723310" sldId="491"/>
            <ac:graphicFrameMk id="62" creationId="{C5A5B30A-CFB6-1817-1605-6FA2AD8E9022}"/>
          </ac:graphicFrameMkLst>
        </pc:graphicFrameChg>
        <pc:graphicFrameChg chg="add del mod ord replST">
          <ac:chgData name="Muchahary, Frankle" userId="0f2bf491-0617-4378-90b8-89af8fa381b9" providerId="ADAL" clId="{EF1B1206-FDDC-46E4-A328-0322BAF93445}" dt="2024-02-08T04:29:29.378" v="4686"/>
          <ac:graphicFrameMkLst>
            <pc:docMk/>
            <pc:sldMk cId="3449723310" sldId="491"/>
            <ac:graphicFrameMk id="64" creationId="{A2A39CE6-6F80-F642-7D56-9B66B67E880B}"/>
          </ac:graphicFrameMkLst>
        </pc:graphicFrameChg>
        <pc:graphicFrameChg chg="add del mod ord replST">
          <ac:chgData name="Muchahary, Frankle" userId="0f2bf491-0617-4378-90b8-89af8fa381b9" providerId="ADAL" clId="{EF1B1206-FDDC-46E4-A328-0322BAF93445}" dt="2024-02-08T04:29:34.029" v="4820"/>
          <ac:graphicFrameMkLst>
            <pc:docMk/>
            <pc:sldMk cId="3449723310" sldId="491"/>
            <ac:graphicFrameMk id="65" creationId="{1FD83B01-1798-2AAC-41D3-833FF84D8F03}"/>
          </ac:graphicFrameMkLst>
        </pc:graphicFrameChg>
        <pc:graphicFrameChg chg="add del mod ord replST">
          <ac:chgData name="Muchahary, Frankle" userId="0f2bf491-0617-4378-90b8-89af8fa381b9" providerId="ADAL" clId="{EF1B1206-FDDC-46E4-A328-0322BAF93445}" dt="2024-02-08T04:29:34.739" v="4879"/>
          <ac:graphicFrameMkLst>
            <pc:docMk/>
            <pc:sldMk cId="3449723310" sldId="491"/>
            <ac:graphicFrameMk id="68" creationId="{1563E324-3457-8B96-1C51-0336EBC06088}"/>
          </ac:graphicFrameMkLst>
        </pc:graphicFrameChg>
        <pc:graphicFrameChg chg="add del mod ord replST">
          <ac:chgData name="Muchahary, Frankle" userId="0f2bf491-0617-4378-90b8-89af8fa381b9" providerId="ADAL" clId="{EF1B1206-FDDC-46E4-A328-0322BAF93445}" dt="2024-02-08T04:29:42.425" v="5397"/>
          <ac:graphicFrameMkLst>
            <pc:docMk/>
            <pc:sldMk cId="3449723310" sldId="491"/>
            <ac:graphicFrameMk id="69" creationId="{5DF2B2B5-358D-2719-D47E-52B8B9BFCEB2}"/>
          </ac:graphicFrameMkLst>
        </pc:graphicFrameChg>
        <pc:graphicFrameChg chg="add del mod ord replST">
          <ac:chgData name="Muchahary, Frankle" userId="0f2bf491-0617-4378-90b8-89af8fa381b9" providerId="ADAL" clId="{EF1B1206-FDDC-46E4-A328-0322BAF93445}" dt="2024-02-08T04:30:21.568" v="6252"/>
          <ac:graphicFrameMkLst>
            <pc:docMk/>
            <pc:sldMk cId="3449723310" sldId="491"/>
            <ac:graphicFrameMk id="78" creationId="{6ED8D5C2-52B5-4AE7-4182-C60FB397C0AF}"/>
          </ac:graphicFrameMkLst>
        </pc:graphicFrameChg>
        <pc:graphicFrameChg chg="add del mod ord replST delST">
          <ac:chgData name="Muchahary, Frankle" userId="0f2bf491-0617-4378-90b8-89af8fa381b9" providerId="ADAL" clId="{EF1B1206-FDDC-46E4-A328-0322BAF93445}" dt="2024-02-08T04:30:02.976" v="5913"/>
          <ac:graphicFrameMkLst>
            <pc:docMk/>
            <pc:sldMk cId="3449723310" sldId="491"/>
            <ac:graphicFrameMk id="80" creationId="{11A70343-BE5A-9898-6EAD-6E2F39137691}"/>
          </ac:graphicFrameMkLst>
        </pc:graphicFrameChg>
        <pc:graphicFrameChg chg="add mod ord replST delST">
          <ac:chgData name="Muchahary, Frankle" userId="0f2bf491-0617-4378-90b8-89af8fa381b9" providerId="ADAL" clId="{EF1B1206-FDDC-46E4-A328-0322BAF93445}" dt="2024-02-08T04:30:01.432" v="5865"/>
          <ac:graphicFrameMkLst>
            <pc:docMk/>
            <pc:sldMk cId="3449723310" sldId="491"/>
            <ac:graphicFrameMk id="82" creationId="{ECAC8E3B-9563-B3BC-5CD6-3553009FC563}"/>
          </ac:graphicFrameMkLst>
        </pc:graphicFrameChg>
        <pc:graphicFrameChg chg="add mod ord replST">
          <ac:chgData name="Muchahary, Frankle" userId="0f2bf491-0617-4378-90b8-89af8fa381b9" providerId="ADAL" clId="{EF1B1206-FDDC-46E4-A328-0322BAF93445}" dt="2024-02-08T04:30:21.561" v="6236"/>
          <ac:graphicFrameMkLst>
            <pc:docMk/>
            <pc:sldMk cId="3449723310" sldId="491"/>
            <ac:graphicFrameMk id="84" creationId="{247F2695-EB7B-6D88-970B-0BDD9C1FCDBC}"/>
          </ac:graphicFrameMkLst>
        </pc:graphicFrameChg>
        <pc:graphicFrameChg chg="add del">
          <ac:chgData name="Muchahary, Frankle" userId="0f2bf491-0617-4378-90b8-89af8fa381b9" providerId="ADAL" clId="{EF1B1206-FDDC-46E4-A328-0322BAF93445}" dt="2024-02-08T04:27:15.150" v="206"/>
          <ac:graphicFrameMkLst>
            <pc:docMk/>
            <pc:sldMk cId="3449723310" sldId="491"/>
            <ac:graphicFrameMk id="122" creationId="{9E22DA18-10EB-352D-A13E-AFC974069090}"/>
          </ac:graphicFrameMkLst>
        </pc:graphicFrameChg>
        <pc:graphicFrameChg chg="del mod ord">
          <ac:chgData name="Muchahary, Frankle" userId="0f2bf491-0617-4378-90b8-89af8fa381b9" providerId="ADAL" clId="{EF1B1206-FDDC-46E4-A328-0322BAF93445}" dt="2024-02-08T04:30:21.531" v="6224"/>
          <ac:graphicFrameMkLst>
            <pc:docMk/>
            <pc:sldMk cId="3449723310" sldId="491"/>
            <ac:graphicFrameMk id="126" creationId="{5648562D-655B-A697-DD5D-9C3B77ECFFCA}"/>
          </ac:graphicFrameMkLst>
        </pc:graphicFrameChg>
      </pc:sldChg>
      <pc:sldChg chg="addSp modSp add mod">
        <pc:chgData name="Muchahary, Frankle" userId="0f2bf491-0617-4378-90b8-89af8fa381b9" providerId="ADAL" clId="{EF1B1206-FDDC-46E4-A328-0322BAF93445}" dt="2024-02-08T05:49:39.766" v="9951" actId="20577"/>
        <pc:sldMkLst>
          <pc:docMk/>
          <pc:sldMk cId="1645309412" sldId="492"/>
        </pc:sldMkLst>
        <pc:spChg chg="mod">
          <ac:chgData name="Muchahary, Frankle" userId="0f2bf491-0617-4378-90b8-89af8fa381b9" providerId="ADAL" clId="{EF1B1206-FDDC-46E4-A328-0322BAF93445}" dt="2024-02-08T05:49:39.766" v="9951" actId="20577"/>
          <ac:spMkLst>
            <pc:docMk/>
            <pc:sldMk cId="1645309412" sldId="492"/>
            <ac:spMk id="2" creationId="{DB515EBE-D31E-0CE7-96EF-BD5391322A88}"/>
          </ac:spMkLst>
        </pc:spChg>
        <pc:spChg chg="add mod">
          <ac:chgData name="Muchahary, Frankle" userId="0f2bf491-0617-4378-90b8-89af8fa381b9" providerId="ADAL" clId="{EF1B1206-FDDC-46E4-A328-0322BAF93445}" dt="2024-02-08T05:28:28.108" v="8840" actId="20577"/>
          <ac:spMkLst>
            <pc:docMk/>
            <pc:sldMk cId="1645309412" sldId="492"/>
            <ac:spMk id="3" creationId="{996729B9-9128-B829-FCB7-DDF9F9F4112E}"/>
          </ac:spMkLst>
        </pc:spChg>
        <pc:spChg chg="add mod">
          <ac:chgData name="Muchahary, Frankle" userId="0f2bf491-0617-4378-90b8-89af8fa381b9" providerId="ADAL" clId="{EF1B1206-FDDC-46E4-A328-0322BAF93445}" dt="2024-02-08T05:28:32.584" v="8841" actId="1076"/>
          <ac:spMkLst>
            <pc:docMk/>
            <pc:sldMk cId="1645309412" sldId="492"/>
            <ac:spMk id="4" creationId="{32E23401-7E90-DE4A-6DFB-B30E5487AC66}"/>
          </ac:spMkLst>
        </pc:spChg>
        <pc:spChg chg="mod">
          <ac:chgData name="Muchahary, Frankle" userId="0f2bf491-0617-4378-90b8-89af8fa381b9" providerId="ADAL" clId="{EF1B1206-FDDC-46E4-A328-0322BAF93445}" dt="2024-02-08T05:28:08.584" v="8830" actId="20577"/>
          <ac:spMkLst>
            <pc:docMk/>
            <pc:sldMk cId="1645309412" sldId="492"/>
            <ac:spMk id="12" creationId="{FD83CF00-6BCC-0000-77BC-FF89916B02EA}"/>
          </ac:spMkLst>
        </pc:spChg>
      </pc:sldChg>
      <pc:sldChg chg="delSp add mod">
        <pc:chgData name="Muchahary, Frankle" userId="0f2bf491-0617-4378-90b8-89af8fa381b9" providerId="ADAL" clId="{EF1B1206-FDDC-46E4-A328-0322BAF93445}" dt="2024-02-08T05:29:13.503" v="8843" actId="478"/>
        <pc:sldMkLst>
          <pc:docMk/>
          <pc:sldMk cId="1284985216" sldId="494"/>
        </pc:sldMkLst>
        <pc:spChg chg="del">
          <ac:chgData name="Muchahary, Frankle" userId="0f2bf491-0617-4378-90b8-89af8fa381b9" providerId="ADAL" clId="{EF1B1206-FDDC-46E4-A328-0322BAF93445}" dt="2024-02-08T05:29:13.503" v="8843" actId="478"/>
          <ac:spMkLst>
            <pc:docMk/>
            <pc:sldMk cId="1284985216" sldId="494"/>
            <ac:spMk id="3" creationId="{7C337486-3288-6C35-3450-6603A7B0AC6B}"/>
          </ac:spMkLst>
        </pc:spChg>
        <pc:spChg chg="del">
          <ac:chgData name="Muchahary, Frankle" userId="0f2bf491-0617-4378-90b8-89af8fa381b9" providerId="ADAL" clId="{EF1B1206-FDDC-46E4-A328-0322BAF93445}" dt="2024-02-08T05:29:13.503" v="8843" actId="478"/>
          <ac:spMkLst>
            <pc:docMk/>
            <pc:sldMk cId="1284985216" sldId="494"/>
            <ac:spMk id="4" creationId="{104C3724-053D-04E3-7BA9-E526438D9752}"/>
          </ac:spMkLst>
        </pc:spChg>
        <pc:spChg chg="del">
          <ac:chgData name="Muchahary, Frankle" userId="0f2bf491-0617-4378-90b8-89af8fa381b9" providerId="ADAL" clId="{EF1B1206-FDDC-46E4-A328-0322BAF93445}" dt="2024-02-08T05:29:13.503" v="8843" actId="478"/>
          <ac:spMkLst>
            <pc:docMk/>
            <pc:sldMk cId="1284985216" sldId="494"/>
            <ac:spMk id="12" creationId="{2ABB07EC-645B-5CEA-3BB2-46CC8C8899DD}"/>
          </ac:spMkLst>
        </pc:spChg>
        <pc:picChg chg="del">
          <ac:chgData name="Muchahary, Frankle" userId="0f2bf491-0617-4378-90b8-89af8fa381b9" providerId="ADAL" clId="{EF1B1206-FDDC-46E4-A328-0322BAF93445}" dt="2024-02-08T05:29:13.503" v="8843" actId="478"/>
          <ac:picMkLst>
            <pc:docMk/>
            <pc:sldMk cId="1284985216" sldId="494"/>
            <ac:picMk id="6" creationId="{1562BD4C-FA3E-E069-1705-A4EFA2ED4C2B}"/>
          </ac:picMkLst>
        </pc:picChg>
        <pc:picChg chg="del">
          <ac:chgData name="Muchahary, Frankle" userId="0f2bf491-0617-4378-90b8-89af8fa381b9" providerId="ADAL" clId="{EF1B1206-FDDC-46E4-A328-0322BAF93445}" dt="2024-02-08T05:29:13.503" v="8843" actId="478"/>
          <ac:picMkLst>
            <pc:docMk/>
            <pc:sldMk cId="1284985216" sldId="494"/>
            <ac:picMk id="9" creationId="{1F248E9C-34F2-AABE-2C22-3A0D189435F4}"/>
          </ac:picMkLst>
        </pc:picChg>
        <pc:picChg chg="del">
          <ac:chgData name="Muchahary, Frankle" userId="0f2bf491-0617-4378-90b8-89af8fa381b9" providerId="ADAL" clId="{EF1B1206-FDDC-46E4-A328-0322BAF93445}" dt="2024-02-08T05:29:13.503" v="8843" actId="478"/>
          <ac:picMkLst>
            <pc:docMk/>
            <pc:sldMk cId="1284985216" sldId="494"/>
            <ac:picMk id="11" creationId="{7C9A21E8-C0AD-162F-AC88-ED404AADFF87}"/>
          </ac:picMkLst>
        </pc:picChg>
      </pc:sldChg>
      <pc:sldChg chg="addSp delSp modSp add mod">
        <pc:chgData name="Muchahary, Frankle" userId="0f2bf491-0617-4378-90b8-89af8fa381b9" providerId="ADAL" clId="{EF1B1206-FDDC-46E4-A328-0322BAF93445}" dt="2024-02-08T05:51:22.465" v="9963" actId="14734"/>
        <pc:sldMkLst>
          <pc:docMk/>
          <pc:sldMk cId="2642164004" sldId="498"/>
        </pc:sldMkLst>
        <pc:graphicFrameChg chg="add mod modGraphic">
          <ac:chgData name="Muchahary, Frankle" userId="0f2bf491-0617-4378-90b8-89af8fa381b9" providerId="ADAL" clId="{EF1B1206-FDDC-46E4-A328-0322BAF93445}" dt="2024-02-08T05:51:22.465" v="9963" actId="14734"/>
          <ac:graphicFrameMkLst>
            <pc:docMk/>
            <pc:sldMk cId="2642164004" sldId="498"/>
            <ac:graphicFrameMk id="4" creationId="{70D92C9D-2428-2998-9606-34022F689F03}"/>
          </ac:graphicFrameMkLst>
        </pc:graphicFrameChg>
        <pc:graphicFrameChg chg="del">
          <ac:chgData name="Muchahary, Frankle" userId="0f2bf491-0617-4378-90b8-89af8fa381b9" providerId="ADAL" clId="{EF1B1206-FDDC-46E4-A328-0322BAF93445}" dt="2024-02-08T05:50:45.563" v="9953" actId="478"/>
          <ac:graphicFrameMkLst>
            <pc:docMk/>
            <pc:sldMk cId="2642164004" sldId="498"/>
            <ac:graphicFrameMk id="5" creationId="{EC9F8DCE-316F-605A-DEB4-8DED2BD8D634}"/>
          </ac:graphicFrameMkLst>
        </pc:graphicFrameChg>
      </pc:sldChg>
      <pc:sldChg chg="add del">
        <pc:chgData name="Muchahary, Frankle" userId="0f2bf491-0617-4378-90b8-89af8fa381b9" providerId="ADAL" clId="{EF1B1206-FDDC-46E4-A328-0322BAF93445}" dt="2024-02-08T05:51:31.368" v="9965" actId="47"/>
        <pc:sldMkLst>
          <pc:docMk/>
          <pc:sldMk cId="3216733962" sldId="499"/>
        </pc:sldMkLst>
      </pc:sldChg>
    </pc:docChg>
  </pc:docChgLst>
  <pc:docChgLst>
    <pc:chgData name="Tan, Roger" userId="f6f33758-bd69-4951-8148-181de3b92474" providerId="ADAL" clId="{38E8A8ED-EEDE-4A45-94A8-227C2893877F}"/>
    <pc:docChg chg="undo custSel addSld modSld sldOrd">
      <pc:chgData name="Tan, Roger" userId="f6f33758-bd69-4951-8148-181de3b92474" providerId="ADAL" clId="{38E8A8ED-EEDE-4A45-94A8-227C2893877F}" dt="2024-02-08T05:46:15.744" v="1249" actId="1076"/>
      <pc:docMkLst>
        <pc:docMk/>
      </pc:docMkLst>
      <pc:sldChg chg="addSp delSp modSp mod">
        <pc:chgData name="Tan, Roger" userId="f6f33758-bd69-4951-8148-181de3b92474" providerId="ADAL" clId="{38E8A8ED-EEDE-4A45-94A8-227C2893877F}" dt="2024-02-08T05:13:24.933" v="673" actId="20577"/>
        <pc:sldMkLst>
          <pc:docMk/>
          <pc:sldMk cId="3300591734" sldId="472"/>
        </pc:sldMkLst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9" creationId="{B07CADB7-3EB3-23DC-2072-4BECE57C71CC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10" creationId="{82C48981-9CA9-29CC-AF05-6170CE2B05D1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11" creationId="{8EB6C665-8C3E-1126-3B37-A94CC119272A}"/>
          </ac:spMkLst>
        </pc:spChg>
        <pc:spChg chg="del mod">
          <ac:chgData name="Tan, Roger" userId="f6f33758-bd69-4951-8148-181de3b92474" providerId="ADAL" clId="{38E8A8ED-EEDE-4A45-94A8-227C2893877F}" dt="2024-02-08T04:56:43.414" v="102" actId="478"/>
          <ac:spMkLst>
            <pc:docMk/>
            <pc:sldMk cId="3300591734" sldId="472"/>
            <ac:spMk id="12" creationId="{69966B39-5F63-E52B-9128-35E29328AB34}"/>
          </ac:spMkLst>
        </pc:spChg>
        <pc:spChg chg="mod">
          <ac:chgData name="Tan, Roger" userId="f6f33758-bd69-4951-8148-181de3b92474" providerId="ADAL" clId="{38E8A8ED-EEDE-4A45-94A8-227C2893877F}" dt="2024-02-08T05:05:52.257" v="617" actId="1036"/>
          <ac:spMkLst>
            <pc:docMk/>
            <pc:sldMk cId="3300591734" sldId="472"/>
            <ac:spMk id="13" creationId="{D4450838-D668-2EA4-FDE0-69F6540EC2CD}"/>
          </ac:spMkLst>
        </pc:spChg>
        <pc:spChg chg="mod">
          <ac:chgData name="Tan, Roger" userId="f6f33758-bd69-4951-8148-181de3b92474" providerId="ADAL" clId="{38E8A8ED-EEDE-4A45-94A8-227C2893877F}" dt="2024-02-08T05:05:54.458" v="622" actId="1035"/>
          <ac:spMkLst>
            <pc:docMk/>
            <pc:sldMk cId="3300591734" sldId="472"/>
            <ac:spMk id="15" creationId="{A7250D9B-A7BA-02CE-7468-FECCA611EE8A}"/>
          </ac:spMkLst>
        </pc:spChg>
        <pc:spChg chg="del mod">
          <ac:chgData name="Tan, Roger" userId="f6f33758-bd69-4951-8148-181de3b92474" providerId="ADAL" clId="{38E8A8ED-EEDE-4A45-94A8-227C2893877F}" dt="2024-02-08T04:56:48.146" v="105" actId="478"/>
          <ac:spMkLst>
            <pc:docMk/>
            <pc:sldMk cId="3300591734" sldId="472"/>
            <ac:spMk id="16" creationId="{C79C0217-022A-8F73-CF82-A20696EBD09E}"/>
          </ac:spMkLst>
        </pc:spChg>
        <pc:spChg chg="del mod">
          <ac:chgData name="Tan, Roger" userId="f6f33758-bd69-4951-8148-181de3b92474" providerId="ADAL" clId="{38E8A8ED-EEDE-4A45-94A8-227C2893877F}" dt="2024-02-08T04:56:50.153" v="106" actId="478"/>
          <ac:spMkLst>
            <pc:docMk/>
            <pc:sldMk cId="3300591734" sldId="472"/>
            <ac:spMk id="17" creationId="{DDF6B1AE-1E97-44A1-CD1F-25384781311F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18" creationId="{E10FC880-98B0-C17D-C3F3-0E45C649A852}"/>
          </ac:spMkLst>
        </pc:spChg>
        <pc:spChg chg="mod">
          <ac:chgData name="Tan, Roger" userId="f6f33758-bd69-4951-8148-181de3b92474" providerId="ADAL" clId="{38E8A8ED-EEDE-4A45-94A8-227C2893877F}" dt="2024-02-08T05:06:01.740" v="641" actId="1035"/>
          <ac:spMkLst>
            <pc:docMk/>
            <pc:sldMk cId="3300591734" sldId="472"/>
            <ac:spMk id="19" creationId="{DA3F573B-BCC4-3AFB-34CC-AA178D6BC6FB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20" creationId="{6865283C-2E9F-D8A1-17E3-119CE1F8D93F}"/>
          </ac:spMkLst>
        </pc:spChg>
        <pc:spChg chg="mod">
          <ac:chgData name="Tan, Roger" userId="f6f33758-bd69-4951-8148-181de3b92474" providerId="ADAL" clId="{38E8A8ED-EEDE-4A45-94A8-227C2893877F}" dt="2024-02-08T05:13:24.933" v="673" actId="20577"/>
          <ac:spMkLst>
            <pc:docMk/>
            <pc:sldMk cId="3300591734" sldId="472"/>
            <ac:spMk id="21" creationId="{C5FA20F4-6416-CF98-D475-12B5B25BF20D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22" creationId="{463AA88C-1E75-75AF-7FF0-FD6C16794B97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24" creationId="{069A522D-0AF0-3C73-9C7A-71220CCACD0E}"/>
          </ac:spMkLst>
        </pc:spChg>
        <pc:spChg chg="del mod">
          <ac:chgData name="Tan, Roger" userId="f6f33758-bd69-4951-8148-181de3b92474" providerId="ADAL" clId="{38E8A8ED-EEDE-4A45-94A8-227C2893877F}" dt="2024-02-08T04:56:44.655" v="103" actId="478"/>
          <ac:spMkLst>
            <pc:docMk/>
            <pc:sldMk cId="3300591734" sldId="472"/>
            <ac:spMk id="26" creationId="{BCFB1D23-4FD5-59D5-3B0B-2C6BDC09E149}"/>
          </ac:spMkLst>
        </pc:spChg>
        <pc:spChg chg="mod">
          <ac:chgData name="Tan, Roger" userId="f6f33758-bd69-4951-8148-181de3b92474" providerId="ADAL" clId="{38E8A8ED-EEDE-4A45-94A8-227C2893877F}" dt="2024-02-08T05:05:40.853" v="597" actId="403"/>
          <ac:spMkLst>
            <pc:docMk/>
            <pc:sldMk cId="3300591734" sldId="472"/>
            <ac:spMk id="28" creationId="{C4C1EFCD-0E30-F58C-F944-72DDA097B412}"/>
          </ac:spMkLst>
        </pc:spChg>
        <pc:grpChg chg="add mod">
          <ac:chgData name="Tan, Roger" userId="f6f33758-bd69-4951-8148-181de3b92474" providerId="ADAL" clId="{38E8A8ED-EEDE-4A45-94A8-227C2893877F}" dt="2024-02-08T04:56:53.492" v="107" actId="1076"/>
          <ac:grpSpMkLst>
            <pc:docMk/>
            <pc:sldMk cId="3300591734" sldId="472"/>
            <ac:grpSpMk id="3" creationId="{B01ECCFD-D6DA-6FEF-B9FC-FD02BB5223C4}"/>
          </ac:grpSpMkLst>
        </pc:grpChg>
        <pc:grpChg chg="mod">
          <ac:chgData name="Tan, Roger" userId="f6f33758-bd69-4951-8148-181de3b92474" providerId="ADAL" clId="{38E8A8ED-EEDE-4A45-94A8-227C2893877F}" dt="2024-02-08T04:56:39.894" v="101"/>
          <ac:grpSpMkLst>
            <pc:docMk/>
            <pc:sldMk cId="3300591734" sldId="472"/>
            <ac:grpSpMk id="4" creationId="{618C2B66-A7C3-8253-B94B-18CFD6B13E8D}"/>
          </ac:grpSpMkLst>
        </pc:grpChg>
        <pc:grpChg chg="del mod">
          <ac:chgData name="Tan, Roger" userId="f6f33758-bd69-4951-8148-181de3b92474" providerId="ADAL" clId="{38E8A8ED-EEDE-4A45-94A8-227C2893877F}" dt="2024-02-08T04:56:44.655" v="103" actId="478"/>
          <ac:grpSpMkLst>
            <pc:docMk/>
            <pc:sldMk cId="3300591734" sldId="472"/>
            <ac:grpSpMk id="5" creationId="{DE3EA1AE-83B5-449F-C846-C9B774A89888}"/>
          </ac:grpSpMkLst>
        </pc:grpChg>
        <pc:grpChg chg="mod">
          <ac:chgData name="Tan, Roger" userId="f6f33758-bd69-4951-8148-181de3b92474" providerId="ADAL" clId="{38E8A8ED-EEDE-4A45-94A8-227C2893877F}" dt="2024-02-08T04:56:39.894" v="101"/>
          <ac:grpSpMkLst>
            <pc:docMk/>
            <pc:sldMk cId="3300591734" sldId="472"/>
            <ac:grpSpMk id="6" creationId="{CFD5E189-3C44-40D1-0CDC-EE36A6B52F63}"/>
          </ac:grpSpMkLst>
        </pc:grpChg>
        <pc:grpChg chg="mod">
          <ac:chgData name="Tan, Roger" userId="f6f33758-bd69-4951-8148-181de3b92474" providerId="ADAL" clId="{38E8A8ED-EEDE-4A45-94A8-227C2893877F}" dt="2024-02-08T04:56:39.894" v="101"/>
          <ac:grpSpMkLst>
            <pc:docMk/>
            <pc:sldMk cId="3300591734" sldId="472"/>
            <ac:grpSpMk id="8" creationId="{39B5C1CC-0F80-4762-82D0-D9F6803CEFF9}"/>
          </ac:grpSpMkLst>
        </pc:grpChg>
        <pc:cxnChg chg="mod">
          <ac:chgData name="Tan, Roger" userId="f6f33758-bd69-4951-8148-181de3b92474" providerId="ADAL" clId="{38E8A8ED-EEDE-4A45-94A8-227C2893877F}" dt="2024-02-08T04:56:39.894" v="101"/>
          <ac:cxnSpMkLst>
            <pc:docMk/>
            <pc:sldMk cId="3300591734" sldId="472"/>
            <ac:cxnSpMk id="23" creationId="{0C9A24BB-D1E7-CA04-46D1-6364D3F5ADC5}"/>
          </ac:cxnSpMkLst>
        </pc:cxnChg>
        <pc:cxnChg chg="mod">
          <ac:chgData name="Tan, Roger" userId="f6f33758-bd69-4951-8148-181de3b92474" providerId="ADAL" clId="{38E8A8ED-EEDE-4A45-94A8-227C2893877F}" dt="2024-02-08T04:56:39.894" v="101"/>
          <ac:cxnSpMkLst>
            <pc:docMk/>
            <pc:sldMk cId="3300591734" sldId="472"/>
            <ac:cxnSpMk id="25" creationId="{E5BB839D-2226-8308-A2B1-14080A59CDC2}"/>
          </ac:cxnSpMkLst>
        </pc:cxnChg>
        <pc:cxnChg chg="del mod">
          <ac:chgData name="Tan, Roger" userId="f6f33758-bd69-4951-8148-181de3b92474" providerId="ADAL" clId="{38E8A8ED-EEDE-4A45-94A8-227C2893877F}" dt="2024-02-08T04:56:46.609" v="104" actId="478"/>
          <ac:cxnSpMkLst>
            <pc:docMk/>
            <pc:sldMk cId="3300591734" sldId="472"/>
            <ac:cxnSpMk id="27" creationId="{BA189C6D-A5FE-2E41-429B-2C29A793CE4F}"/>
          </ac:cxnSpMkLst>
        </pc:cxnChg>
        <pc:cxnChg chg="mod">
          <ac:chgData name="Tan, Roger" userId="f6f33758-bd69-4951-8148-181de3b92474" providerId="ADAL" clId="{38E8A8ED-EEDE-4A45-94A8-227C2893877F}" dt="2024-02-08T04:56:39.894" v="101"/>
          <ac:cxnSpMkLst>
            <pc:docMk/>
            <pc:sldMk cId="3300591734" sldId="472"/>
            <ac:cxnSpMk id="29" creationId="{9799FE63-2C45-2B0B-4DE7-D64C5C27B920}"/>
          </ac:cxnSpMkLst>
        </pc:cxnChg>
      </pc:sldChg>
      <pc:sldChg chg="addSp modSp mod">
        <pc:chgData name="Tan, Roger" userId="f6f33758-bd69-4951-8148-181de3b92474" providerId="ADAL" clId="{38E8A8ED-EEDE-4A45-94A8-227C2893877F}" dt="2024-02-08T04:48:29.492" v="48" actId="1076"/>
        <pc:sldMkLst>
          <pc:docMk/>
          <pc:sldMk cId="3358799017" sldId="484"/>
        </pc:sldMkLst>
        <pc:graphicFrameChg chg="add mod">
          <ac:chgData name="Tan, Roger" userId="f6f33758-bd69-4951-8148-181de3b92474" providerId="ADAL" clId="{38E8A8ED-EEDE-4A45-94A8-227C2893877F}" dt="2024-02-08T04:48:29.492" v="48" actId="1076"/>
          <ac:graphicFrameMkLst>
            <pc:docMk/>
            <pc:sldMk cId="3358799017" sldId="484"/>
            <ac:graphicFrameMk id="8" creationId="{FA83731C-ED16-C651-A4FC-F9A12EBE7456}"/>
          </ac:graphicFrameMkLst>
        </pc:graphicFrameChg>
      </pc:sldChg>
      <pc:sldChg chg="addSp modSp mod">
        <pc:chgData name="Tan, Roger" userId="f6f33758-bd69-4951-8148-181de3b92474" providerId="ADAL" clId="{38E8A8ED-EEDE-4A45-94A8-227C2893877F}" dt="2024-02-08T04:54:34.005" v="100" actId="120"/>
        <pc:sldMkLst>
          <pc:docMk/>
          <pc:sldMk cId="1019381096" sldId="485"/>
        </pc:sldMkLst>
        <pc:spChg chg="add mod">
          <ac:chgData name="Tan, Roger" userId="f6f33758-bd69-4951-8148-181de3b92474" providerId="ADAL" clId="{38E8A8ED-EEDE-4A45-94A8-227C2893877F}" dt="2024-02-08T04:54:34.005" v="100" actId="120"/>
          <ac:spMkLst>
            <pc:docMk/>
            <pc:sldMk cId="1019381096" sldId="485"/>
            <ac:spMk id="4" creationId="{AD61F06B-7EAE-2EB3-8DBF-A2FC13FD5A30}"/>
          </ac:spMkLst>
        </pc:spChg>
        <pc:graphicFrameChg chg="add mod">
          <ac:chgData name="Tan, Roger" userId="f6f33758-bd69-4951-8148-181de3b92474" providerId="ADAL" clId="{38E8A8ED-EEDE-4A45-94A8-227C2893877F}" dt="2024-02-08T04:54:25.144" v="98" actId="1076"/>
          <ac:graphicFrameMkLst>
            <pc:docMk/>
            <pc:sldMk cId="1019381096" sldId="485"/>
            <ac:graphicFrameMk id="3" creationId="{11A04F49-292C-1436-37DD-33D20CF2F091}"/>
          </ac:graphicFrameMkLst>
        </pc:graphicFrameChg>
      </pc:sldChg>
      <pc:sldChg chg="addSp delSp modSp mod">
        <pc:chgData name="Tan, Roger" userId="f6f33758-bd69-4951-8148-181de3b92474" providerId="ADAL" clId="{38E8A8ED-EEDE-4A45-94A8-227C2893877F}" dt="2024-02-08T04:39:03.823" v="17" actId="14100"/>
        <pc:sldMkLst>
          <pc:docMk/>
          <pc:sldMk cId="4078416900" sldId="490"/>
        </pc:sldMkLst>
        <pc:spChg chg="add mod">
          <ac:chgData name="Tan, Roger" userId="f6f33758-bd69-4951-8148-181de3b92474" providerId="ADAL" clId="{38E8A8ED-EEDE-4A45-94A8-227C2893877F}" dt="2024-02-08T04:39:03.823" v="17" actId="14100"/>
          <ac:spMkLst>
            <pc:docMk/>
            <pc:sldMk cId="4078416900" sldId="490"/>
            <ac:spMk id="12" creationId="{C108B2B6-3C27-69FE-AE47-DB7702F78085}"/>
          </ac:spMkLst>
        </pc:spChg>
        <pc:picChg chg="add del mod">
          <ac:chgData name="Tan, Roger" userId="f6f33758-bd69-4951-8148-181de3b92474" providerId="ADAL" clId="{38E8A8ED-EEDE-4A45-94A8-227C2893877F}" dt="2024-02-08T04:36:51.038" v="3" actId="478"/>
          <ac:picMkLst>
            <pc:docMk/>
            <pc:sldMk cId="4078416900" sldId="490"/>
            <ac:picMk id="4" creationId="{8E0037A6-2939-B692-0C35-6011106C07D3}"/>
          </ac:picMkLst>
        </pc:picChg>
        <pc:picChg chg="add mod">
          <ac:chgData name="Tan, Roger" userId="f6f33758-bd69-4951-8148-181de3b92474" providerId="ADAL" clId="{38E8A8ED-EEDE-4A45-94A8-227C2893877F}" dt="2024-02-08T04:38:02.461" v="8" actId="1076"/>
          <ac:picMkLst>
            <pc:docMk/>
            <pc:sldMk cId="4078416900" sldId="490"/>
            <ac:picMk id="6" creationId="{1D2933D0-7586-6263-EB67-91E03E2611BE}"/>
          </ac:picMkLst>
        </pc:picChg>
        <pc:picChg chg="add mod">
          <ac:chgData name="Tan, Roger" userId="f6f33758-bd69-4951-8148-181de3b92474" providerId="ADAL" clId="{38E8A8ED-EEDE-4A45-94A8-227C2893877F}" dt="2024-02-08T04:38:24.522" v="11" actId="1076"/>
          <ac:picMkLst>
            <pc:docMk/>
            <pc:sldMk cId="4078416900" sldId="490"/>
            <ac:picMk id="9" creationId="{8BF81369-398C-8C15-578F-8BD9CCD4B304}"/>
          </ac:picMkLst>
        </pc:picChg>
        <pc:picChg chg="add mod">
          <ac:chgData name="Tan, Roger" userId="f6f33758-bd69-4951-8148-181de3b92474" providerId="ADAL" clId="{38E8A8ED-EEDE-4A45-94A8-227C2893877F}" dt="2024-02-08T04:38:47.356" v="14" actId="1076"/>
          <ac:picMkLst>
            <pc:docMk/>
            <pc:sldMk cId="4078416900" sldId="490"/>
            <ac:picMk id="11" creationId="{1FD60BA4-BEE4-C91E-3C8C-64601E9B1FEC}"/>
          </ac:picMkLst>
        </pc:picChg>
      </pc:sldChg>
      <pc:sldChg chg="addSp modSp mod">
        <pc:chgData name="Tan, Roger" userId="f6f33758-bd69-4951-8148-181de3b92474" providerId="ADAL" clId="{38E8A8ED-EEDE-4A45-94A8-227C2893877F}" dt="2024-02-08T05:34:27.281" v="856" actId="1076"/>
        <pc:sldMkLst>
          <pc:docMk/>
          <pc:sldMk cId="481331116" sldId="493"/>
        </pc:sldMkLst>
        <pc:spChg chg="add mod">
          <ac:chgData name="Tan, Roger" userId="f6f33758-bd69-4951-8148-181de3b92474" providerId="ADAL" clId="{38E8A8ED-EEDE-4A45-94A8-227C2893877F}" dt="2024-02-08T05:34:07.309" v="850" actId="1076"/>
          <ac:spMkLst>
            <pc:docMk/>
            <pc:sldMk cId="481331116" sldId="493"/>
            <ac:spMk id="6" creationId="{746474E0-F00F-C7E4-414B-E37EBA84992E}"/>
          </ac:spMkLst>
        </pc:spChg>
        <pc:spChg chg="add mod">
          <ac:chgData name="Tan, Roger" userId="f6f33758-bd69-4951-8148-181de3b92474" providerId="ADAL" clId="{38E8A8ED-EEDE-4A45-94A8-227C2893877F}" dt="2024-02-08T05:34:27.281" v="856" actId="1076"/>
          <ac:spMkLst>
            <pc:docMk/>
            <pc:sldMk cId="481331116" sldId="493"/>
            <ac:spMk id="8" creationId="{D40E93EF-0F13-32D8-6384-6ED64AA8631E}"/>
          </ac:spMkLst>
        </pc:spChg>
      </pc:sldChg>
      <pc:sldChg chg="addSp delSp modSp add mod">
        <pc:chgData name="Tan, Roger" userId="f6f33758-bd69-4951-8148-181de3b92474" providerId="ADAL" clId="{38E8A8ED-EEDE-4A45-94A8-227C2893877F}" dt="2024-02-08T05:41:43.610" v="1190" actId="20577"/>
        <pc:sldMkLst>
          <pc:docMk/>
          <pc:sldMk cId="3504472608" sldId="495"/>
        </pc:sldMkLst>
        <pc:spChg chg="mod">
          <ac:chgData name="Tan, Roger" userId="f6f33758-bd69-4951-8148-181de3b92474" providerId="ADAL" clId="{38E8A8ED-EEDE-4A45-94A8-227C2893877F}" dt="2024-02-08T05:41:30.337" v="1186" actId="20577"/>
          <ac:spMkLst>
            <pc:docMk/>
            <pc:sldMk cId="3504472608" sldId="495"/>
            <ac:spMk id="3" creationId="{1B074C98-C0C4-0FCF-9A0B-4F2FC0099442}"/>
          </ac:spMkLst>
        </pc:spChg>
        <pc:spChg chg="del mod">
          <ac:chgData name="Tan, Roger" userId="f6f33758-bd69-4951-8148-181de3b92474" providerId="ADAL" clId="{38E8A8ED-EEDE-4A45-94A8-227C2893877F}" dt="2024-02-08T05:34:33.707" v="857" actId="478"/>
          <ac:spMkLst>
            <pc:docMk/>
            <pc:sldMk cId="3504472608" sldId="495"/>
            <ac:spMk id="4" creationId="{D78892E8-CF55-721F-DF62-27D3CE9B1D23}"/>
          </ac:spMkLst>
        </pc:spChg>
        <pc:graphicFrameChg chg="add mod modGraphic">
          <ac:chgData name="Tan, Roger" userId="f6f33758-bd69-4951-8148-181de3b92474" providerId="ADAL" clId="{38E8A8ED-EEDE-4A45-94A8-227C2893877F}" dt="2024-02-08T05:41:43.610" v="1190" actId="20577"/>
          <ac:graphicFrameMkLst>
            <pc:docMk/>
            <pc:sldMk cId="3504472608" sldId="495"/>
            <ac:graphicFrameMk id="5" creationId="{A1A8BFB8-3D6F-1C4B-E6AE-E4228DBD43B7}"/>
          </ac:graphicFrameMkLst>
        </pc:graphicFrameChg>
      </pc:sldChg>
      <pc:sldChg chg="addSp delSp modSp mod">
        <pc:chgData name="Tan, Roger" userId="f6f33758-bd69-4951-8148-181de3b92474" providerId="ADAL" clId="{38E8A8ED-EEDE-4A45-94A8-227C2893877F}" dt="2024-02-08T05:46:15.744" v="1249" actId="1076"/>
        <pc:sldMkLst>
          <pc:docMk/>
          <pc:sldMk cId="524113774" sldId="496"/>
        </pc:sldMkLst>
        <pc:spChg chg="mod">
          <ac:chgData name="Tan, Roger" userId="f6f33758-bd69-4951-8148-181de3b92474" providerId="ADAL" clId="{38E8A8ED-EEDE-4A45-94A8-227C2893877F}" dt="2024-02-08T05:43:41.296" v="1218" actId="20577"/>
          <ac:spMkLst>
            <pc:docMk/>
            <pc:sldMk cId="524113774" sldId="496"/>
            <ac:spMk id="3" creationId="{DBACBD9F-9C18-5798-E457-3EDCD9F25AF8}"/>
          </ac:spMkLst>
        </pc:spChg>
        <pc:spChg chg="add del">
          <ac:chgData name="Tan, Roger" userId="f6f33758-bd69-4951-8148-181de3b92474" providerId="ADAL" clId="{38E8A8ED-EEDE-4A45-94A8-227C2893877F}" dt="2024-02-08T05:42:50.447" v="1192" actId="22"/>
          <ac:spMkLst>
            <pc:docMk/>
            <pc:sldMk cId="524113774" sldId="496"/>
            <ac:spMk id="6" creationId="{1B7D4735-CD85-FCC1-9605-DC5F3F7367B9}"/>
          </ac:spMkLst>
        </pc:spChg>
        <pc:spChg chg="mod">
          <ac:chgData name="Tan, Roger" userId="f6f33758-bd69-4951-8148-181de3b92474" providerId="ADAL" clId="{38E8A8ED-EEDE-4A45-94A8-227C2893877F}" dt="2024-02-08T05:45:31.038" v="1244" actId="20577"/>
          <ac:spMkLst>
            <pc:docMk/>
            <pc:sldMk cId="524113774" sldId="496"/>
            <ac:spMk id="9" creationId="{8854DC53-2977-9B52-C8CF-881DFB4131DA}"/>
          </ac:spMkLst>
        </pc:spChg>
        <pc:spChg chg="del">
          <ac:chgData name="Tan, Roger" userId="f6f33758-bd69-4951-8148-181de3b92474" providerId="ADAL" clId="{38E8A8ED-EEDE-4A45-94A8-227C2893877F}" dt="2024-02-08T05:44:11.445" v="1227" actId="478"/>
          <ac:spMkLst>
            <pc:docMk/>
            <pc:sldMk cId="524113774" sldId="496"/>
            <ac:spMk id="10" creationId="{A5152BAD-203E-9AD9-F2F9-34F0D84E5516}"/>
          </ac:spMkLst>
        </pc:spChg>
        <pc:picChg chg="del">
          <ac:chgData name="Tan, Roger" userId="f6f33758-bd69-4951-8148-181de3b92474" providerId="ADAL" clId="{38E8A8ED-EEDE-4A45-94A8-227C2893877F}" dt="2024-02-08T05:44:07.880" v="1223" actId="478"/>
          <ac:picMkLst>
            <pc:docMk/>
            <pc:sldMk cId="524113774" sldId="496"/>
            <ac:picMk id="5" creationId="{A073D479-7A06-CF9B-B0E7-DB6BDAC3C5AE}"/>
          </ac:picMkLst>
        </pc:picChg>
        <pc:picChg chg="del">
          <ac:chgData name="Tan, Roger" userId="f6f33758-bd69-4951-8148-181de3b92474" providerId="ADAL" clId="{38E8A8ED-EEDE-4A45-94A8-227C2893877F}" dt="2024-02-08T05:44:06.949" v="1222" actId="478"/>
          <ac:picMkLst>
            <pc:docMk/>
            <pc:sldMk cId="524113774" sldId="496"/>
            <ac:picMk id="7" creationId="{542A09E3-7673-F178-E906-5E8EDB9D1459}"/>
          </ac:picMkLst>
        </pc:picChg>
        <pc:picChg chg="add mod">
          <ac:chgData name="Tan, Roger" userId="f6f33758-bd69-4951-8148-181de3b92474" providerId="ADAL" clId="{38E8A8ED-EEDE-4A45-94A8-227C2893877F}" dt="2024-02-08T05:45:24.764" v="1234" actId="1076"/>
          <ac:picMkLst>
            <pc:docMk/>
            <pc:sldMk cId="524113774" sldId="496"/>
            <ac:picMk id="12" creationId="{36A5CBD0-0BFE-DDF3-A64E-C1F7CE47B0BB}"/>
          </ac:picMkLst>
        </pc:picChg>
        <pc:picChg chg="add mod">
          <ac:chgData name="Tan, Roger" userId="f6f33758-bd69-4951-8148-181de3b92474" providerId="ADAL" clId="{38E8A8ED-EEDE-4A45-94A8-227C2893877F}" dt="2024-02-08T05:46:15.744" v="1249" actId="1076"/>
          <ac:picMkLst>
            <pc:docMk/>
            <pc:sldMk cId="524113774" sldId="496"/>
            <ac:picMk id="14" creationId="{92054BA6-2B81-16AE-AFF3-FFDA8E2C9F68}"/>
          </ac:picMkLst>
        </pc:picChg>
      </pc:sldChg>
      <pc:sldChg chg="modSp add mod ord">
        <pc:chgData name="Tan, Roger" userId="f6f33758-bd69-4951-8148-181de3b92474" providerId="ADAL" clId="{38E8A8ED-EEDE-4A45-94A8-227C2893877F}" dt="2024-02-08T05:43:34.892" v="1209" actId="20577"/>
        <pc:sldMkLst>
          <pc:docMk/>
          <pc:sldMk cId="4277632384" sldId="497"/>
        </pc:sldMkLst>
        <pc:spChg chg="mod">
          <ac:chgData name="Tan, Roger" userId="f6f33758-bd69-4951-8148-181de3b92474" providerId="ADAL" clId="{38E8A8ED-EEDE-4A45-94A8-227C2893877F}" dt="2024-02-08T05:43:34.892" v="1209" actId="20577"/>
          <ac:spMkLst>
            <pc:docMk/>
            <pc:sldMk cId="4277632384" sldId="497"/>
            <ac:spMk id="3" creationId="{240DFA62-F68F-1F51-8B8C-DE13B717BEC6}"/>
          </ac:spMkLst>
        </pc:spChg>
      </pc:sldChg>
    </pc:docChg>
  </pc:docChgLst>
  <pc:docChgLst>
    <pc:chgData name="Muchahary, Frankle" userId="0f2bf491-0617-4378-90b8-89af8fa381b9" providerId="ADAL" clId="{8E3D5D9D-CC05-4C7B-9A9C-2FFB7784C389}"/>
    <pc:docChg chg="undo custSel addSld delSld modSld sldOrd addSection delSection modSection replTag">
      <pc:chgData name="Muchahary, Frankle" userId="0f2bf491-0617-4378-90b8-89af8fa381b9" providerId="ADAL" clId="{8E3D5D9D-CC05-4C7B-9A9C-2FFB7784C389}" dt="2024-02-08T04:21:59.377" v="62440" actId="20577"/>
      <pc:docMkLst>
        <pc:docMk/>
      </pc:docMkLst>
      <pc:sldChg chg="del">
        <pc:chgData name="Muchahary, Frankle" userId="0f2bf491-0617-4378-90b8-89af8fa381b9" providerId="ADAL" clId="{8E3D5D9D-CC05-4C7B-9A9C-2FFB7784C389}" dt="2024-02-04T23:44:09.444" v="301" actId="47"/>
        <pc:sldMkLst>
          <pc:docMk/>
          <pc:sldMk cId="2852402234" sldId="305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890081163" sldId="317"/>
        </pc:sldMkLst>
      </pc:sldChg>
      <pc:sldChg chg="del">
        <pc:chgData name="Muchahary, Frankle" userId="0f2bf491-0617-4378-90b8-89af8fa381b9" providerId="ADAL" clId="{8E3D5D9D-CC05-4C7B-9A9C-2FFB7784C389}" dt="2024-02-04T23:49:19.062" v="353" actId="47"/>
        <pc:sldMkLst>
          <pc:docMk/>
          <pc:sldMk cId="3941455084" sldId="320"/>
        </pc:sldMkLst>
      </pc:sldChg>
      <pc:sldChg chg="del">
        <pc:chgData name="Muchahary, Frankle" userId="0f2bf491-0617-4378-90b8-89af8fa381b9" providerId="ADAL" clId="{8E3D5D9D-CC05-4C7B-9A9C-2FFB7784C389}" dt="2024-02-06T04:15:36.658" v="3830" actId="2696"/>
        <pc:sldMkLst>
          <pc:docMk/>
          <pc:sldMk cId="1761573872" sldId="326"/>
        </pc:sldMkLst>
      </pc:sldChg>
      <pc:sldChg chg="add">
        <pc:chgData name="Muchahary, Frankle" userId="0f2bf491-0617-4378-90b8-89af8fa381b9" providerId="ADAL" clId="{8E3D5D9D-CC05-4C7B-9A9C-2FFB7784C389}" dt="2024-02-06T04:15:39.781" v="3831"/>
        <pc:sldMkLst>
          <pc:docMk/>
          <pc:sldMk cId="2446687804" sldId="326"/>
        </pc:sldMkLst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1570625822" sldId="335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821254099" sldId="337"/>
        </pc:sldMkLst>
      </pc:sldChg>
      <pc:sldChg chg="del">
        <pc:chgData name="Muchahary, Frankle" userId="0f2bf491-0617-4378-90b8-89af8fa381b9" providerId="ADAL" clId="{8E3D5D9D-CC05-4C7B-9A9C-2FFB7784C389}" dt="2024-02-04T23:52:30.706" v="1047" actId="47"/>
        <pc:sldMkLst>
          <pc:docMk/>
          <pc:sldMk cId="2612747657" sldId="341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2163110923" sldId="342"/>
        </pc:sldMkLst>
      </pc:sldChg>
      <pc:sldChg chg="del">
        <pc:chgData name="Muchahary, Frankle" userId="0f2bf491-0617-4378-90b8-89af8fa381b9" providerId="ADAL" clId="{8E3D5D9D-CC05-4C7B-9A9C-2FFB7784C389}" dt="2024-02-04T23:29:29.050" v="182" actId="47"/>
        <pc:sldMkLst>
          <pc:docMk/>
          <pc:sldMk cId="49457783" sldId="344"/>
        </pc:sldMkLst>
      </pc:sldChg>
      <pc:sldChg chg="del">
        <pc:chgData name="Muchahary, Frankle" userId="0f2bf491-0617-4378-90b8-89af8fa381b9" providerId="ADAL" clId="{8E3D5D9D-CC05-4C7B-9A9C-2FFB7784C389}" dt="2024-02-04T23:29:29.050" v="182" actId="47"/>
        <pc:sldMkLst>
          <pc:docMk/>
          <pc:sldMk cId="3203526670" sldId="345"/>
        </pc:sldMkLst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401544748" sldId="346"/>
        </pc:sldMkLst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733552054" sldId="347"/>
        </pc:sldMkLst>
      </pc:sldChg>
      <pc:sldChg chg="delSp del mod">
        <pc:chgData name="Muchahary, Frankle" userId="0f2bf491-0617-4378-90b8-89af8fa381b9" providerId="ADAL" clId="{8E3D5D9D-CC05-4C7B-9A9C-2FFB7784C389}" dt="2024-02-04T23:49:14.028" v="352" actId="47"/>
        <pc:sldMkLst>
          <pc:docMk/>
          <pc:sldMk cId="1428870141" sldId="352"/>
        </pc:sldMkLst>
        <pc:spChg chg="del">
          <ac:chgData name="Muchahary, Frankle" userId="0f2bf491-0617-4378-90b8-89af8fa381b9" providerId="ADAL" clId="{8E3D5D9D-CC05-4C7B-9A9C-2FFB7784C389}" dt="2024-02-04T23:43:17.045" v="299" actId="478"/>
          <ac:spMkLst>
            <pc:docMk/>
            <pc:sldMk cId="1428870141" sldId="352"/>
            <ac:spMk id="9" creationId="{709C991E-8140-455E-F17F-56AEDDF39CC9}"/>
          </ac:spMkLst>
        </pc:spChg>
      </pc:sldChg>
      <pc:sldChg chg="del">
        <pc:chgData name="Muchahary, Frankle" userId="0f2bf491-0617-4378-90b8-89af8fa381b9" providerId="ADAL" clId="{8E3D5D9D-CC05-4C7B-9A9C-2FFB7784C389}" dt="2024-02-04T23:29:29.050" v="182" actId="47"/>
        <pc:sldMkLst>
          <pc:docMk/>
          <pc:sldMk cId="2948950000" sldId="354"/>
        </pc:sldMkLst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13900367" sldId="356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196079218" sldId="360"/>
        </pc:sldMkLst>
      </pc:sldChg>
      <pc:sldChg chg="add">
        <pc:chgData name="Muchahary, Frankle" userId="0f2bf491-0617-4378-90b8-89af8fa381b9" providerId="ADAL" clId="{8E3D5D9D-CC05-4C7B-9A9C-2FFB7784C389}" dt="2024-02-06T02:38:12.751" v="1216"/>
        <pc:sldMkLst>
          <pc:docMk/>
          <pc:sldMk cId="276443505" sldId="360"/>
        </pc:sldMkLst>
      </pc:sldChg>
      <pc:sldChg chg="del">
        <pc:chgData name="Muchahary, Frankle" userId="0f2bf491-0617-4378-90b8-89af8fa381b9" providerId="ADAL" clId="{8E3D5D9D-CC05-4C7B-9A9C-2FFB7784C389}" dt="2024-02-04T23:49:14.028" v="352" actId="47"/>
        <pc:sldMkLst>
          <pc:docMk/>
          <pc:sldMk cId="1825859938" sldId="364"/>
        </pc:sldMkLst>
      </pc:sldChg>
      <pc:sldChg chg="add">
        <pc:chgData name="Muchahary, Frankle" userId="0f2bf491-0617-4378-90b8-89af8fa381b9" providerId="ADAL" clId="{8E3D5D9D-CC05-4C7B-9A9C-2FFB7784C389}" dt="2024-02-06T02:38:12.751" v="1216"/>
        <pc:sldMkLst>
          <pc:docMk/>
          <pc:sldMk cId="717737063" sldId="365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3808151349" sldId="365"/>
        </pc:sldMkLst>
      </pc:sldChg>
      <pc:sldChg chg="del">
        <pc:chgData name="Muchahary, Frankle" userId="0f2bf491-0617-4378-90b8-89af8fa381b9" providerId="ADAL" clId="{8E3D5D9D-CC05-4C7B-9A9C-2FFB7784C389}" dt="2024-02-04T23:44:27.221" v="302" actId="47"/>
        <pc:sldMkLst>
          <pc:docMk/>
          <pc:sldMk cId="4271637465" sldId="369"/>
        </pc:sldMkLst>
      </pc:sldChg>
      <pc:sldChg chg="del">
        <pc:chgData name="Muchahary, Frankle" userId="0f2bf491-0617-4378-90b8-89af8fa381b9" providerId="ADAL" clId="{8E3D5D9D-CC05-4C7B-9A9C-2FFB7784C389}" dt="2024-02-04T23:45:02.397" v="304" actId="47"/>
        <pc:sldMkLst>
          <pc:docMk/>
          <pc:sldMk cId="3649468413" sldId="370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2267929564" sldId="371"/>
        </pc:sldMkLst>
      </pc:sldChg>
      <pc:sldChg chg="modSp add del mod">
        <pc:chgData name="Muchahary, Frankle" userId="0f2bf491-0617-4378-90b8-89af8fa381b9" providerId="ADAL" clId="{8E3D5D9D-CC05-4C7B-9A9C-2FFB7784C389}" dt="2024-02-06T02:37:55.709" v="1213" actId="2696"/>
        <pc:sldMkLst>
          <pc:docMk/>
          <pc:sldMk cId="160926467" sldId="372"/>
        </pc:sldMkLst>
        <pc:graphicFrameChg chg="mod">
          <ac:chgData name="Muchahary, Frankle" userId="0f2bf491-0617-4378-90b8-89af8fa381b9" providerId="ADAL" clId="{8E3D5D9D-CC05-4C7B-9A9C-2FFB7784C389}" dt="2024-02-06T02:37:50.510" v="1212"/>
          <ac:graphicFrameMkLst>
            <pc:docMk/>
            <pc:sldMk cId="160926467" sldId="372"/>
            <ac:graphicFrameMk id="4" creationId="{FD4A65FB-339A-B2BC-4155-257FFC3BBBB9}"/>
          </ac:graphicFrameMkLst>
        </pc:graphicFrameChg>
      </pc:sldChg>
      <pc:sldChg chg="add">
        <pc:chgData name="Muchahary, Frankle" userId="0f2bf491-0617-4378-90b8-89af8fa381b9" providerId="ADAL" clId="{8E3D5D9D-CC05-4C7B-9A9C-2FFB7784C389}" dt="2024-02-06T02:37:58.043" v="1214"/>
        <pc:sldMkLst>
          <pc:docMk/>
          <pc:sldMk cId="4047277919" sldId="372"/>
        </pc:sldMkLst>
      </pc:sldChg>
      <pc:sldChg chg="modSp mod ord">
        <pc:chgData name="Muchahary, Frankle" userId="0f2bf491-0617-4378-90b8-89af8fa381b9" providerId="ADAL" clId="{8E3D5D9D-CC05-4C7B-9A9C-2FFB7784C389}" dt="2024-02-08T01:06:18.784" v="47996" actId="20577"/>
        <pc:sldMkLst>
          <pc:docMk/>
          <pc:sldMk cId="1357425586" sldId="373"/>
        </pc:sldMkLst>
        <pc:spChg chg="mod">
          <ac:chgData name="Muchahary, Frankle" userId="0f2bf491-0617-4378-90b8-89af8fa381b9" providerId="ADAL" clId="{8E3D5D9D-CC05-4C7B-9A9C-2FFB7784C389}" dt="2024-02-08T01:06:18.784" v="47996" actId="20577"/>
          <ac:spMkLst>
            <pc:docMk/>
            <pc:sldMk cId="1357425586" sldId="373"/>
            <ac:spMk id="3" creationId="{F91D5F9B-C8D5-6F93-74EF-FC1D6E1441F0}"/>
          </ac:spMkLst>
        </pc:spChg>
        <pc:spChg chg="mod">
          <ac:chgData name="Muchahary, Frankle" userId="0f2bf491-0617-4378-90b8-89af8fa381b9" providerId="ADAL" clId="{8E3D5D9D-CC05-4C7B-9A9C-2FFB7784C389}" dt="2024-02-08T00:56:26.548" v="42565" actId="14100"/>
          <ac:spMkLst>
            <pc:docMk/>
            <pc:sldMk cId="1357425586" sldId="373"/>
            <ac:spMk id="887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1:03:06.012" v="47743" actId="20577"/>
          <ac:spMkLst>
            <pc:docMk/>
            <pc:sldMk cId="1357425586" sldId="373"/>
            <ac:spMk id="888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1:04:58.447" v="47952" actId="20577"/>
          <ac:spMkLst>
            <pc:docMk/>
            <pc:sldMk cId="1357425586" sldId="373"/>
            <ac:spMk id="890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0:56:39.118" v="42580" actId="20577"/>
          <ac:spMkLst>
            <pc:docMk/>
            <pc:sldMk cId="1357425586" sldId="373"/>
            <ac:spMk id="891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1:02:40.927" v="47702" actId="14100"/>
          <ac:spMkLst>
            <pc:docMk/>
            <pc:sldMk cId="1357425586" sldId="373"/>
            <ac:spMk id="892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0:56:48.949" v="42614" actId="20577"/>
          <ac:spMkLst>
            <pc:docMk/>
            <pc:sldMk cId="1357425586" sldId="373"/>
            <ac:spMk id="893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8T01:04:11.032" v="47863" actId="20577"/>
          <ac:spMkLst>
            <pc:docMk/>
            <pc:sldMk cId="1357425586" sldId="373"/>
            <ac:spMk id="894" creationId="{00000000-0000-0000-0000-000000000000}"/>
          </ac:spMkLst>
        </pc:spChg>
        <pc:grpChg chg="mod">
          <ac:chgData name="Muchahary, Frankle" userId="0f2bf491-0617-4378-90b8-89af8fa381b9" providerId="ADAL" clId="{8E3D5D9D-CC05-4C7B-9A9C-2FFB7784C389}" dt="2024-02-07T05:09:43.508" v="40212" actId="1076"/>
          <ac:grpSpMkLst>
            <pc:docMk/>
            <pc:sldMk cId="1357425586" sldId="373"/>
            <ac:grpSpMk id="4" creationId="{1229C0D4-8A0A-01CA-E960-B1C763FAA21F}"/>
          </ac:grpSpMkLst>
        </pc:grpChg>
      </pc:sldChg>
      <pc:sldChg chg="addSp delSp modSp mod">
        <pc:chgData name="Muchahary, Frankle" userId="0f2bf491-0617-4378-90b8-89af8fa381b9" providerId="ADAL" clId="{8E3D5D9D-CC05-4C7B-9A9C-2FFB7784C389}" dt="2024-02-06T05:47:10.107" v="21414" actId="14100"/>
        <pc:sldMkLst>
          <pc:docMk/>
          <pc:sldMk cId="722401933" sldId="374"/>
        </pc:sldMkLst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3" creationId="{6FBA7A78-83C8-CB87-216A-2B0B62BA1E20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4" creationId="{0060669F-F91A-AFFA-FEFC-0005EC27C77A}"/>
          </ac:spMkLst>
        </pc:spChg>
        <pc:spChg chg="mod">
          <ac:chgData name="Muchahary, Frankle" userId="0f2bf491-0617-4378-90b8-89af8fa381b9" providerId="ADAL" clId="{8E3D5D9D-CC05-4C7B-9A9C-2FFB7784C389}" dt="2024-02-06T05:47:10.107" v="21414" actId="14100"/>
          <ac:spMkLst>
            <pc:docMk/>
            <pc:sldMk cId="722401933" sldId="374"/>
            <ac:spMk id="5" creationId="{A62886E0-6321-8280-7EA7-6D1E6DF204CC}"/>
          </ac:spMkLst>
        </pc:spChg>
        <pc:spChg chg="mod">
          <ac:chgData name="Muchahary, Frankle" userId="0f2bf491-0617-4378-90b8-89af8fa381b9" providerId="ADAL" clId="{8E3D5D9D-CC05-4C7B-9A9C-2FFB7784C389}" dt="2024-02-06T05:37:55.204" v="21217" actId="20577"/>
          <ac:spMkLst>
            <pc:docMk/>
            <pc:sldMk cId="722401933" sldId="374"/>
            <ac:spMk id="6" creationId="{8D00B77E-1094-F6A8-A1A3-B7C3F59051E4}"/>
          </ac:spMkLst>
        </pc:spChg>
        <pc:spChg chg="add mod">
          <ac:chgData name="Muchahary, Frankle" userId="0f2bf491-0617-4378-90b8-89af8fa381b9" providerId="ADAL" clId="{8E3D5D9D-CC05-4C7B-9A9C-2FFB7784C389}" dt="2024-02-06T05:45:39.470" v="21384" actId="404"/>
          <ac:spMkLst>
            <pc:docMk/>
            <pc:sldMk cId="722401933" sldId="374"/>
            <ac:spMk id="7" creationId="{3F48FFB6-4418-84E2-2573-B4B11D9BEB66}"/>
          </ac:spMkLst>
        </pc:spChg>
        <pc:spChg chg="del">
          <ac:chgData name="Muchahary, Frankle" userId="0f2bf491-0617-4378-90b8-89af8fa381b9" providerId="ADAL" clId="{8E3D5D9D-CC05-4C7B-9A9C-2FFB7784C389}" dt="2024-02-04T23:43:12.768" v="298" actId="478"/>
          <ac:spMkLst>
            <pc:docMk/>
            <pc:sldMk cId="722401933" sldId="374"/>
            <ac:spMk id="7" creationId="{A0AE81C3-9CE7-9933-AC2F-09A8C83F7B86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19" creationId="{06416CF6-A4D0-5E18-BAA9-FFE3CE4B06F5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20" creationId="{12D521EC-CE24-3446-D3B4-85D69E0E3024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21" creationId="{0ABFB8E1-F4F9-4DF0-6E38-CFA2D675144B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24" creationId="{9167E2CB-FD57-4B10-3B1D-A94AEF0C349A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25" creationId="{E2D908CF-A6B3-DAE0-F221-9DA44396183F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26" creationId="{DFEDFFEC-19C7-99E4-ED32-0CC83A36F6A4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36" creationId="{D3D5E2EE-149A-130D-2D52-08105C1685C2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37" creationId="{15C519E3-F083-DC3D-EB49-63526000E416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38" creationId="{3C447AF3-E4FC-2DB5-6ADB-936FA338B947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51" creationId="{71A1A608-2C81-4CB7-2AE1-49A426A57F6B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58" creationId="{3D6611C9-7137-4F74-D578-E13EA2905503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60" creationId="{8AFC1279-FC81-A2EF-7A77-173CBFB4AC94}"/>
          </ac:spMkLst>
        </pc:spChg>
        <pc:spChg chg="mod">
          <ac:chgData name="Muchahary, Frankle" userId="0f2bf491-0617-4378-90b8-89af8fa381b9" providerId="ADAL" clId="{8E3D5D9D-CC05-4C7B-9A9C-2FFB7784C389}" dt="2024-02-06T05:34:56.441" v="21199" actId="20577"/>
          <ac:spMkLst>
            <pc:docMk/>
            <pc:sldMk cId="722401933" sldId="374"/>
            <ac:spMk id="62" creationId="{F8A08B79-B0D1-0BEF-D8A7-D563D5DF3611}"/>
          </ac:spMkLst>
        </pc:spChg>
        <pc:spChg chg="mod">
          <ac:chgData name="Muchahary, Frankle" userId="0f2bf491-0617-4378-90b8-89af8fa381b9" providerId="ADAL" clId="{8E3D5D9D-CC05-4C7B-9A9C-2FFB7784C389}" dt="2024-02-06T05:45:18.627" v="21382" actId="1076"/>
          <ac:spMkLst>
            <pc:docMk/>
            <pc:sldMk cId="722401933" sldId="374"/>
            <ac:spMk id="64" creationId="{240F5CAC-B813-2E0A-E947-B870ED8926FA}"/>
          </ac:spMkLst>
        </pc:s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2" creationId="{040C57D8-9104-5504-1BFD-C4905C59FCA0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18" creationId="{C4A5936B-6465-F2DB-F0B0-2B0EB9A02D9F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23" creationId="{4D989F56-9176-DA09-62BD-24445A7971EC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35" creationId="{0CA47C5B-6FF5-EC81-F606-0247BA3DF4EC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65" creationId="{71773671-658F-163A-09E4-56246FFB729C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66" creationId="{6651E5E9-ADE8-91CF-34EF-01C4453D8AA3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67" creationId="{846DEF44-6B33-43E6-720B-DADAC5A1DC1B}"/>
          </ac:grpSpMkLst>
        </pc:grpChg>
        <pc:grpChg chg="del">
          <ac:chgData name="Muchahary, Frankle" userId="0f2bf491-0617-4378-90b8-89af8fa381b9" providerId="ADAL" clId="{8E3D5D9D-CC05-4C7B-9A9C-2FFB7784C389}" dt="2024-02-06T05:41:34.482" v="21267" actId="478"/>
          <ac:grpSpMkLst>
            <pc:docMk/>
            <pc:sldMk cId="722401933" sldId="374"/>
            <ac:grpSpMk id="68" creationId="{5C56DA33-EE1D-A36C-9139-88BD5E83145A}"/>
          </ac:grpSpMkLst>
        </pc:grpChg>
        <pc:grpChg chg="mod">
          <ac:chgData name="Muchahary, Frankle" userId="0f2bf491-0617-4378-90b8-89af8fa381b9" providerId="ADAL" clId="{8E3D5D9D-CC05-4C7B-9A9C-2FFB7784C389}" dt="2024-02-06T05:45:18.627" v="21382" actId="1076"/>
          <ac:grpSpMkLst>
            <pc:docMk/>
            <pc:sldMk cId="722401933" sldId="374"/>
            <ac:grpSpMk id="69" creationId="{01EE5CAF-18FC-538F-89C3-21C185D14538}"/>
          </ac:grpSpMkLst>
        </pc:grpChg>
        <pc:picChg chg="mod">
          <ac:chgData name="Muchahary, Frankle" userId="0f2bf491-0617-4378-90b8-89af8fa381b9" providerId="ADAL" clId="{8E3D5D9D-CC05-4C7B-9A9C-2FFB7784C389}" dt="2024-02-06T05:45:18.627" v="21382" actId="1076"/>
          <ac:picMkLst>
            <pc:docMk/>
            <pc:sldMk cId="722401933" sldId="374"/>
            <ac:picMk id="47" creationId="{AC8230B7-3F69-5750-B85F-BF916081CEAE}"/>
          </ac:picMkLst>
        </pc:picChg>
        <pc:picChg chg="mod">
          <ac:chgData name="Muchahary, Frankle" userId="0f2bf491-0617-4378-90b8-89af8fa381b9" providerId="ADAL" clId="{8E3D5D9D-CC05-4C7B-9A9C-2FFB7784C389}" dt="2024-02-06T05:45:18.627" v="21382" actId="1076"/>
          <ac:picMkLst>
            <pc:docMk/>
            <pc:sldMk cId="722401933" sldId="374"/>
            <ac:picMk id="53" creationId="{4F874FBE-7F09-47A8-DDB4-CB6A03869096}"/>
          </ac:picMkLst>
        </pc:picChg>
        <pc:picChg chg="mod">
          <ac:chgData name="Muchahary, Frankle" userId="0f2bf491-0617-4378-90b8-89af8fa381b9" providerId="ADAL" clId="{8E3D5D9D-CC05-4C7B-9A9C-2FFB7784C389}" dt="2024-02-06T05:45:18.627" v="21382" actId="1076"/>
          <ac:picMkLst>
            <pc:docMk/>
            <pc:sldMk cId="722401933" sldId="374"/>
            <ac:picMk id="59" creationId="{C5F88D00-420C-04E8-BE84-DF1E57A5DB84}"/>
          </ac:picMkLst>
        </pc:picChg>
        <pc:picChg chg="mod">
          <ac:chgData name="Muchahary, Frankle" userId="0f2bf491-0617-4378-90b8-89af8fa381b9" providerId="ADAL" clId="{8E3D5D9D-CC05-4C7B-9A9C-2FFB7784C389}" dt="2024-02-06T05:45:18.627" v="21382" actId="1076"/>
          <ac:picMkLst>
            <pc:docMk/>
            <pc:sldMk cId="722401933" sldId="374"/>
            <ac:picMk id="63" creationId="{1398FA72-7629-4242-8DE7-0C8C44CD8CC2}"/>
          </ac:picMkLst>
        </pc:picChg>
      </pc:sldChg>
      <pc:sldChg chg="addSp delSp modSp mod">
        <pc:chgData name="Muchahary, Frankle" userId="0f2bf491-0617-4378-90b8-89af8fa381b9" providerId="ADAL" clId="{8E3D5D9D-CC05-4C7B-9A9C-2FFB7784C389}" dt="2024-02-07T05:02:18.653" v="39301" actId="20577"/>
        <pc:sldMkLst>
          <pc:docMk/>
          <pc:sldMk cId="4242406866" sldId="375"/>
        </pc:sldMkLst>
        <pc:spChg chg="mod">
          <ac:chgData name="Muchahary, Frankle" userId="0f2bf491-0617-4378-90b8-89af8fa381b9" providerId="ADAL" clId="{8E3D5D9D-CC05-4C7B-9A9C-2FFB7784C389}" dt="2024-02-06T05:43:56.560" v="21371"/>
          <ac:spMkLst>
            <pc:docMk/>
            <pc:sldMk cId="4242406866" sldId="375"/>
            <ac:spMk id="4" creationId="{FDDC52F5-DB3B-8CB1-6F10-760E7349326F}"/>
          </ac:spMkLst>
        </pc:spChg>
        <pc:spChg chg="mod">
          <ac:chgData name="Muchahary, Frankle" userId="0f2bf491-0617-4378-90b8-89af8fa381b9" providerId="ADAL" clId="{8E3D5D9D-CC05-4C7B-9A9C-2FFB7784C389}" dt="2024-02-06T05:43:56.560" v="21371"/>
          <ac:spMkLst>
            <pc:docMk/>
            <pc:sldMk cId="4242406866" sldId="375"/>
            <ac:spMk id="6" creationId="{ADD240AB-CDF2-C76E-F221-51B762E27499}"/>
          </ac:spMkLst>
        </pc:spChg>
        <pc:spChg chg="del">
          <ac:chgData name="Muchahary, Frankle" userId="0f2bf491-0617-4378-90b8-89af8fa381b9" providerId="ADAL" clId="{8E3D5D9D-CC05-4C7B-9A9C-2FFB7784C389}" dt="2024-02-04T23:43:25.747" v="300" actId="478"/>
          <ac:spMkLst>
            <pc:docMk/>
            <pc:sldMk cId="4242406866" sldId="375"/>
            <ac:spMk id="6" creationId="{E313A027-7124-2A57-C842-9C00F4AF4F5C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7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9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0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1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2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3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4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5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6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7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8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19" creationId="{00000000-0000-0000-0000-00000000000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0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1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2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3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4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5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6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7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8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29" creationId="{00000000-0000-0000-0000-000000000000}"/>
          </ac:spMkLst>
        </pc:spChg>
        <pc:spChg chg="mod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30" creationId="{00000000-0000-0000-0000-000000000000}"/>
          </ac:spMkLst>
        </pc:spChg>
        <pc:spChg chg="del">
          <ac:chgData name="Muchahary, Frankle" userId="0f2bf491-0617-4378-90b8-89af8fa381b9" providerId="ADAL" clId="{8E3D5D9D-CC05-4C7B-9A9C-2FFB7784C389}" dt="2024-02-06T02:59:49.894" v="2025" actId="478"/>
          <ac:spMkLst>
            <pc:docMk/>
            <pc:sldMk cId="4242406866" sldId="375"/>
            <ac:spMk id="59" creationId="{91162369-4ECF-3B38-29F3-3AD8EAE4AF09}"/>
          </ac:spMkLst>
        </pc:spChg>
        <pc:spChg chg="del mod">
          <ac:chgData name="Muchahary, Frankle" userId="0f2bf491-0617-4378-90b8-89af8fa381b9" providerId="ADAL" clId="{8E3D5D9D-CC05-4C7B-9A9C-2FFB7784C389}" dt="2024-02-06T02:59:51.740" v="2026" actId="478"/>
          <ac:spMkLst>
            <pc:docMk/>
            <pc:sldMk cId="4242406866" sldId="375"/>
            <ac:spMk id="60" creationId="{2FA9D259-A0EE-7BF7-4109-F3B6B908888B}"/>
          </ac:spMkLst>
        </pc:spChg>
        <pc:spChg chg="del mod">
          <ac:chgData name="Muchahary, Frankle" userId="0f2bf491-0617-4378-90b8-89af8fa381b9" providerId="ADAL" clId="{8E3D5D9D-CC05-4C7B-9A9C-2FFB7784C389}" dt="2024-02-06T02:59:57.631" v="2031" actId="478"/>
          <ac:spMkLst>
            <pc:docMk/>
            <pc:sldMk cId="4242406866" sldId="375"/>
            <ac:spMk id="61" creationId="{DCCC0DB3-ECAB-73C6-2DCF-CFF647052BFB}"/>
          </ac:spMkLst>
        </pc:spChg>
        <pc:spChg chg="mod">
          <ac:chgData name="Muchahary, Frankle" userId="0f2bf491-0617-4378-90b8-89af8fa381b9" providerId="ADAL" clId="{8E3D5D9D-CC05-4C7B-9A9C-2FFB7784C389}" dt="2024-02-06T05:44:08.195" v="21377" actId="14100"/>
          <ac:spMkLst>
            <pc:docMk/>
            <pc:sldMk cId="4242406866" sldId="375"/>
            <ac:spMk id="62" creationId="{00000000-0000-0000-0000-000000000000}"/>
          </ac:spMkLst>
        </pc:spChg>
        <pc:spChg chg="del mod">
          <ac:chgData name="Muchahary, Frankle" userId="0f2bf491-0617-4378-90b8-89af8fa381b9" providerId="ADAL" clId="{8E3D5D9D-CC05-4C7B-9A9C-2FFB7784C389}" dt="2024-02-06T03:00:00.285" v="2034" actId="478"/>
          <ac:spMkLst>
            <pc:docMk/>
            <pc:sldMk cId="4242406866" sldId="375"/>
            <ac:spMk id="63" creationId="{A094B206-B933-F367-56E4-755281DEFBD8}"/>
          </ac:spMkLst>
        </pc:spChg>
        <pc:spChg chg="mod">
          <ac:chgData name="Muchahary, Frankle" userId="0f2bf491-0617-4378-90b8-89af8fa381b9" providerId="ADAL" clId="{8E3D5D9D-CC05-4C7B-9A9C-2FFB7784C389}" dt="2024-02-06T05:44:08.580" v="21378" actId="14100"/>
          <ac:spMkLst>
            <pc:docMk/>
            <pc:sldMk cId="4242406866" sldId="375"/>
            <ac:spMk id="65" creationId="{00000000-0000-0000-0000-000000000000}"/>
          </ac:spMkLst>
        </pc:spChg>
        <pc:spChg chg="del mod">
          <ac:chgData name="Muchahary, Frankle" userId="0f2bf491-0617-4378-90b8-89af8fa381b9" providerId="ADAL" clId="{8E3D5D9D-CC05-4C7B-9A9C-2FFB7784C389}" dt="2024-02-06T02:59:58.487" v="2032" actId="478"/>
          <ac:spMkLst>
            <pc:docMk/>
            <pc:sldMk cId="4242406866" sldId="375"/>
            <ac:spMk id="66" creationId="{B2D48AE7-3679-CB65-FF3F-1EE5035F1858}"/>
          </ac:spMkLst>
        </pc:spChg>
        <pc:spChg chg="del mod">
          <ac:chgData name="Muchahary, Frankle" userId="0f2bf491-0617-4378-90b8-89af8fa381b9" providerId="ADAL" clId="{8E3D5D9D-CC05-4C7B-9A9C-2FFB7784C389}" dt="2024-02-06T02:59:59.541" v="2033" actId="478"/>
          <ac:spMkLst>
            <pc:docMk/>
            <pc:sldMk cId="4242406866" sldId="375"/>
            <ac:spMk id="67" creationId="{588D5528-2FFC-1837-DE61-12A61AED1218}"/>
          </ac:spMkLst>
        </pc:spChg>
        <pc:spChg chg="del mod">
          <ac:chgData name="Muchahary, Frankle" userId="0f2bf491-0617-4378-90b8-89af8fa381b9" providerId="ADAL" clId="{8E3D5D9D-CC05-4C7B-9A9C-2FFB7784C389}" dt="2024-02-06T02:59:56.505" v="2030" actId="478"/>
          <ac:spMkLst>
            <pc:docMk/>
            <pc:sldMk cId="4242406866" sldId="375"/>
            <ac:spMk id="68" creationId="{82B8543D-24E9-B4E7-E27C-79B10DB0D160}"/>
          </ac:spMkLst>
        </pc:spChg>
        <pc:spChg chg="del mod">
          <ac:chgData name="Muchahary, Frankle" userId="0f2bf491-0617-4378-90b8-89af8fa381b9" providerId="ADAL" clId="{8E3D5D9D-CC05-4C7B-9A9C-2FFB7784C389}" dt="2024-02-06T02:59:53.111" v="2027" actId="478"/>
          <ac:spMkLst>
            <pc:docMk/>
            <pc:sldMk cId="4242406866" sldId="375"/>
            <ac:spMk id="69" creationId="{3882DD11-D029-1732-580C-CA5B55B49BFA}"/>
          </ac:spMkLst>
        </pc:spChg>
        <pc:spChg chg="del mod">
          <ac:chgData name="Muchahary, Frankle" userId="0f2bf491-0617-4378-90b8-89af8fa381b9" providerId="ADAL" clId="{8E3D5D9D-CC05-4C7B-9A9C-2FFB7784C389}" dt="2024-02-06T02:59:55.564" v="2029" actId="478"/>
          <ac:spMkLst>
            <pc:docMk/>
            <pc:sldMk cId="4242406866" sldId="375"/>
            <ac:spMk id="70" creationId="{22DC0562-2A2E-C831-FE83-5527672676A1}"/>
          </ac:spMkLst>
        </pc:spChg>
        <pc:spChg chg="del mod">
          <ac:chgData name="Muchahary, Frankle" userId="0f2bf491-0617-4378-90b8-89af8fa381b9" providerId="ADAL" clId="{8E3D5D9D-CC05-4C7B-9A9C-2FFB7784C389}" dt="2024-02-06T02:59:54.476" v="2028" actId="478"/>
          <ac:spMkLst>
            <pc:docMk/>
            <pc:sldMk cId="4242406866" sldId="375"/>
            <ac:spMk id="71" creationId="{D6D8CC5D-C65E-67E6-A7B1-11E05FA1402F}"/>
          </ac:spMkLst>
        </pc:spChg>
        <pc:spChg chg="mod topLvl">
          <ac:chgData name="Muchahary, Frankle" userId="0f2bf491-0617-4378-90b8-89af8fa381b9" providerId="ADAL" clId="{8E3D5D9D-CC05-4C7B-9A9C-2FFB7784C389}" dt="2024-02-06T04:13:57.206" v="2779" actId="20577"/>
          <ac:spMkLst>
            <pc:docMk/>
            <pc:sldMk cId="4242406866" sldId="375"/>
            <ac:spMk id="92" creationId="{85ADDC03-0249-4716-8E6C-3239942F6AB0}"/>
          </ac:spMkLst>
        </pc:spChg>
        <pc:spChg chg="mod topLvl">
          <ac:chgData name="Muchahary, Frankle" userId="0f2bf491-0617-4378-90b8-89af8fa381b9" providerId="ADAL" clId="{8E3D5D9D-CC05-4C7B-9A9C-2FFB7784C389}" dt="2024-02-07T05:02:18.653" v="39301" actId="20577"/>
          <ac:spMkLst>
            <pc:docMk/>
            <pc:sldMk cId="4242406866" sldId="375"/>
            <ac:spMk id="93" creationId="{3164F2F0-B672-D0C1-0CA6-835B8FAC7BE2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94" creationId="{EA23BF5C-3046-C995-A82D-C4A3EB5129E0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95" creationId="{EBC77BBF-0397-EAC0-4ACB-CCC0EBC8B2AF}"/>
          </ac:spMkLst>
        </pc:spChg>
        <pc:spChg chg="mod topLvl">
          <ac:chgData name="Muchahary, Frankle" userId="0f2bf491-0617-4378-90b8-89af8fa381b9" providerId="ADAL" clId="{8E3D5D9D-CC05-4C7B-9A9C-2FFB7784C389}" dt="2024-02-06T03:14:46.312" v="2281" actId="1076"/>
          <ac:spMkLst>
            <pc:docMk/>
            <pc:sldMk cId="4242406866" sldId="375"/>
            <ac:spMk id="96" creationId="{F9724923-E93D-3D54-5493-7472CFCAC2C1}"/>
          </ac:spMkLst>
        </pc:spChg>
        <pc:spChg chg="mod topLvl">
          <ac:chgData name="Muchahary, Frankle" userId="0f2bf491-0617-4378-90b8-89af8fa381b9" providerId="ADAL" clId="{8E3D5D9D-CC05-4C7B-9A9C-2FFB7784C389}" dt="2024-02-06T03:01:58.644" v="2056" actId="14826"/>
          <ac:spMkLst>
            <pc:docMk/>
            <pc:sldMk cId="4242406866" sldId="375"/>
            <ac:spMk id="99" creationId="{98CCF092-B105-2151-4763-8583AF20202C}"/>
          </ac:spMkLst>
        </pc:spChg>
        <pc:grpChg chg="add mod">
          <ac:chgData name="Muchahary, Frankle" userId="0f2bf491-0617-4378-90b8-89af8fa381b9" providerId="ADAL" clId="{8E3D5D9D-CC05-4C7B-9A9C-2FFB7784C389}" dt="2024-02-06T05:44:04.454" v="21373" actId="1076"/>
          <ac:grpSpMkLst>
            <pc:docMk/>
            <pc:sldMk cId="4242406866" sldId="375"/>
            <ac:grpSpMk id="3" creationId="{86683CE2-1587-48BD-6A00-228B06E1B98D}"/>
          </ac:grpSpMkLst>
        </pc:grpChg>
        <pc:grpChg chg="add del mod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5" creationId="{33F55C44-5143-5B68-91D1-0CF2EB1E4525}"/>
          </ac:grpSpMkLst>
        </pc:grpChg>
        <pc:grpChg chg="mod topLvl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32" creationId="{00000000-0000-0000-0000-000000000000}"/>
          </ac:grpSpMkLst>
        </pc:grpChg>
        <pc:grpChg chg="mod topLvl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33" creationId="{00000000-0000-0000-0000-000000000000}"/>
          </ac:grpSpMkLst>
        </pc:grpChg>
        <pc:grpChg chg="mod topLvl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34" creationId="{00000000-0000-0000-0000-000000000000}"/>
          </ac:grpSpMkLst>
        </pc:grpChg>
        <pc:grpChg chg="mod topLvl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35" creationId="{00000000-0000-0000-0000-000000000000}"/>
          </ac:grpSpMkLst>
        </pc:grpChg>
        <pc:grpChg chg="mod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36" creationId="{00000000-0000-0000-0000-000000000000}"/>
          </ac:grpSpMkLst>
        </pc:grpChg>
        <pc:grpChg chg="mod">
          <ac:chgData name="Muchahary, Frankle" userId="0f2bf491-0617-4378-90b8-89af8fa381b9" providerId="ADAL" clId="{8E3D5D9D-CC05-4C7B-9A9C-2FFB7784C389}" dt="2024-02-06T05:44:06.122" v="21374" actId="1076"/>
          <ac:grpSpMkLst>
            <pc:docMk/>
            <pc:sldMk cId="4242406866" sldId="375"/>
            <ac:grpSpMk id="57" creationId="{A4EB5F27-0F9F-30FA-1027-07590689C5A1}"/>
          </ac:grpSpMkLst>
        </pc:grpChg>
        <pc:grpChg chg="del mod">
          <ac:chgData name="Muchahary, Frankle" userId="0f2bf491-0617-4378-90b8-89af8fa381b9" providerId="ADAL" clId="{8E3D5D9D-CC05-4C7B-9A9C-2FFB7784C389}" dt="2024-02-06T02:59:59.541" v="2033" actId="478"/>
          <ac:grpSpMkLst>
            <pc:docMk/>
            <pc:sldMk cId="4242406866" sldId="375"/>
            <ac:grpSpMk id="58" creationId="{DFE65B42-AC5A-62E8-3F1D-95AC5C583C53}"/>
          </ac:grpSpMkLst>
        </pc:grpChg>
        <pc:grpChg chg="del mod">
          <ac:chgData name="Muchahary, Frankle" userId="0f2bf491-0617-4378-90b8-89af8fa381b9" providerId="ADAL" clId="{8E3D5D9D-CC05-4C7B-9A9C-2FFB7784C389}" dt="2024-02-06T03:00:00.285" v="2034" actId="478"/>
          <ac:grpSpMkLst>
            <pc:docMk/>
            <pc:sldMk cId="4242406866" sldId="375"/>
            <ac:grpSpMk id="97" creationId="{FCA59D18-6B69-A731-B52F-759461C9B6D8}"/>
          </ac:grpSpMkLst>
        </pc:grpChg>
        <pc:grpChg chg="mod topLvl">
          <ac:chgData name="Muchahary, Frankle" userId="0f2bf491-0617-4378-90b8-89af8fa381b9" providerId="ADAL" clId="{8E3D5D9D-CC05-4C7B-9A9C-2FFB7784C389}" dt="2024-02-06T03:01:58.644" v="2056" actId="14826"/>
          <ac:grpSpMkLst>
            <pc:docMk/>
            <pc:sldMk cId="4242406866" sldId="375"/>
            <ac:grpSpMk id="100" creationId="{5B195DCD-9388-2CCC-13C2-A21940096716}"/>
          </ac:grpSpMkLst>
        </pc:grpChg>
        <pc:picChg chg="mod topLvl">
          <ac:chgData name="Muchahary, Frankle" userId="0f2bf491-0617-4378-90b8-89af8fa381b9" providerId="ADAL" clId="{8E3D5D9D-CC05-4C7B-9A9C-2FFB7784C389}" dt="2024-02-06T03:02:11.318" v="2059" actId="1076"/>
          <ac:picMkLst>
            <pc:docMk/>
            <pc:sldMk cId="4242406866" sldId="375"/>
            <ac:picMk id="73" creationId="{E2587364-05B4-6D36-FA2C-C20B9ECB7925}"/>
          </ac:picMkLst>
        </pc:picChg>
        <pc:picChg chg="mod topLvl">
          <ac:chgData name="Muchahary, Frankle" userId="0f2bf491-0617-4378-90b8-89af8fa381b9" providerId="ADAL" clId="{8E3D5D9D-CC05-4C7B-9A9C-2FFB7784C389}" dt="2024-02-06T03:01:58.644" v="2056" actId="14826"/>
          <ac:picMkLst>
            <pc:docMk/>
            <pc:sldMk cId="4242406866" sldId="375"/>
            <ac:picMk id="77" creationId="{F8091E5C-CD73-9563-9692-141B9B66165B}"/>
          </ac:picMkLst>
        </pc:picChg>
        <pc:picChg chg="mod topLvl">
          <ac:chgData name="Muchahary, Frankle" userId="0f2bf491-0617-4378-90b8-89af8fa381b9" providerId="ADAL" clId="{8E3D5D9D-CC05-4C7B-9A9C-2FFB7784C389}" dt="2024-02-06T03:01:58.644" v="2056" actId="14826"/>
          <ac:picMkLst>
            <pc:docMk/>
            <pc:sldMk cId="4242406866" sldId="375"/>
            <ac:picMk id="79" creationId="{186FA772-F5BF-457B-7D4F-29B537ED7AA7}"/>
          </ac:picMkLst>
        </pc:picChg>
        <pc:picChg chg="mod">
          <ac:chgData name="Muchahary, Frankle" userId="0f2bf491-0617-4378-90b8-89af8fa381b9" providerId="ADAL" clId="{8E3D5D9D-CC05-4C7B-9A9C-2FFB7784C389}" dt="2024-02-06T03:01:58.644" v="2056" actId="14826"/>
          <ac:picMkLst>
            <pc:docMk/>
            <pc:sldMk cId="4242406866" sldId="375"/>
            <ac:picMk id="81" creationId="{DA7E71FB-77A7-F430-250C-695EF7112742}"/>
          </ac:picMkLst>
        </pc:picChg>
        <pc:picChg chg="add del mod topLvl">
          <ac:chgData name="Muchahary, Frankle" userId="0f2bf491-0617-4378-90b8-89af8fa381b9" providerId="ADAL" clId="{8E3D5D9D-CC05-4C7B-9A9C-2FFB7784C389}" dt="2024-02-06T03:02:29.203" v="2063" actId="478"/>
          <ac:picMkLst>
            <pc:docMk/>
            <pc:sldMk cId="4242406866" sldId="375"/>
            <ac:picMk id="87" creationId="{0403B330-657A-CB51-5B48-43EBF186A586}"/>
          </ac:picMkLst>
        </pc:picChg>
        <pc:picChg chg="del mod topLvl">
          <ac:chgData name="Muchahary, Frankle" userId="0f2bf491-0617-4378-90b8-89af8fa381b9" providerId="ADAL" clId="{8E3D5D9D-CC05-4C7B-9A9C-2FFB7784C389}" dt="2024-02-06T03:02:21.867" v="2061" actId="478"/>
          <ac:picMkLst>
            <pc:docMk/>
            <pc:sldMk cId="4242406866" sldId="375"/>
            <ac:picMk id="91" creationId="{9B949E3C-855F-E0E4-4213-9F65EC61E058}"/>
          </ac:picMkLst>
        </pc:picChg>
      </pc:sldChg>
      <pc:sldChg chg="addSp delSp modSp del mod">
        <pc:chgData name="Muchahary, Frankle" userId="0f2bf491-0617-4378-90b8-89af8fa381b9" providerId="ADAL" clId="{8E3D5D9D-CC05-4C7B-9A9C-2FFB7784C389}" dt="2024-02-06T04:15:44.487" v="3833" actId="47"/>
        <pc:sldMkLst>
          <pc:docMk/>
          <pc:sldMk cId="2786013774" sldId="379"/>
        </pc:sldMkLst>
        <pc:spChg chg="mod">
          <ac:chgData name="Muchahary, Frankle" userId="0f2bf491-0617-4378-90b8-89af8fa381b9" providerId="ADAL" clId="{8E3D5D9D-CC05-4C7B-9A9C-2FFB7784C389}" dt="2024-02-04T23:30:26.124" v="232" actId="20577"/>
          <ac:spMkLst>
            <pc:docMk/>
            <pc:sldMk cId="2786013774" sldId="379"/>
            <ac:spMk id="2" creationId="{8CDAE065-02E5-9B13-30C6-6B12ABF9A718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3" creationId="{E2151080-417B-246C-EC8C-1AD858910DCA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4" creationId="{4E1372BC-8690-D2B8-EFF9-5F045940E685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5" creationId="{81063DE3-E826-E2D8-DAE2-61B680B27C4C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6" creationId="{0344415C-5FD8-A952-40F5-C32EE61269E4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7" creationId="{3240A465-62E8-8CAB-0D8D-A81DAC95FD83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15" creationId="{64EF9CE9-DE05-2283-086F-8A90C80FB102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16" creationId="{2D793EA1-9CCC-ED18-7EBF-D94E698A9E58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17" creationId="{3435121B-BBAC-5C6B-EFCD-02B6CCE00767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18" creationId="{32FE6E1E-13F4-3D91-E143-639859152C51}"/>
          </ac:spMkLst>
        </pc:spChg>
        <pc:spChg chg="add del">
          <ac:chgData name="Muchahary, Frankle" userId="0f2bf491-0617-4378-90b8-89af8fa381b9" providerId="ADAL" clId="{8E3D5D9D-CC05-4C7B-9A9C-2FFB7784C389}" dt="2024-02-04T23:30:11.008" v="201" actId="478"/>
          <ac:spMkLst>
            <pc:docMk/>
            <pc:sldMk cId="2786013774" sldId="379"/>
            <ac:spMk id="19" creationId="{E861EAB6-CF7F-5D95-9B12-5AF5A0DE0A17}"/>
          </ac:spMkLst>
        </pc:spChg>
        <pc:picChg chg="add del">
          <ac:chgData name="Muchahary, Frankle" userId="0f2bf491-0617-4378-90b8-89af8fa381b9" providerId="ADAL" clId="{8E3D5D9D-CC05-4C7B-9A9C-2FFB7784C389}" dt="2024-02-04T23:30:11.008" v="201" actId="478"/>
          <ac:picMkLst>
            <pc:docMk/>
            <pc:sldMk cId="2786013774" sldId="379"/>
            <ac:picMk id="31" creationId="{90D0B653-A430-9A55-8459-2318A7441066}"/>
          </ac:picMkLst>
        </pc:picChg>
        <pc:picChg chg="add del">
          <ac:chgData name="Muchahary, Frankle" userId="0f2bf491-0617-4378-90b8-89af8fa381b9" providerId="ADAL" clId="{8E3D5D9D-CC05-4C7B-9A9C-2FFB7784C389}" dt="2024-02-04T23:30:11.008" v="201" actId="478"/>
          <ac:picMkLst>
            <pc:docMk/>
            <pc:sldMk cId="2786013774" sldId="379"/>
            <ac:picMk id="33" creationId="{14D19233-A502-6541-C434-4C8808D13080}"/>
          </ac:picMkLst>
        </pc:picChg>
        <pc:picChg chg="add del">
          <ac:chgData name="Muchahary, Frankle" userId="0f2bf491-0617-4378-90b8-89af8fa381b9" providerId="ADAL" clId="{8E3D5D9D-CC05-4C7B-9A9C-2FFB7784C389}" dt="2024-02-04T23:30:11.008" v="201" actId="478"/>
          <ac:picMkLst>
            <pc:docMk/>
            <pc:sldMk cId="2786013774" sldId="379"/>
            <ac:picMk id="35" creationId="{B087F236-34A0-E5FF-7D2F-2A387BE60E75}"/>
          </ac:picMkLst>
        </pc:picChg>
        <pc:picChg chg="add del">
          <ac:chgData name="Muchahary, Frankle" userId="0f2bf491-0617-4378-90b8-89af8fa381b9" providerId="ADAL" clId="{8E3D5D9D-CC05-4C7B-9A9C-2FFB7784C389}" dt="2024-02-04T23:30:11.008" v="201" actId="478"/>
          <ac:picMkLst>
            <pc:docMk/>
            <pc:sldMk cId="2786013774" sldId="379"/>
            <ac:picMk id="1038" creationId="{EFB8E6EF-255A-78A4-45BB-82A7B53EBAD2}"/>
          </ac:picMkLst>
        </pc:picChg>
        <pc:picChg chg="add del">
          <ac:chgData name="Muchahary, Frankle" userId="0f2bf491-0617-4378-90b8-89af8fa381b9" providerId="ADAL" clId="{8E3D5D9D-CC05-4C7B-9A9C-2FFB7784C389}" dt="2024-02-04T23:30:11.008" v="201" actId="478"/>
          <ac:picMkLst>
            <pc:docMk/>
            <pc:sldMk cId="2786013774" sldId="379"/>
            <ac:picMk id="1040" creationId="{8904F1C8-9459-3121-16EC-F3F9902F1E36}"/>
          </ac:picMkLst>
        </pc:picChg>
        <pc:cxnChg chg="add del">
          <ac:chgData name="Muchahary, Frankle" userId="0f2bf491-0617-4378-90b8-89af8fa381b9" providerId="ADAL" clId="{8E3D5D9D-CC05-4C7B-9A9C-2FFB7784C389}" dt="2024-02-04T23:30:11.008" v="201" actId="478"/>
          <ac:cxnSpMkLst>
            <pc:docMk/>
            <pc:sldMk cId="2786013774" sldId="379"/>
            <ac:cxnSpMk id="9" creationId="{9B5719AA-B7CC-48CF-3128-B4E58B84DFE1}"/>
          </ac:cxnSpMkLst>
        </pc:cxnChg>
        <pc:cxnChg chg="add del">
          <ac:chgData name="Muchahary, Frankle" userId="0f2bf491-0617-4378-90b8-89af8fa381b9" providerId="ADAL" clId="{8E3D5D9D-CC05-4C7B-9A9C-2FFB7784C389}" dt="2024-02-04T23:30:11.008" v="201" actId="478"/>
          <ac:cxnSpMkLst>
            <pc:docMk/>
            <pc:sldMk cId="2786013774" sldId="379"/>
            <ac:cxnSpMk id="11" creationId="{B2CF1B3E-62CA-4C11-D409-401437A45E6C}"/>
          </ac:cxnSpMkLst>
        </pc:cxnChg>
        <pc:cxnChg chg="add del">
          <ac:chgData name="Muchahary, Frankle" userId="0f2bf491-0617-4378-90b8-89af8fa381b9" providerId="ADAL" clId="{8E3D5D9D-CC05-4C7B-9A9C-2FFB7784C389}" dt="2024-02-04T23:30:11.008" v="201" actId="478"/>
          <ac:cxnSpMkLst>
            <pc:docMk/>
            <pc:sldMk cId="2786013774" sldId="379"/>
            <ac:cxnSpMk id="12" creationId="{04577DBC-C1FE-3711-B098-AD54A96DB45D}"/>
          </ac:cxnSpMkLst>
        </pc:cxnChg>
        <pc:cxnChg chg="add del">
          <ac:chgData name="Muchahary, Frankle" userId="0f2bf491-0617-4378-90b8-89af8fa381b9" providerId="ADAL" clId="{8E3D5D9D-CC05-4C7B-9A9C-2FFB7784C389}" dt="2024-02-04T23:30:11.008" v="201" actId="478"/>
          <ac:cxnSpMkLst>
            <pc:docMk/>
            <pc:sldMk cId="2786013774" sldId="379"/>
            <ac:cxnSpMk id="13" creationId="{D4098E29-7F43-8411-48C2-F79CC65FF506}"/>
          </ac:cxnSpMkLst>
        </pc:cxnChg>
        <pc:cxnChg chg="add del">
          <ac:chgData name="Muchahary, Frankle" userId="0f2bf491-0617-4378-90b8-89af8fa381b9" providerId="ADAL" clId="{8E3D5D9D-CC05-4C7B-9A9C-2FFB7784C389}" dt="2024-02-04T23:30:11.008" v="201" actId="478"/>
          <ac:cxnSpMkLst>
            <pc:docMk/>
            <pc:sldMk cId="2786013774" sldId="379"/>
            <ac:cxnSpMk id="14" creationId="{10D74613-078B-84EE-67F9-F57FB9BD3B8B}"/>
          </ac:cxnSpMkLst>
        </pc:cxnChg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3541548231" sldId="390"/>
        </pc:sldMkLst>
      </pc:sldChg>
      <pc:sldChg chg="del">
        <pc:chgData name="Muchahary, Frankle" userId="0f2bf491-0617-4378-90b8-89af8fa381b9" providerId="ADAL" clId="{8E3D5D9D-CC05-4C7B-9A9C-2FFB7784C389}" dt="2024-02-06T02:39:21.508" v="1285" actId="47"/>
        <pc:sldMkLst>
          <pc:docMk/>
          <pc:sldMk cId="425422822" sldId="393"/>
        </pc:sldMkLst>
      </pc:sldChg>
      <pc:sldChg chg="del">
        <pc:chgData name="Muchahary, Frankle" userId="0f2bf491-0617-4378-90b8-89af8fa381b9" providerId="ADAL" clId="{8E3D5D9D-CC05-4C7B-9A9C-2FFB7784C389}" dt="2024-02-04T23:29:29.050" v="182" actId="47"/>
        <pc:sldMkLst>
          <pc:docMk/>
          <pc:sldMk cId="2074881652" sldId="405"/>
        </pc:sldMkLst>
      </pc:sldChg>
      <pc:sldChg chg="add">
        <pc:chgData name="Muchahary, Frankle" userId="0f2bf491-0617-4378-90b8-89af8fa381b9" providerId="ADAL" clId="{8E3D5D9D-CC05-4C7B-9A9C-2FFB7784C389}" dt="2024-02-06T02:38:12.751" v="1216"/>
        <pc:sldMkLst>
          <pc:docMk/>
          <pc:sldMk cId="1233328138" sldId="409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2733503652" sldId="409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2813896743" sldId="410"/>
        </pc:sldMkLst>
      </pc:sldChg>
      <pc:sldChg chg="add">
        <pc:chgData name="Muchahary, Frankle" userId="0f2bf491-0617-4378-90b8-89af8fa381b9" providerId="ADAL" clId="{8E3D5D9D-CC05-4C7B-9A9C-2FFB7784C389}" dt="2024-02-06T02:38:12.751" v="1216"/>
        <pc:sldMkLst>
          <pc:docMk/>
          <pc:sldMk cId="3368510045" sldId="410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502713536" sldId="411"/>
        </pc:sldMkLst>
      </pc:sldChg>
      <pc:sldChg chg="add">
        <pc:chgData name="Muchahary, Frankle" userId="0f2bf491-0617-4378-90b8-89af8fa381b9" providerId="ADAL" clId="{8E3D5D9D-CC05-4C7B-9A9C-2FFB7784C389}" dt="2024-02-06T02:38:12.751" v="1216"/>
        <pc:sldMkLst>
          <pc:docMk/>
          <pc:sldMk cId="1930153091" sldId="411"/>
        </pc:sldMkLst>
      </pc:sldChg>
      <pc:sldChg chg="del">
        <pc:chgData name="Muchahary, Frankle" userId="0f2bf491-0617-4378-90b8-89af8fa381b9" providerId="ADAL" clId="{8E3D5D9D-CC05-4C7B-9A9C-2FFB7784C389}" dt="2024-02-04T23:29:29.050" v="182" actId="47"/>
        <pc:sldMkLst>
          <pc:docMk/>
          <pc:sldMk cId="2538916289" sldId="420"/>
        </pc:sldMkLst>
      </pc:sldChg>
      <pc:sldChg chg="del">
        <pc:chgData name="Muchahary, Frankle" userId="0f2bf491-0617-4378-90b8-89af8fa381b9" providerId="ADAL" clId="{8E3D5D9D-CC05-4C7B-9A9C-2FFB7784C389}" dt="2024-02-06T04:09:09.898" v="2566" actId="47"/>
        <pc:sldMkLst>
          <pc:docMk/>
          <pc:sldMk cId="120109526" sldId="421"/>
        </pc:sldMkLst>
      </pc:sldChg>
      <pc:sldChg chg="del">
        <pc:chgData name="Muchahary, Frankle" userId="0f2bf491-0617-4378-90b8-89af8fa381b9" providerId="ADAL" clId="{8E3D5D9D-CC05-4C7B-9A9C-2FFB7784C389}" dt="2024-02-06T04:09:09.898" v="2566" actId="47"/>
        <pc:sldMkLst>
          <pc:docMk/>
          <pc:sldMk cId="494903265" sldId="422"/>
        </pc:sldMkLst>
      </pc:sldChg>
      <pc:sldChg chg="del">
        <pc:chgData name="Muchahary, Frankle" userId="0f2bf491-0617-4378-90b8-89af8fa381b9" providerId="ADAL" clId="{8E3D5D9D-CC05-4C7B-9A9C-2FFB7784C389}" dt="2024-02-06T04:09:09.898" v="2566" actId="47"/>
        <pc:sldMkLst>
          <pc:docMk/>
          <pc:sldMk cId="3501371982" sldId="423"/>
        </pc:sldMkLst>
      </pc:sldChg>
      <pc:sldChg chg="del">
        <pc:chgData name="Muchahary, Frankle" userId="0f2bf491-0617-4378-90b8-89af8fa381b9" providerId="ADAL" clId="{8E3D5D9D-CC05-4C7B-9A9C-2FFB7784C389}" dt="2024-02-06T04:09:09.898" v="2566" actId="47"/>
        <pc:sldMkLst>
          <pc:docMk/>
          <pc:sldMk cId="3521844581" sldId="424"/>
        </pc:sldMkLst>
      </pc:sldChg>
      <pc:sldChg chg="del">
        <pc:chgData name="Muchahary, Frankle" userId="0f2bf491-0617-4378-90b8-89af8fa381b9" providerId="ADAL" clId="{8E3D5D9D-CC05-4C7B-9A9C-2FFB7784C389}" dt="2024-02-06T04:09:09.898" v="2566" actId="47"/>
        <pc:sldMkLst>
          <pc:docMk/>
          <pc:sldMk cId="658758765" sldId="425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905571673" sldId="427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290693362" sldId="428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671997131" sldId="429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491186124" sldId="430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498983597" sldId="431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937141441" sldId="432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221767676" sldId="433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084510560" sldId="434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986792322" sldId="436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4287056248" sldId="437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437343606" sldId="438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745781653" sldId="440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333158483" sldId="442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1824581935" sldId="444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3583304053" sldId="445"/>
        </pc:sldMkLst>
      </pc:sldChg>
      <pc:sldChg chg="del">
        <pc:chgData name="Muchahary, Frankle" userId="0f2bf491-0617-4378-90b8-89af8fa381b9" providerId="ADAL" clId="{8E3D5D9D-CC05-4C7B-9A9C-2FFB7784C389}" dt="2024-02-04T23:45:00.576" v="303" actId="47"/>
        <pc:sldMkLst>
          <pc:docMk/>
          <pc:sldMk cId="3012727066" sldId="446"/>
        </pc:sldMkLst>
      </pc:sldChg>
      <pc:sldChg chg="del">
        <pc:chgData name="Muchahary, Frankle" userId="0f2bf491-0617-4378-90b8-89af8fa381b9" providerId="ADAL" clId="{8E3D5D9D-CC05-4C7B-9A9C-2FFB7784C389}" dt="2024-02-04T23:52:30.706" v="1047" actId="47"/>
        <pc:sldMkLst>
          <pc:docMk/>
          <pc:sldMk cId="4235022131" sldId="448"/>
        </pc:sldMkLst>
      </pc:sldChg>
      <pc:sldChg chg="delSp modSp mod">
        <pc:chgData name="Muchahary, Frankle" userId="0f2bf491-0617-4378-90b8-89af8fa381b9" providerId="ADAL" clId="{8E3D5D9D-CC05-4C7B-9A9C-2FFB7784C389}" dt="2024-02-04T23:30:43.512" v="235" actId="478"/>
        <pc:sldMkLst>
          <pc:docMk/>
          <pc:sldMk cId="3461975783" sldId="449"/>
        </pc:sldMkLst>
        <pc:spChg chg="del mod">
          <ac:chgData name="Muchahary, Frankle" userId="0f2bf491-0617-4378-90b8-89af8fa381b9" providerId="ADAL" clId="{8E3D5D9D-CC05-4C7B-9A9C-2FFB7784C389}" dt="2024-02-04T23:30:43.512" v="235" actId="478"/>
          <ac:spMkLst>
            <pc:docMk/>
            <pc:sldMk cId="3461975783" sldId="449"/>
            <ac:spMk id="7" creationId="{45F5DD74-13F2-B635-4FB8-CBDEE0D05D3D}"/>
          </ac:spMkLst>
        </pc:spChg>
      </pc:sldChg>
      <pc:sldChg chg="modSp mod">
        <pc:chgData name="Muchahary, Frankle" userId="0f2bf491-0617-4378-90b8-89af8fa381b9" providerId="ADAL" clId="{8E3D5D9D-CC05-4C7B-9A9C-2FFB7784C389}" dt="2024-02-06T05:27:34.826" v="21012" actId="20577"/>
        <pc:sldMkLst>
          <pc:docMk/>
          <pc:sldMk cId="3130399512" sldId="450"/>
        </pc:sldMkLst>
        <pc:spChg chg="mod">
          <ac:chgData name="Muchahary, Frankle" userId="0f2bf491-0617-4378-90b8-89af8fa381b9" providerId="ADAL" clId="{8E3D5D9D-CC05-4C7B-9A9C-2FFB7784C389}" dt="2024-02-06T05:27:34.826" v="21012" actId="20577"/>
          <ac:spMkLst>
            <pc:docMk/>
            <pc:sldMk cId="3130399512" sldId="450"/>
            <ac:spMk id="31" creationId="{993477CE-2EF3-37A5-7F8D-B548FB966A6C}"/>
          </ac:spMkLst>
        </pc:spChg>
        <pc:spChg chg="mod">
          <ac:chgData name="Muchahary, Frankle" userId="0f2bf491-0617-4378-90b8-89af8fa381b9" providerId="ADAL" clId="{8E3D5D9D-CC05-4C7B-9A9C-2FFB7784C389}" dt="2024-02-06T04:14:08.573" v="2787" actId="20577"/>
          <ac:spMkLst>
            <pc:docMk/>
            <pc:sldMk cId="3130399512" sldId="450"/>
            <ac:spMk id="32" creationId="{D1DE3A33-A3D8-3DD7-FFF9-E2E64178C66D}"/>
          </ac:spMkLst>
        </pc:spChg>
        <pc:spChg chg="mod">
          <ac:chgData name="Muchahary, Frankle" userId="0f2bf491-0617-4378-90b8-89af8fa381b9" providerId="ADAL" clId="{8E3D5D9D-CC05-4C7B-9A9C-2FFB7784C389}" dt="2024-02-06T04:53:08.205" v="20763" actId="14100"/>
          <ac:spMkLst>
            <pc:docMk/>
            <pc:sldMk cId="3130399512" sldId="450"/>
            <ac:spMk id="37" creationId="{439FC097-85EB-CA53-776E-44365FB5FB91}"/>
          </ac:spMkLst>
        </pc:spChg>
        <pc:spChg chg="mod">
          <ac:chgData name="Muchahary, Frankle" userId="0f2bf491-0617-4378-90b8-89af8fa381b9" providerId="ADAL" clId="{8E3D5D9D-CC05-4C7B-9A9C-2FFB7784C389}" dt="2024-02-06T05:06:22.471" v="20897" actId="20577"/>
          <ac:spMkLst>
            <pc:docMk/>
            <pc:sldMk cId="3130399512" sldId="450"/>
            <ac:spMk id="45" creationId="{24DAA71A-304D-69D7-70A0-426DD0423008}"/>
          </ac:spMkLst>
        </pc:spChg>
        <pc:grpChg chg="mod">
          <ac:chgData name="Muchahary, Frankle" userId="0f2bf491-0617-4378-90b8-89af8fa381b9" providerId="ADAL" clId="{8E3D5D9D-CC05-4C7B-9A9C-2FFB7784C389}" dt="2024-02-06T05:03:00.443" v="20820" actId="14100"/>
          <ac:grpSpMkLst>
            <pc:docMk/>
            <pc:sldMk cId="3130399512" sldId="450"/>
            <ac:grpSpMk id="9" creationId="{5F92DC02-5138-5406-814F-6CC5B3F1CBFD}"/>
          </ac:grpSpMkLst>
        </pc:grpChg>
      </pc:sldChg>
      <pc:sldChg chg="del">
        <pc:chgData name="Muchahary, Frankle" userId="0f2bf491-0617-4378-90b8-89af8fa381b9" providerId="ADAL" clId="{8E3D5D9D-CC05-4C7B-9A9C-2FFB7784C389}" dt="2024-02-04T23:32:32.008" v="245" actId="47"/>
        <pc:sldMkLst>
          <pc:docMk/>
          <pc:sldMk cId="3061916073" sldId="451"/>
        </pc:sldMkLst>
      </pc:sldChg>
      <pc:sldChg chg="del">
        <pc:chgData name="Muchahary, Frankle" userId="0f2bf491-0617-4378-90b8-89af8fa381b9" providerId="ADAL" clId="{8E3D5D9D-CC05-4C7B-9A9C-2FFB7784C389}" dt="2024-02-04T23:32:32.008" v="245" actId="47"/>
        <pc:sldMkLst>
          <pc:docMk/>
          <pc:sldMk cId="1877260670" sldId="454"/>
        </pc:sldMkLst>
      </pc:sldChg>
      <pc:sldChg chg="addSp delSp modSp mod">
        <pc:chgData name="Muchahary, Frankle" userId="0f2bf491-0617-4378-90b8-89af8fa381b9" providerId="ADAL" clId="{8E3D5D9D-CC05-4C7B-9A9C-2FFB7784C389}" dt="2024-02-04T23:53:03.999" v="1137"/>
        <pc:sldMkLst>
          <pc:docMk/>
          <pc:sldMk cId="3742642329" sldId="455"/>
        </pc:sldMkLst>
        <pc:spChg chg="add del mod modVis">
          <ac:chgData name="Muchahary, Frankle" userId="0f2bf491-0617-4378-90b8-89af8fa381b9" providerId="ADAL" clId="{8E3D5D9D-CC05-4C7B-9A9C-2FFB7784C389}" dt="2024-02-04T23:51:31.575" v="662"/>
          <ac:spMkLst>
            <pc:docMk/>
            <pc:sldMk cId="3742642329" sldId="455"/>
            <ac:spMk id="2" creationId="{6453737D-AF45-5B29-68A8-9D95B5EF923E}"/>
          </ac:spMkLst>
        </pc:spChg>
        <pc:spChg chg="mod">
          <ac:chgData name="Muchahary, Frankle" userId="0f2bf491-0617-4378-90b8-89af8fa381b9" providerId="ADAL" clId="{8E3D5D9D-CC05-4C7B-9A9C-2FFB7784C389}" dt="2024-02-04T23:53:03.969" v="1112" actId="948"/>
          <ac:spMkLst>
            <pc:docMk/>
            <pc:sldMk cId="3742642329" sldId="455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8E3D5D9D-CC05-4C7B-9A9C-2FFB7784C389}" dt="2024-02-04T23:51:37.878" v="698"/>
          <ac:spMkLst>
            <pc:docMk/>
            <pc:sldMk cId="3742642329" sldId="455"/>
            <ac:spMk id="5" creationId="{572366EC-194C-2AB5-2A71-5EC9EE5D434E}"/>
          </ac:spMkLst>
        </pc:spChg>
        <pc:spChg chg="add del mod modVis">
          <ac:chgData name="Muchahary, Frankle" userId="0f2bf491-0617-4378-90b8-89af8fa381b9" providerId="ADAL" clId="{8E3D5D9D-CC05-4C7B-9A9C-2FFB7784C389}" dt="2024-02-04T23:51:41.039" v="743"/>
          <ac:spMkLst>
            <pc:docMk/>
            <pc:sldMk cId="3742642329" sldId="455"/>
            <ac:spMk id="7" creationId="{E3F70D8C-CD08-391D-56DF-F71F4668876B}"/>
          </ac:spMkLst>
        </pc:spChg>
        <pc:spChg chg="add del mod modVis">
          <ac:chgData name="Muchahary, Frankle" userId="0f2bf491-0617-4378-90b8-89af8fa381b9" providerId="ADAL" clId="{8E3D5D9D-CC05-4C7B-9A9C-2FFB7784C389}" dt="2024-02-04T23:51:48.707" v="825"/>
          <ac:spMkLst>
            <pc:docMk/>
            <pc:sldMk cId="3742642329" sldId="455"/>
            <ac:spMk id="9" creationId="{61913925-9ADE-B1FD-FD93-EE53918A2724}"/>
          </ac:spMkLst>
        </pc:spChg>
        <pc:spChg chg="add del mod modVis">
          <ac:chgData name="Muchahary, Frankle" userId="0f2bf491-0617-4378-90b8-89af8fa381b9" providerId="ADAL" clId="{8E3D5D9D-CC05-4C7B-9A9C-2FFB7784C389}" dt="2024-02-04T23:51:50.011" v="857"/>
          <ac:spMkLst>
            <pc:docMk/>
            <pc:sldMk cId="3742642329" sldId="455"/>
            <ac:spMk id="10" creationId="{FE6BD731-02D5-850B-771F-86B3AFBD24A4}"/>
          </ac:spMkLst>
        </pc:spChg>
        <pc:spChg chg="add del mod modVis">
          <ac:chgData name="Muchahary, Frankle" userId="0f2bf491-0617-4378-90b8-89af8fa381b9" providerId="ADAL" clId="{8E3D5D9D-CC05-4C7B-9A9C-2FFB7784C389}" dt="2024-02-04T23:51:52.634" v="908" actId="962"/>
          <ac:spMkLst>
            <pc:docMk/>
            <pc:sldMk cId="3742642329" sldId="455"/>
            <ac:spMk id="11" creationId="{DC4C5085-B86F-21DA-F8A5-DE1F70E1DB5A}"/>
          </ac:spMkLst>
        </pc:spChg>
        <pc:spChg chg="add del mod modVis">
          <ac:chgData name="Muchahary, Frankle" userId="0f2bf491-0617-4378-90b8-89af8fa381b9" providerId="ADAL" clId="{8E3D5D9D-CC05-4C7B-9A9C-2FFB7784C389}" dt="2024-02-04T23:51:56.951" v="961" actId="962"/>
          <ac:spMkLst>
            <pc:docMk/>
            <pc:sldMk cId="3742642329" sldId="455"/>
            <ac:spMk id="12" creationId="{EAAB74D4-E0D8-EEE4-DF9D-B87520B0CBB0}"/>
          </ac:spMkLst>
        </pc:spChg>
        <pc:spChg chg="add del mod modVis">
          <ac:chgData name="Muchahary, Frankle" userId="0f2bf491-0617-4378-90b8-89af8fa381b9" providerId="ADAL" clId="{8E3D5D9D-CC05-4C7B-9A9C-2FFB7784C389}" dt="2024-02-04T23:52:01.421" v="990"/>
          <ac:spMkLst>
            <pc:docMk/>
            <pc:sldMk cId="3742642329" sldId="455"/>
            <ac:spMk id="13" creationId="{7233D303-7B71-30A8-3609-700C9A544E24}"/>
          </ac:spMkLst>
        </pc:spChg>
        <pc:spChg chg="add del mod modVis">
          <ac:chgData name="Muchahary, Frankle" userId="0f2bf491-0617-4378-90b8-89af8fa381b9" providerId="ADAL" clId="{8E3D5D9D-CC05-4C7B-9A9C-2FFB7784C389}" dt="2024-02-04T23:52:04.495" v="1017"/>
          <ac:spMkLst>
            <pc:docMk/>
            <pc:sldMk cId="3742642329" sldId="455"/>
            <ac:spMk id="14" creationId="{91C35315-0AA0-6678-DE37-14A573073E99}"/>
          </ac:spMkLst>
        </pc:spChg>
        <pc:spChg chg="add del mod modVis">
          <ac:chgData name="Muchahary, Frankle" userId="0f2bf491-0617-4378-90b8-89af8fa381b9" providerId="ADAL" clId="{8E3D5D9D-CC05-4C7B-9A9C-2FFB7784C389}" dt="2024-02-04T23:52:09.454" v="1044"/>
          <ac:spMkLst>
            <pc:docMk/>
            <pc:sldMk cId="3742642329" sldId="455"/>
            <ac:spMk id="15" creationId="{CB9B748A-8A3C-60D5-706D-6DA322462F90}"/>
          </ac:spMkLst>
        </pc:spChg>
        <pc:spChg chg="add del mod modVis">
          <ac:chgData name="Muchahary, Frankle" userId="0f2bf491-0617-4378-90b8-89af8fa381b9" providerId="ADAL" clId="{8E3D5D9D-CC05-4C7B-9A9C-2FFB7784C389}" dt="2024-02-04T23:53:03.997" v="1135"/>
          <ac:spMkLst>
            <pc:docMk/>
            <pc:sldMk cId="3742642329" sldId="455"/>
            <ac:spMk id="16" creationId="{1F8A7257-155F-6576-4502-2C890843E9E2}"/>
          </ac:spMkLst>
        </pc:spChg>
        <pc:graphicFrameChg chg="mod">
          <ac:chgData name="Muchahary, Frankle" userId="0f2bf491-0617-4378-90b8-89af8fa381b9" providerId="ADAL" clId="{8E3D5D9D-CC05-4C7B-9A9C-2FFB7784C389}" dt="2024-02-04T23:53:03.999" v="1137"/>
          <ac:graphicFrameMkLst>
            <pc:docMk/>
            <pc:sldMk cId="3742642329" sldId="455"/>
            <ac:graphicFrameMk id="4" creationId="{ECE92B82-86F3-9DAE-CCB0-A8B46E3F36BF}"/>
          </ac:graphicFrameMkLst>
        </pc:graphicFrameChg>
      </pc:sldChg>
      <pc:sldChg chg="addSp delSp modSp del mod">
        <pc:chgData name="Muchahary, Frankle" userId="0f2bf491-0617-4378-90b8-89af8fa381b9" providerId="ADAL" clId="{8E3D5D9D-CC05-4C7B-9A9C-2FFB7784C389}" dt="2024-02-08T03:39:09.589" v="54367" actId="47"/>
        <pc:sldMkLst>
          <pc:docMk/>
          <pc:sldMk cId="800981628" sldId="456"/>
        </pc:sldMkLst>
        <pc:spChg chg="add del mod modVis">
          <ac:chgData name="Muchahary, Frankle" userId="0f2bf491-0617-4378-90b8-89af8fa381b9" providerId="ADAL" clId="{8E3D5D9D-CC05-4C7B-9A9C-2FFB7784C389}" dt="2024-02-08T03:38:47.334" v="54194"/>
          <ac:spMkLst>
            <pc:docMk/>
            <pc:sldMk cId="800981628" sldId="456"/>
            <ac:spMk id="2" creationId="{4303DE24-ED64-C8F7-09EB-95892AA3386B}"/>
          </ac:spMkLst>
        </pc:spChg>
        <pc:spChg chg="add del mod modVis">
          <ac:chgData name="Muchahary, Frankle" userId="0f2bf491-0617-4378-90b8-89af8fa381b9" providerId="ADAL" clId="{8E3D5D9D-CC05-4C7B-9A9C-2FFB7784C389}" dt="2024-02-04T23:49:42.532" v="421"/>
          <ac:spMkLst>
            <pc:docMk/>
            <pc:sldMk cId="800981628" sldId="456"/>
            <ac:spMk id="2" creationId="{A7C1FB2F-49C7-11F2-BF08-F0C7C693C79A}"/>
          </ac:spMkLst>
        </pc:spChg>
        <pc:spChg chg="mod">
          <ac:chgData name="Muchahary, Frankle" userId="0f2bf491-0617-4378-90b8-89af8fa381b9" providerId="ADAL" clId="{8E3D5D9D-CC05-4C7B-9A9C-2FFB7784C389}" dt="2024-02-08T03:39:02.271" v="54363" actId="20577"/>
          <ac:spMkLst>
            <pc:docMk/>
            <pc:sldMk cId="800981628" sldId="456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8E3D5D9D-CC05-4C7B-9A9C-2FFB7784C389}" dt="2024-02-04T23:50:51.192" v="452"/>
          <ac:spMkLst>
            <pc:docMk/>
            <pc:sldMk cId="800981628" sldId="456"/>
            <ac:spMk id="5" creationId="{12976D69-ED3A-9492-59C8-9E89FB547DA8}"/>
          </ac:spMkLst>
        </pc:spChg>
        <pc:spChg chg="add del mod modVis">
          <ac:chgData name="Muchahary, Frankle" userId="0f2bf491-0617-4378-90b8-89af8fa381b9" providerId="ADAL" clId="{8E3D5D9D-CC05-4C7B-9A9C-2FFB7784C389}" dt="2024-02-08T03:38:48.009" v="54222"/>
          <ac:spMkLst>
            <pc:docMk/>
            <pc:sldMk cId="800981628" sldId="456"/>
            <ac:spMk id="5" creationId="{41B88F31-1D5F-00BE-E458-67C924ECC20F}"/>
          </ac:spMkLst>
        </pc:spChg>
        <pc:spChg chg="add del mod modVis">
          <ac:chgData name="Muchahary, Frankle" userId="0f2bf491-0617-4378-90b8-89af8fa381b9" providerId="ADAL" clId="{8E3D5D9D-CC05-4C7B-9A9C-2FFB7784C389}" dt="2024-02-04T23:50:55.013" v="490"/>
          <ac:spMkLst>
            <pc:docMk/>
            <pc:sldMk cId="800981628" sldId="456"/>
            <ac:spMk id="7" creationId="{8CFDAF4A-F43A-FEB3-A987-B83BE2593C34}"/>
          </ac:spMkLst>
        </pc:spChg>
        <pc:spChg chg="add del mod modVis">
          <ac:chgData name="Muchahary, Frankle" userId="0f2bf491-0617-4378-90b8-89af8fa381b9" providerId="ADAL" clId="{8E3D5D9D-CC05-4C7B-9A9C-2FFB7784C389}" dt="2024-02-08T03:38:49.995" v="54258"/>
          <ac:spMkLst>
            <pc:docMk/>
            <pc:sldMk cId="800981628" sldId="456"/>
            <ac:spMk id="7" creationId="{C2E179BE-73FF-45B8-9FB4-47A65D6DFBFB}"/>
          </ac:spMkLst>
        </pc:spChg>
        <pc:spChg chg="add del mod modVis">
          <ac:chgData name="Muchahary, Frankle" userId="0f2bf491-0617-4378-90b8-89af8fa381b9" providerId="ADAL" clId="{8E3D5D9D-CC05-4C7B-9A9C-2FFB7784C389}" dt="2024-02-08T03:39:02.269" v="54361" actId="962"/>
          <ac:spMkLst>
            <pc:docMk/>
            <pc:sldMk cId="800981628" sldId="456"/>
            <ac:spMk id="8" creationId="{650D67BC-78EB-137B-864F-0FBF33243039}"/>
          </ac:spMkLst>
        </pc:spChg>
        <pc:spChg chg="add del mod modVis">
          <ac:chgData name="Muchahary, Frankle" userId="0f2bf491-0617-4378-90b8-89af8fa381b9" providerId="ADAL" clId="{8E3D5D9D-CC05-4C7B-9A9C-2FFB7784C389}" dt="2024-02-04T23:50:58.649" v="517"/>
          <ac:spMkLst>
            <pc:docMk/>
            <pc:sldMk cId="800981628" sldId="456"/>
            <ac:spMk id="8" creationId="{74F6F757-BE39-9585-8D6F-1D8431622DE7}"/>
          </ac:spMkLst>
        </pc:spChg>
        <pc:spChg chg="add del mod modVis">
          <ac:chgData name="Muchahary, Frankle" userId="0f2bf491-0617-4378-90b8-89af8fa381b9" providerId="ADAL" clId="{8E3D5D9D-CC05-4C7B-9A9C-2FFB7784C389}" dt="2024-02-04T23:50:59.638" v="544"/>
          <ac:spMkLst>
            <pc:docMk/>
            <pc:sldMk cId="800981628" sldId="456"/>
            <ac:spMk id="9" creationId="{9423A00F-4534-1185-E18F-B327E9AF1CD3}"/>
          </ac:spMkLst>
        </pc:spChg>
        <pc:spChg chg="add del mod modVis">
          <ac:chgData name="Muchahary, Frankle" userId="0f2bf491-0617-4378-90b8-89af8fa381b9" providerId="ADAL" clId="{8E3D5D9D-CC05-4C7B-9A9C-2FFB7784C389}" dt="2024-02-08T03:39:01.749" v="54335" actId="962"/>
          <ac:spMkLst>
            <pc:docMk/>
            <pc:sldMk cId="800981628" sldId="456"/>
            <ac:spMk id="9" creationId="{DAE34633-676F-469A-C9E7-46613CC14B3C}"/>
          </ac:spMkLst>
        </pc:spChg>
        <pc:spChg chg="add del mod modVis">
          <ac:chgData name="Muchahary, Frankle" userId="0f2bf491-0617-4378-90b8-89af8fa381b9" providerId="ADAL" clId="{8E3D5D9D-CC05-4C7B-9A9C-2FFB7784C389}" dt="2024-02-04T23:51:01.933" v="578"/>
          <ac:spMkLst>
            <pc:docMk/>
            <pc:sldMk cId="800981628" sldId="456"/>
            <ac:spMk id="10" creationId="{A20BAF60-7CA5-E613-54FC-7BE8ABE96D53}"/>
          </ac:spMkLst>
        </pc:spChg>
        <pc:spChg chg="add del mod modVis">
          <ac:chgData name="Muchahary, Frankle" userId="0f2bf491-0617-4378-90b8-89af8fa381b9" providerId="ADAL" clId="{8E3D5D9D-CC05-4C7B-9A9C-2FFB7784C389}" dt="2024-02-04T23:51:05.139" v="606"/>
          <ac:spMkLst>
            <pc:docMk/>
            <pc:sldMk cId="800981628" sldId="456"/>
            <ac:spMk id="11" creationId="{00F4C480-34A0-BB5A-B758-87E8205A25E2}"/>
          </ac:spMkLst>
        </pc:spChg>
        <pc:graphicFrameChg chg="mod">
          <ac:chgData name="Muchahary, Frankle" userId="0f2bf491-0617-4378-90b8-89af8fa381b9" providerId="ADAL" clId="{8E3D5D9D-CC05-4C7B-9A9C-2FFB7784C389}" dt="2024-02-08T03:39:02.280" v="54365"/>
          <ac:graphicFrameMkLst>
            <pc:docMk/>
            <pc:sldMk cId="800981628" sldId="456"/>
            <ac:graphicFrameMk id="4" creationId="{ECE92B82-86F3-9DAE-CCB0-A8B46E3F36BF}"/>
          </ac:graphicFrameMkLst>
        </pc:graphicFrameChg>
      </pc:sldChg>
      <pc:sldChg chg="addSp delSp modSp mod">
        <pc:chgData name="Muchahary, Frankle" userId="0f2bf491-0617-4378-90b8-89af8fa381b9" providerId="ADAL" clId="{8E3D5D9D-CC05-4C7B-9A9C-2FFB7784C389}" dt="2024-02-06T02:36:58.038" v="1208"/>
        <pc:sldMkLst>
          <pc:docMk/>
          <pc:sldMk cId="1422633457" sldId="457"/>
        </pc:sldMkLst>
        <pc:spChg chg="mod">
          <ac:chgData name="Muchahary, Frankle" userId="0f2bf491-0617-4378-90b8-89af8fa381b9" providerId="ADAL" clId="{8E3D5D9D-CC05-4C7B-9A9C-2FFB7784C389}" dt="2024-02-06T02:35:48.239" v="1140" actId="1076"/>
          <ac:spMkLst>
            <pc:docMk/>
            <pc:sldMk cId="1422633457" sldId="457"/>
            <ac:spMk id="4" creationId="{119984D1-2C54-3088-E118-735368F69FAB}"/>
          </ac:spMkLst>
        </pc:spChg>
        <pc:spChg chg="add del mod">
          <ac:chgData name="Muchahary, Frankle" userId="0f2bf491-0617-4378-90b8-89af8fa381b9" providerId="ADAL" clId="{8E3D5D9D-CC05-4C7B-9A9C-2FFB7784C389}" dt="2024-02-06T02:35:41.706" v="1139" actId="478"/>
          <ac:spMkLst>
            <pc:docMk/>
            <pc:sldMk cId="1422633457" sldId="457"/>
            <ac:spMk id="5" creationId="{358991CB-5AE6-65E9-D857-D970944A1826}"/>
          </ac:spMkLst>
        </pc:spChg>
        <pc:spChg chg="add del mod">
          <ac:chgData name="Muchahary, Frankle" userId="0f2bf491-0617-4378-90b8-89af8fa381b9" providerId="ADAL" clId="{8E3D5D9D-CC05-4C7B-9A9C-2FFB7784C389}" dt="2024-02-04T23:35:21.304" v="262" actId="478"/>
          <ac:spMkLst>
            <pc:docMk/>
            <pc:sldMk cId="1422633457" sldId="457"/>
            <ac:spMk id="8" creationId="{EC95EA50-B619-FB14-2DD6-0695B0A5AC1A}"/>
          </ac:spMkLst>
        </pc:spChg>
        <pc:spChg chg="mod">
          <ac:chgData name="Muchahary, Frankle" userId="0f2bf491-0617-4378-90b8-89af8fa381b9" providerId="ADAL" clId="{8E3D5D9D-CC05-4C7B-9A9C-2FFB7784C389}" dt="2024-02-04T23:38:32.357" v="297" actId="1076"/>
          <ac:spMkLst>
            <pc:docMk/>
            <pc:sldMk cId="1422633457" sldId="457"/>
            <ac:spMk id="9" creationId="{05174B72-DA4B-74A5-D1E1-FD3E2B58C91C}"/>
          </ac:spMkLst>
        </pc:spChg>
        <pc:spChg chg="mod">
          <ac:chgData name="Muchahary, Frankle" userId="0f2bf491-0617-4378-90b8-89af8fa381b9" providerId="ADAL" clId="{8E3D5D9D-CC05-4C7B-9A9C-2FFB7784C389}" dt="2024-02-06T02:36:57.536" v="1204" actId="20577"/>
          <ac:spMkLst>
            <pc:docMk/>
            <pc:sldMk cId="1422633457" sldId="457"/>
            <ac:spMk id="395" creationId="{00000000-0000-0000-0000-000000000000}"/>
          </ac:spMkLst>
        </pc:spChg>
        <pc:graphicFrameChg chg="mod">
          <ac:chgData name="Muchahary, Frankle" userId="0f2bf491-0617-4378-90b8-89af8fa381b9" providerId="ADAL" clId="{8E3D5D9D-CC05-4C7B-9A9C-2FFB7784C389}" dt="2024-02-06T02:36:58.038" v="1208"/>
          <ac:graphicFrameMkLst>
            <pc:docMk/>
            <pc:sldMk cId="1422633457" sldId="457"/>
            <ac:graphicFrameMk id="2" creationId="{6DFFB782-796B-7F40-EEAB-5FB33E92F1A5}"/>
          </ac:graphicFrameMkLst>
        </pc:graphicFrameChg>
        <pc:picChg chg="add del mod">
          <ac:chgData name="Muchahary, Frankle" userId="0f2bf491-0617-4378-90b8-89af8fa381b9" providerId="ADAL" clId="{8E3D5D9D-CC05-4C7B-9A9C-2FFB7784C389}" dt="2024-02-06T02:35:39.605" v="1138" actId="478"/>
          <ac:picMkLst>
            <pc:docMk/>
            <pc:sldMk cId="1422633457" sldId="457"/>
            <ac:picMk id="7" creationId="{BFA2DC55-0DB3-DE82-0F8E-D36021BAD4BE}"/>
          </ac:picMkLst>
        </pc:picChg>
        <pc:picChg chg="del">
          <ac:chgData name="Muchahary, Frankle" userId="0f2bf491-0617-4378-90b8-89af8fa381b9" providerId="ADAL" clId="{8E3D5D9D-CC05-4C7B-9A9C-2FFB7784C389}" dt="2024-02-04T23:27:54.532" v="24" actId="478"/>
          <ac:picMkLst>
            <pc:docMk/>
            <pc:sldMk cId="1422633457" sldId="457"/>
            <ac:picMk id="7170" creationId="{15DE2139-05DF-873B-F356-7B241597BF3C}"/>
          </ac:picMkLst>
        </pc:picChg>
        <pc:picChg chg="del">
          <ac:chgData name="Muchahary, Frankle" userId="0f2bf491-0617-4378-90b8-89af8fa381b9" providerId="ADAL" clId="{8E3D5D9D-CC05-4C7B-9A9C-2FFB7784C389}" dt="2024-02-04T23:27:55.580" v="25" actId="478"/>
          <ac:picMkLst>
            <pc:docMk/>
            <pc:sldMk cId="1422633457" sldId="457"/>
            <ac:picMk id="7172" creationId="{83F27859-7B42-DD80-A1C9-3C248999B7A1}"/>
          </ac:picMkLst>
        </pc:picChg>
      </pc:sldChg>
      <pc:sldChg chg="add del">
        <pc:chgData name="Muchahary, Frankle" userId="0f2bf491-0617-4378-90b8-89af8fa381b9" providerId="ADAL" clId="{8E3D5D9D-CC05-4C7B-9A9C-2FFB7784C389}" dt="2024-02-06T04:15:41.990" v="3832" actId="47"/>
        <pc:sldMkLst>
          <pc:docMk/>
          <pc:sldMk cId="1787816746" sldId="458"/>
        </pc:sldMkLst>
      </pc:sldChg>
      <pc:sldChg chg="del">
        <pc:chgData name="Muchahary, Frankle" userId="0f2bf491-0617-4378-90b8-89af8fa381b9" providerId="ADAL" clId="{8E3D5D9D-CC05-4C7B-9A9C-2FFB7784C389}" dt="2024-02-06T02:38:10.262" v="1215" actId="2696"/>
        <pc:sldMkLst>
          <pc:docMk/>
          <pc:sldMk cId="2758127380" sldId="458"/>
        </pc:sldMkLst>
      </pc:sldChg>
      <pc:sldChg chg="del">
        <pc:chgData name="Muchahary, Frankle" userId="0f2bf491-0617-4378-90b8-89af8fa381b9" providerId="ADAL" clId="{8E3D5D9D-CC05-4C7B-9A9C-2FFB7784C389}" dt="2024-02-04T23:52:30.706" v="1047" actId="47"/>
        <pc:sldMkLst>
          <pc:docMk/>
          <pc:sldMk cId="3217192309" sldId="459"/>
        </pc:sldMkLst>
      </pc:sldChg>
      <pc:sldChg chg="modSp mod">
        <pc:chgData name="Muchahary, Frankle" userId="0f2bf491-0617-4378-90b8-89af8fa381b9" providerId="ADAL" clId="{8E3D5D9D-CC05-4C7B-9A9C-2FFB7784C389}" dt="2024-02-04T23:45:21.021" v="351" actId="1076"/>
        <pc:sldMkLst>
          <pc:docMk/>
          <pc:sldMk cId="1086956704" sldId="460"/>
        </pc:sldMkLst>
        <pc:spChg chg="mod">
          <ac:chgData name="Muchahary, Frankle" userId="0f2bf491-0617-4378-90b8-89af8fa381b9" providerId="ADAL" clId="{8E3D5D9D-CC05-4C7B-9A9C-2FFB7784C389}" dt="2024-02-04T23:45:18.047" v="346" actId="948"/>
          <ac:spMkLst>
            <pc:docMk/>
            <pc:sldMk cId="1086956704" sldId="460"/>
            <ac:spMk id="3" creationId="{72E3E6EA-111F-56AA-553A-86DC36436039}"/>
          </ac:spMkLst>
        </pc:spChg>
        <pc:graphicFrameChg chg="mod">
          <ac:chgData name="Muchahary, Frankle" userId="0f2bf491-0617-4378-90b8-89af8fa381b9" providerId="ADAL" clId="{8E3D5D9D-CC05-4C7B-9A9C-2FFB7784C389}" dt="2024-02-04T23:45:18.053" v="350"/>
          <ac:graphicFrameMkLst>
            <pc:docMk/>
            <pc:sldMk cId="1086956704" sldId="460"/>
            <ac:graphicFrameMk id="4" creationId="{ECE92B82-86F3-9DAE-CCB0-A8B46E3F36BF}"/>
          </ac:graphicFrameMkLst>
        </pc:graphicFrameChg>
        <pc:cxnChg chg="mod">
          <ac:chgData name="Muchahary, Frankle" userId="0f2bf491-0617-4378-90b8-89af8fa381b9" providerId="ADAL" clId="{8E3D5D9D-CC05-4C7B-9A9C-2FFB7784C389}" dt="2024-02-04T23:45:21.021" v="351" actId="1076"/>
          <ac:cxnSpMkLst>
            <pc:docMk/>
            <pc:sldMk cId="1086956704" sldId="460"/>
            <ac:cxnSpMk id="6" creationId="{0720BBE8-E596-B9A7-45B8-8DA2E0F1DD2F}"/>
          </ac:cxnSpMkLst>
        </pc:cxnChg>
      </pc:sldChg>
      <pc:sldChg chg="addSp delSp modSp add mod">
        <pc:chgData name="Muchahary, Frankle" userId="0f2bf491-0617-4378-90b8-89af8fa381b9" providerId="ADAL" clId="{8E3D5D9D-CC05-4C7B-9A9C-2FFB7784C389}" dt="2024-02-06T02:39:37.753" v="1367"/>
        <pc:sldMkLst>
          <pc:docMk/>
          <pc:sldMk cId="353826000" sldId="461"/>
        </pc:sldMkLst>
        <pc:spChg chg="add del mod modVis">
          <ac:chgData name="Muchahary, Frankle" userId="0f2bf491-0617-4378-90b8-89af8fa381b9" providerId="ADAL" clId="{8E3D5D9D-CC05-4C7B-9A9C-2FFB7784C389}" dt="2024-02-06T02:39:29.575" v="1311"/>
          <ac:spMkLst>
            <pc:docMk/>
            <pc:sldMk cId="353826000" sldId="461"/>
            <ac:spMk id="2" creationId="{358CC6E9-65C4-4CEC-2A3A-A6F7E859EB68}"/>
          </ac:spMkLst>
        </pc:spChg>
        <pc:spChg chg="mod">
          <ac:chgData name="Muchahary, Frankle" userId="0f2bf491-0617-4378-90b8-89af8fa381b9" providerId="ADAL" clId="{8E3D5D9D-CC05-4C7B-9A9C-2FFB7784C389}" dt="2024-02-06T02:39:37.723" v="1342" actId="948"/>
          <ac:spMkLst>
            <pc:docMk/>
            <pc:sldMk cId="353826000" sldId="461"/>
            <ac:spMk id="3" creationId="{F5681923-A393-9C6C-B8E6-01FFBF4CB691}"/>
          </ac:spMkLst>
        </pc:spChg>
        <pc:spChg chg="add del mod modVis">
          <ac:chgData name="Muchahary, Frankle" userId="0f2bf491-0617-4378-90b8-89af8fa381b9" providerId="ADAL" clId="{8E3D5D9D-CC05-4C7B-9A9C-2FFB7784C389}" dt="2024-02-06T02:39:34.629" v="1338"/>
          <ac:spMkLst>
            <pc:docMk/>
            <pc:sldMk cId="353826000" sldId="461"/>
            <ac:spMk id="5" creationId="{24B82D59-E7DB-9E39-1F94-D9BBC7F26C16}"/>
          </ac:spMkLst>
        </pc:spChg>
        <pc:spChg chg="add del mod modVis">
          <ac:chgData name="Muchahary, Frankle" userId="0f2bf491-0617-4378-90b8-89af8fa381b9" providerId="ADAL" clId="{8E3D5D9D-CC05-4C7B-9A9C-2FFB7784C389}" dt="2024-02-06T02:39:37.750" v="1365"/>
          <ac:spMkLst>
            <pc:docMk/>
            <pc:sldMk cId="353826000" sldId="461"/>
            <ac:spMk id="7" creationId="{A7367D04-DDEA-E53C-2118-A84DF74B1FA2}"/>
          </ac:spMkLst>
        </pc:spChg>
        <pc:graphicFrameChg chg="mod">
          <ac:chgData name="Muchahary, Frankle" userId="0f2bf491-0617-4378-90b8-89af8fa381b9" providerId="ADAL" clId="{8E3D5D9D-CC05-4C7B-9A9C-2FFB7784C389}" dt="2024-02-06T02:39:37.753" v="1367"/>
          <ac:graphicFrameMkLst>
            <pc:docMk/>
            <pc:sldMk cId="353826000" sldId="461"/>
            <ac:graphicFrameMk id="4" creationId="{FFE52B01-35BC-C660-E712-8991D68FCE88}"/>
          </ac:graphicFrameMkLst>
        </pc:graphicFrame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654279583" sldId="461"/>
        </pc:sldMkLst>
      </pc:sldChg>
      <pc:sldChg chg="addSp delSp modSp add mod">
        <pc:chgData name="Muchahary, Frankle" userId="0f2bf491-0617-4378-90b8-89af8fa381b9" providerId="ADAL" clId="{8E3D5D9D-CC05-4C7B-9A9C-2FFB7784C389}" dt="2024-02-06T02:39:58.861" v="1502"/>
        <pc:sldMkLst>
          <pc:docMk/>
          <pc:sldMk cId="3636349472" sldId="462"/>
        </pc:sldMkLst>
        <pc:spChg chg="add del mod modVis">
          <ac:chgData name="Muchahary, Frankle" userId="0f2bf491-0617-4378-90b8-89af8fa381b9" providerId="ADAL" clId="{8E3D5D9D-CC05-4C7B-9A9C-2FFB7784C389}" dt="2024-02-06T02:39:43.562" v="1392"/>
          <ac:spMkLst>
            <pc:docMk/>
            <pc:sldMk cId="3636349472" sldId="462"/>
            <ac:spMk id="2" creationId="{7A3AB0B4-8247-092D-3672-9017B132429B}"/>
          </ac:spMkLst>
        </pc:spChg>
        <pc:spChg chg="mod">
          <ac:chgData name="Muchahary, Frankle" userId="0f2bf491-0617-4378-90b8-89af8fa381b9" providerId="ADAL" clId="{8E3D5D9D-CC05-4C7B-9A9C-2FFB7784C389}" dt="2024-02-06T02:39:58.832" v="1477" actId="948"/>
          <ac:spMkLst>
            <pc:docMk/>
            <pc:sldMk cId="3636349472" sldId="462"/>
            <ac:spMk id="3" creationId="{B3A09043-CEDB-D1D0-6EC8-86763A3BD34E}"/>
          </ac:spMkLst>
        </pc:spChg>
        <pc:spChg chg="add del mod modVis">
          <ac:chgData name="Muchahary, Frankle" userId="0f2bf491-0617-4378-90b8-89af8fa381b9" providerId="ADAL" clId="{8E3D5D9D-CC05-4C7B-9A9C-2FFB7784C389}" dt="2024-02-06T02:39:50.297" v="1419"/>
          <ac:spMkLst>
            <pc:docMk/>
            <pc:sldMk cId="3636349472" sldId="462"/>
            <ac:spMk id="5" creationId="{2CFD66F6-79B3-FB69-57E1-4DE59F2376B6}"/>
          </ac:spMkLst>
        </pc:spChg>
        <pc:spChg chg="add del mod modVis">
          <ac:chgData name="Muchahary, Frankle" userId="0f2bf491-0617-4378-90b8-89af8fa381b9" providerId="ADAL" clId="{8E3D5D9D-CC05-4C7B-9A9C-2FFB7784C389}" dt="2024-02-06T02:39:52.845" v="1446"/>
          <ac:spMkLst>
            <pc:docMk/>
            <pc:sldMk cId="3636349472" sldId="462"/>
            <ac:spMk id="7" creationId="{207F3AC8-CB46-3DB7-05B8-8C3971F7A989}"/>
          </ac:spMkLst>
        </pc:spChg>
        <pc:spChg chg="add del mod modVis">
          <ac:chgData name="Muchahary, Frankle" userId="0f2bf491-0617-4378-90b8-89af8fa381b9" providerId="ADAL" clId="{8E3D5D9D-CC05-4C7B-9A9C-2FFB7784C389}" dt="2024-02-06T02:39:54.834" v="1473"/>
          <ac:spMkLst>
            <pc:docMk/>
            <pc:sldMk cId="3636349472" sldId="462"/>
            <ac:spMk id="9" creationId="{DC711BF2-01F5-AD9F-59AE-5935546D8BD0}"/>
          </ac:spMkLst>
        </pc:spChg>
        <pc:spChg chg="add del mod modVis">
          <ac:chgData name="Muchahary, Frankle" userId="0f2bf491-0617-4378-90b8-89af8fa381b9" providerId="ADAL" clId="{8E3D5D9D-CC05-4C7B-9A9C-2FFB7784C389}" dt="2024-02-06T02:39:58.859" v="1500"/>
          <ac:spMkLst>
            <pc:docMk/>
            <pc:sldMk cId="3636349472" sldId="462"/>
            <ac:spMk id="10" creationId="{7F10FF25-A74C-CE9F-7785-92BC0D8815FF}"/>
          </ac:spMkLst>
        </pc:spChg>
        <pc:graphicFrameChg chg="mod">
          <ac:chgData name="Muchahary, Frankle" userId="0f2bf491-0617-4378-90b8-89af8fa381b9" providerId="ADAL" clId="{8E3D5D9D-CC05-4C7B-9A9C-2FFB7784C389}" dt="2024-02-06T02:39:58.861" v="1502"/>
          <ac:graphicFrameMkLst>
            <pc:docMk/>
            <pc:sldMk cId="3636349472" sldId="462"/>
            <ac:graphicFrameMk id="4" creationId="{EB906B71-5BC9-BC6D-93A2-DF4CD51B32D6}"/>
          </ac:graphicFrameMkLst>
        </pc:graphicFrameChg>
      </pc:sldChg>
      <pc:sldChg chg="addSp delSp modSp add mod">
        <pc:chgData name="Muchahary, Frankle" userId="0f2bf491-0617-4378-90b8-89af8fa381b9" providerId="ADAL" clId="{8E3D5D9D-CC05-4C7B-9A9C-2FFB7784C389}" dt="2024-02-06T02:40:23.198" v="1830"/>
        <pc:sldMkLst>
          <pc:docMk/>
          <pc:sldMk cId="2412123713" sldId="463"/>
        </pc:sldMkLst>
        <pc:spChg chg="add del mod modVis">
          <ac:chgData name="Muchahary, Frankle" userId="0f2bf491-0617-4378-90b8-89af8fa381b9" providerId="ADAL" clId="{8E3D5D9D-CC05-4C7B-9A9C-2FFB7784C389}" dt="2024-02-06T02:40:12.526" v="1563"/>
          <ac:spMkLst>
            <pc:docMk/>
            <pc:sldMk cId="2412123713" sldId="463"/>
            <ac:spMk id="2" creationId="{31BBB72E-F47F-1913-B1E9-A0FCF70257F2}"/>
          </ac:spMkLst>
        </pc:spChg>
        <pc:spChg chg="mod">
          <ac:chgData name="Muchahary, Frankle" userId="0f2bf491-0617-4378-90b8-89af8fa381b9" providerId="ADAL" clId="{8E3D5D9D-CC05-4C7B-9A9C-2FFB7784C389}" dt="2024-02-06T02:40:23.164" v="1805" actId="948"/>
          <ac:spMkLst>
            <pc:docMk/>
            <pc:sldMk cId="2412123713" sldId="463"/>
            <ac:spMk id="3" creationId="{2DE6485A-8907-557A-A357-0E62B42F5DD7}"/>
          </ac:spMkLst>
        </pc:spChg>
        <pc:spChg chg="add del mod modVis">
          <ac:chgData name="Muchahary, Frankle" userId="0f2bf491-0617-4378-90b8-89af8fa381b9" providerId="ADAL" clId="{8E3D5D9D-CC05-4C7B-9A9C-2FFB7784C389}" dt="2024-02-06T02:40:13.577" v="1592"/>
          <ac:spMkLst>
            <pc:docMk/>
            <pc:sldMk cId="2412123713" sldId="463"/>
            <ac:spMk id="5" creationId="{95F84586-CC2F-50E9-B324-C263A8DF9D64}"/>
          </ac:spMkLst>
        </pc:spChg>
        <pc:spChg chg="add del mod modVis">
          <ac:chgData name="Muchahary, Frankle" userId="0f2bf491-0617-4378-90b8-89af8fa381b9" providerId="ADAL" clId="{8E3D5D9D-CC05-4C7B-9A9C-2FFB7784C389}" dt="2024-02-06T02:40:15.259" v="1629"/>
          <ac:spMkLst>
            <pc:docMk/>
            <pc:sldMk cId="2412123713" sldId="463"/>
            <ac:spMk id="7" creationId="{A5EA6A9D-4A2C-0292-1EFD-EB21FBBCC2CC}"/>
          </ac:spMkLst>
        </pc:spChg>
        <pc:spChg chg="add del mod modVis">
          <ac:chgData name="Muchahary, Frankle" userId="0f2bf491-0617-4378-90b8-89af8fa381b9" providerId="ADAL" clId="{8E3D5D9D-CC05-4C7B-9A9C-2FFB7784C389}" dt="2024-02-06T02:40:16.080" v="1657"/>
          <ac:spMkLst>
            <pc:docMk/>
            <pc:sldMk cId="2412123713" sldId="463"/>
            <ac:spMk id="9" creationId="{3ACB64F8-EE87-3C03-DBBA-17406BAA12F2}"/>
          </ac:spMkLst>
        </pc:spChg>
        <pc:spChg chg="add del mod modVis">
          <ac:chgData name="Muchahary, Frankle" userId="0f2bf491-0617-4378-90b8-89af8fa381b9" providerId="ADAL" clId="{8E3D5D9D-CC05-4C7B-9A9C-2FFB7784C389}" dt="2024-02-06T02:40:16.869" v="1684"/>
          <ac:spMkLst>
            <pc:docMk/>
            <pc:sldMk cId="2412123713" sldId="463"/>
            <ac:spMk id="10" creationId="{E31A35D9-8DE3-8416-8E2D-001A7AB5CFD7}"/>
          </ac:spMkLst>
        </pc:spChg>
        <pc:spChg chg="add del mod modVis">
          <ac:chgData name="Muchahary, Frankle" userId="0f2bf491-0617-4378-90b8-89af8fa381b9" providerId="ADAL" clId="{8E3D5D9D-CC05-4C7B-9A9C-2FFB7784C389}" dt="2024-02-06T02:40:17.429" v="1711"/>
          <ac:spMkLst>
            <pc:docMk/>
            <pc:sldMk cId="2412123713" sldId="463"/>
            <ac:spMk id="11" creationId="{4A4294CF-24C2-2B8E-98B1-A00107D437BE}"/>
          </ac:spMkLst>
        </pc:spChg>
        <pc:spChg chg="add del mod modVis">
          <ac:chgData name="Muchahary, Frankle" userId="0f2bf491-0617-4378-90b8-89af8fa381b9" providerId="ADAL" clId="{8E3D5D9D-CC05-4C7B-9A9C-2FFB7784C389}" dt="2024-02-06T02:40:18.458" v="1739"/>
          <ac:spMkLst>
            <pc:docMk/>
            <pc:sldMk cId="2412123713" sldId="463"/>
            <ac:spMk id="12" creationId="{E0754FB2-BD22-77E2-5D52-CF0330DE7BD1}"/>
          </ac:spMkLst>
        </pc:spChg>
        <pc:spChg chg="add del mod modVis">
          <ac:chgData name="Muchahary, Frankle" userId="0f2bf491-0617-4378-90b8-89af8fa381b9" providerId="ADAL" clId="{8E3D5D9D-CC05-4C7B-9A9C-2FFB7784C389}" dt="2024-02-06T02:40:19.137" v="1767"/>
          <ac:spMkLst>
            <pc:docMk/>
            <pc:sldMk cId="2412123713" sldId="463"/>
            <ac:spMk id="13" creationId="{0AED8B09-288D-DAA3-2F2F-214B061BB14E}"/>
          </ac:spMkLst>
        </pc:spChg>
        <pc:spChg chg="add del mod modVis">
          <ac:chgData name="Muchahary, Frankle" userId="0f2bf491-0617-4378-90b8-89af8fa381b9" providerId="ADAL" clId="{8E3D5D9D-CC05-4C7B-9A9C-2FFB7784C389}" dt="2024-02-06T02:40:21.197" v="1795"/>
          <ac:spMkLst>
            <pc:docMk/>
            <pc:sldMk cId="2412123713" sldId="463"/>
            <ac:spMk id="14" creationId="{5B37614F-519C-62EC-D0E6-CEEF61D23A77}"/>
          </ac:spMkLst>
        </pc:spChg>
        <pc:spChg chg="add del mod modVis">
          <ac:chgData name="Muchahary, Frankle" userId="0f2bf491-0617-4378-90b8-89af8fa381b9" providerId="ADAL" clId="{8E3D5D9D-CC05-4C7B-9A9C-2FFB7784C389}" dt="2024-02-06T02:40:23.195" v="1828"/>
          <ac:spMkLst>
            <pc:docMk/>
            <pc:sldMk cId="2412123713" sldId="463"/>
            <ac:spMk id="15" creationId="{FE23CE13-E2C5-4739-092D-D008D11220CE}"/>
          </ac:spMkLst>
        </pc:spChg>
        <pc:graphicFrameChg chg="mod">
          <ac:chgData name="Muchahary, Frankle" userId="0f2bf491-0617-4378-90b8-89af8fa381b9" providerId="ADAL" clId="{8E3D5D9D-CC05-4C7B-9A9C-2FFB7784C389}" dt="2024-02-06T02:40:23.198" v="1830"/>
          <ac:graphicFrameMkLst>
            <pc:docMk/>
            <pc:sldMk cId="2412123713" sldId="463"/>
            <ac:graphicFrameMk id="4" creationId="{25B1B634-7179-6C95-3571-7AA1059F158E}"/>
          </ac:graphicFrameMkLst>
        </pc:graphicFrameChg>
      </pc:sldChg>
      <pc:sldChg chg="addSp delSp modSp add mod ord">
        <pc:chgData name="Muchahary, Frankle" userId="0f2bf491-0617-4378-90b8-89af8fa381b9" providerId="ADAL" clId="{8E3D5D9D-CC05-4C7B-9A9C-2FFB7784C389}" dt="2024-02-08T03:57:28.899" v="55138" actId="404"/>
        <pc:sldMkLst>
          <pc:docMk/>
          <pc:sldMk cId="1161872400" sldId="464"/>
        </pc:sldMkLst>
        <pc:spChg chg="mod">
          <ac:chgData name="Muchahary, Frankle" userId="0f2bf491-0617-4378-90b8-89af8fa381b9" providerId="ADAL" clId="{8E3D5D9D-CC05-4C7B-9A9C-2FFB7784C389}" dt="2024-02-06T03:31:48.874" v="2443" actId="20577"/>
          <ac:spMkLst>
            <pc:docMk/>
            <pc:sldMk cId="1161872400" sldId="464"/>
            <ac:spMk id="2" creationId="{826C0A73-11F2-F70D-31BC-E06BC61D8945}"/>
          </ac:spMkLst>
        </pc:spChg>
        <pc:spChg chg="del">
          <ac:chgData name="Muchahary, Frankle" userId="0f2bf491-0617-4378-90b8-89af8fa381b9" providerId="ADAL" clId="{8E3D5D9D-CC05-4C7B-9A9C-2FFB7784C389}" dt="2024-02-06T03:24:01.129" v="2284" actId="478"/>
          <ac:spMkLst>
            <pc:docMk/>
            <pc:sldMk cId="1161872400" sldId="464"/>
            <ac:spMk id="3" creationId="{962A2FA4-DB05-BEC6-AA32-809E571C24D7}"/>
          </ac:spMkLst>
        </pc:spChg>
        <pc:spChg chg="add mod">
          <ac:chgData name="Muchahary, Frankle" userId="0f2bf491-0617-4378-90b8-89af8fa381b9" providerId="ADAL" clId="{8E3D5D9D-CC05-4C7B-9A9C-2FFB7784C389}" dt="2024-02-06T03:32:36.623" v="2480" actId="1076"/>
          <ac:spMkLst>
            <pc:docMk/>
            <pc:sldMk cId="1161872400" sldId="464"/>
            <ac:spMk id="5" creationId="{A3B04BF6-4EA8-08E7-7504-409D649D2F4C}"/>
          </ac:spMkLst>
        </pc:spChg>
        <pc:spChg chg="add mod">
          <ac:chgData name="Muchahary, Frankle" userId="0f2bf491-0617-4378-90b8-89af8fa381b9" providerId="ADAL" clId="{8E3D5D9D-CC05-4C7B-9A9C-2FFB7784C389}" dt="2024-02-06T03:32:36.623" v="2480" actId="1076"/>
          <ac:spMkLst>
            <pc:docMk/>
            <pc:sldMk cId="1161872400" sldId="464"/>
            <ac:spMk id="9" creationId="{6D5282CF-E439-4943-5407-A8EBA1AF69D7}"/>
          </ac:spMkLst>
        </pc:spChg>
        <pc:spChg chg="add del mod">
          <ac:chgData name="Muchahary, Frankle" userId="0f2bf491-0617-4378-90b8-89af8fa381b9" providerId="ADAL" clId="{8E3D5D9D-CC05-4C7B-9A9C-2FFB7784C389}" dt="2024-02-06T03:26:01.688" v="2307" actId="478"/>
          <ac:spMkLst>
            <pc:docMk/>
            <pc:sldMk cId="1161872400" sldId="464"/>
            <ac:spMk id="10" creationId="{3221A966-A7C9-8F8B-F9BC-DD3C6155618F}"/>
          </ac:spMkLst>
        </pc:spChg>
        <pc:spChg chg="add del mod">
          <ac:chgData name="Muchahary, Frankle" userId="0f2bf491-0617-4378-90b8-89af8fa381b9" providerId="ADAL" clId="{8E3D5D9D-CC05-4C7B-9A9C-2FFB7784C389}" dt="2024-02-06T03:26:04.591" v="2308" actId="478"/>
          <ac:spMkLst>
            <pc:docMk/>
            <pc:sldMk cId="1161872400" sldId="464"/>
            <ac:spMk id="11" creationId="{CFC4D617-0B59-2C29-C16E-4087EF868FCD}"/>
          </ac:spMkLst>
        </pc:spChg>
        <pc:spChg chg="add del mod">
          <ac:chgData name="Muchahary, Frankle" userId="0f2bf491-0617-4378-90b8-89af8fa381b9" providerId="ADAL" clId="{8E3D5D9D-CC05-4C7B-9A9C-2FFB7784C389}" dt="2024-02-06T03:25:56.692" v="2305" actId="478"/>
          <ac:spMkLst>
            <pc:docMk/>
            <pc:sldMk cId="1161872400" sldId="464"/>
            <ac:spMk id="15" creationId="{6B4D0CAD-A83D-7D9F-9D05-15CB6824B4FB}"/>
          </ac:spMkLst>
        </pc:spChg>
        <pc:spChg chg="add del mod">
          <ac:chgData name="Muchahary, Frankle" userId="0f2bf491-0617-4378-90b8-89af8fa381b9" providerId="ADAL" clId="{8E3D5D9D-CC05-4C7B-9A9C-2FFB7784C389}" dt="2024-02-06T03:25:59.837" v="2306" actId="478"/>
          <ac:spMkLst>
            <pc:docMk/>
            <pc:sldMk cId="1161872400" sldId="464"/>
            <ac:spMk id="17" creationId="{A3AE091F-7AC1-A7F0-BC52-4712B86978D3}"/>
          </ac:spMkLst>
        </pc:spChg>
        <pc:spChg chg="add del mod">
          <ac:chgData name="Muchahary, Frankle" userId="0f2bf491-0617-4378-90b8-89af8fa381b9" providerId="ADAL" clId="{8E3D5D9D-CC05-4C7B-9A9C-2FFB7784C389}" dt="2024-02-06T03:25:51.995" v="2303" actId="478"/>
          <ac:spMkLst>
            <pc:docMk/>
            <pc:sldMk cId="1161872400" sldId="464"/>
            <ac:spMk id="22" creationId="{EA6EA4B5-836E-6B52-FFC6-B58B6DA60DFB}"/>
          </ac:spMkLst>
        </pc:spChg>
        <pc:spChg chg="add del mod">
          <ac:chgData name="Muchahary, Frankle" userId="0f2bf491-0617-4378-90b8-89af8fa381b9" providerId="ADAL" clId="{8E3D5D9D-CC05-4C7B-9A9C-2FFB7784C389}" dt="2024-02-06T03:25:54.275" v="2304" actId="478"/>
          <ac:spMkLst>
            <pc:docMk/>
            <pc:sldMk cId="1161872400" sldId="464"/>
            <ac:spMk id="23" creationId="{99836AB0-F912-A6E0-6910-5A2FEC2CA6D2}"/>
          </ac:spMkLst>
        </pc:spChg>
        <pc:spChg chg="add mod">
          <ac:chgData name="Muchahary, Frankle" userId="0f2bf491-0617-4378-90b8-89af8fa381b9" providerId="ADAL" clId="{8E3D5D9D-CC05-4C7B-9A9C-2FFB7784C389}" dt="2024-02-06T03:32:36.623" v="2480" actId="1076"/>
          <ac:spMkLst>
            <pc:docMk/>
            <pc:sldMk cId="1161872400" sldId="464"/>
            <ac:spMk id="25" creationId="{648BA966-E100-47FC-DA43-727064A7C52C}"/>
          </ac:spMkLst>
        </pc:spChg>
        <pc:spChg chg="add mod">
          <ac:chgData name="Muchahary, Frankle" userId="0f2bf491-0617-4378-90b8-89af8fa381b9" providerId="ADAL" clId="{8E3D5D9D-CC05-4C7B-9A9C-2FFB7784C389}" dt="2024-02-06T03:32:36.623" v="2480" actId="1076"/>
          <ac:spMkLst>
            <pc:docMk/>
            <pc:sldMk cId="1161872400" sldId="464"/>
            <ac:spMk id="30" creationId="{8C04DF95-7BC9-A4AB-6B4B-2E596BD4424A}"/>
          </ac:spMkLst>
        </pc:spChg>
        <pc:spChg chg="add del mod">
          <ac:chgData name="Muchahary, Frankle" userId="0f2bf491-0617-4378-90b8-89af8fa381b9" providerId="ADAL" clId="{8E3D5D9D-CC05-4C7B-9A9C-2FFB7784C389}" dt="2024-02-06T03:24:42.579" v="2298" actId="478"/>
          <ac:spMkLst>
            <pc:docMk/>
            <pc:sldMk cId="1161872400" sldId="464"/>
            <ac:spMk id="34" creationId="{D9928C74-2F0D-30F0-FA41-8A213750AA32}"/>
          </ac:spMkLst>
        </pc:spChg>
        <pc:spChg chg="add del mod">
          <ac:chgData name="Muchahary, Frankle" userId="0f2bf491-0617-4378-90b8-89af8fa381b9" providerId="ADAL" clId="{8E3D5D9D-CC05-4C7B-9A9C-2FFB7784C389}" dt="2024-02-06T03:26:11.564" v="2311" actId="478"/>
          <ac:spMkLst>
            <pc:docMk/>
            <pc:sldMk cId="1161872400" sldId="464"/>
            <ac:spMk id="36" creationId="{CE42D313-1221-C071-3CF9-A5D47C5C504D}"/>
          </ac:spMkLst>
        </pc:spChg>
        <pc:spChg chg="add del mod">
          <ac:chgData name="Muchahary, Frankle" userId="0f2bf491-0617-4378-90b8-89af8fa381b9" providerId="ADAL" clId="{8E3D5D9D-CC05-4C7B-9A9C-2FFB7784C389}" dt="2024-02-06T03:26:09.745" v="2310" actId="478"/>
          <ac:spMkLst>
            <pc:docMk/>
            <pc:sldMk cId="1161872400" sldId="464"/>
            <ac:spMk id="37" creationId="{1C1B305A-81CA-BAFB-BAD5-702A8A770F88}"/>
          </ac:spMkLst>
        </pc:spChg>
        <pc:spChg chg="add del mod">
          <ac:chgData name="Muchahary, Frankle" userId="0f2bf491-0617-4378-90b8-89af8fa381b9" providerId="ADAL" clId="{8E3D5D9D-CC05-4C7B-9A9C-2FFB7784C389}" dt="2024-02-06T03:26:07.982" v="2309" actId="478"/>
          <ac:spMkLst>
            <pc:docMk/>
            <pc:sldMk cId="1161872400" sldId="464"/>
            <ac:spMk id="38" creationId="{21BD9C26-E474-9C66-3B18-805C444877CC}"/>
          </ac:spMkLst>
        </pc:spChg>
        <pc:spChg chg="add del mod">
          <ac:chgData name="Muchahary, Frankle" userId="0f2bf491-0617-4378-90b8-89af8fa381b9" providerId="ADAL" clId="{8E3D5D9D-CC05-4C7B-9A9C-2FFB7784C389}" dt="2024-02-06T03:25:11.226" v="2301" actId="478"/>
          <ac:spMkLst>
            <pc:docMk/>
            <pc:sldMk cId="1161872400" sldId="464"/>
            <ac:spMk id="39" creationId="{F73BAC78-7E7B-E4A0-7EE1-EB3FA0390C37}"/>
          </ac:spMkLst>
        </pc:spChg>
        <pc:spChg chg="add del mod">
          <ac:chgData name="Muchahary, Frankle" userId="0f2bf491-0617-4378-90b8-89af8fa381b9" providerId="ADAL" clId="{8E3D5D9D-CC05-4C7B-9A9C-2FFB7784C389}" dt="2024-02-06T03:26:12.855" v="2312" actId="478"/>
          <ac:spMkLst>
            <pc:docMk/>
            <pc:sldMk cId="1161872400" sldId="464"/>
            <ac:spMk id="40" creationId="{08373078-1888-5E77-460C-B13DB82FA9B1}"/>
          </ac:spMkLst>
        </pc:spChg>
        <pc:spChg chg="add mod">
          <ac:chgData name="Muchahary, Frankle" userId="0f2bf491-0617-4378-90b8-89af8fa381b9" providerId="ADAL" clId="{8E3D5D9D-CC05-4C7B-9A9C-2FFB7784C389}" dt="2024-02-06T03:32:44.007" v="2481" actId="2711"/>
          <ac:spMkLst>
            <pc:docMk/>
            <pc:sldMk cId="1161872400" sldId="464"/>
            <ac:spMk id="43" creationId="{9A44DEE1-1AD1-46A6-8896-B9ED16254E56}"/>
          </ac:spMkLst>
        </pc:spChg>
        <pc:spChg chg="add mod">
          <ac:chgData name="Muchahary, Frankle" userId="0f2bf491-0617-4378-90b8-89af8fa381b9" providerId="ADAL" clId="{8E3D5D9D-CC05-4C7B-9A9C-2FFB7784C389}" dt="2024-02-06T03:32:36.623" v="2480" actId="1076"/>
          <ac:spMkLst>
            <pc:docMk/>
            <pc:sldMk cId="1161872400" sldId="464"/>
            <ac:spMk id="45" creationId="{A03145E3-6E0F-DEC6-EB56-783DF0410901}"/>
          </ac:spMkLst>
        </pc:spChg>
        <pc:spChg chg="add del mod">
          <ac:chgData name="Muchahary, Frankle" userId="0f2bf491-0617-4378-90b8-89af8fa381b9" providerId="ADAL" clId="{8E3D5D9D-CC05-4C7B-9A9C-2FFB7784C389}" dt="2024-02-06T03:24:40.331" v="2297" actId="478"/>
          <ac:spMkLst>
            <pc:docMk/>
            <pc:sldMk cId="1161872400" sldId="464"/>
            <ac:spMk id="47" creationId="{446312CF-8D48-1491-493E-1A26BFAE055B}"/>
          </ac:spMkLst>
        </pc:spChg>
        <pc:spChg chg="add del mod">
          <ac:chgData name="Muchahary, Frankle" userId="0f2bf491-0617-4378-90b8-89af8fa381b9" providerId="ADAL" clId="{8E3D5D9D-CC05-4C7B-9A9C-2FFB7784C389}" dt="2024-02-06T03:24:38.009" v="2296" actId="478"/>
          <ac:spMkLst>
            <pc:docMk/>
            <pc:sldMk cId="1161872400" sldId="464"/>
            <ac:spMk id="48" creationId="{18ABB38C-2590-DD03-7308-5C936610CF83}"/>
          </ac:spMkLst>
        </pc:spChg>
        <pc:spChg chg="add mod">
          <ac:chgData name="Muchahary, Frankle" userId="0f2bf491-0617-4378-90b8-89af8fa381b9" providerId="ADAL" clId="{8E3D5D9D-CC05-4C7B-9A9C-2FFB7784C389}" dt="2024-02-08T03:57:24.538" v="55136" actId="404"/>
          <ac:spMkLst>
            <pc:docMk/>
            <pc:sldMk cId="1161872400" sldId="464"/>
            <ac:spMk id="54" creationId="{3E34A4C5-CF61-2F2D-F8C8-829E69187329}"/>
          </ac:spMkLst>
        </pc:spChg>
        <pc:spChg chg="add mod">
          <ac:chgData name="Muchahary, Frankle" userId="0f2bf491-0617-4378-90b8-89af8fa381b9" providerId="ADAL" clId="{8E3D5D9D-CC05-4C7B-9A9C-2FFB7784C389}" dt="2024-02-08T03:57:28.899" v="55138" actId="404"/>
          <ac:spMkLst>
            <pc:docMk/>
            <pc:sldMk cId="1161872400" sldId="464"/>
            <ac:spMk id="55" creationId="{6BE2E20C-742F-64D4-19B6-5E8EF03C07A9}"/>
          </ac:spMkLst>
        </pc:spChg>
        <pc:spChg chg="add mod">
          <ac:chgData name="Muchahary, Frankle" userId="0f2bf491-0617-4378-90b8-89af8fa381b9" providerId="ADAL" clId="{8E3D5D9D-CC05-4C7B-9A9C-2FFB7784C389}" dt="2024-02-08T03:57:08.775" v="55131" actId="404"/>
          <ac:spMkLst>
            <pc:docMk/>
            <pc:sldMk cId="1161872400" sldId="464"/>
            <ac:spMk id="56" creationId="{0E093429-2E0B-D463-08B2-454F6E3A3F68}"/>
          </ac:spMkLst>
        </pc:spChg>
        <pc:spChg chg="add mod">
          <ac:chgData name="Muchahary, Frankle" userId="0f2bf491-0617-4378-90b8-89af8fa381b9" providerId="ADAL" clId="{8E3D5D9D-CC05-4C7B-9A9C-2FFB7784C389}" dt="2024-02-08T03:57:14.581" v="55134" actId="255"/>
          <ac:spMkLst>
            <pc:docMk/>
            <pc:sldMk cId="1161872400" sldId="464"/>
            <ac:spMk id="57" creationId="{8E7CD8E8-098D-2A59-8EE4-9864EE4BB88D}"/>
          </ac:spMkLst>
        </pc:spChg>
        <pc:spChg chg="add mod">
          <ac:chgData name="Muchahary, Frankle" userId="0f2bf491-0617-4378-90b8-89af8fa381b9" providerId="ADAL" clId="{8E3D5D9D-CC05-4C7B-9A9C-2FFB7784C389}" dt="2024-02-06T03:29:57.957" v="2402" actId="571"/>
          <ac:spMkLst>
            <pc:docMk/>
            <pc:sldMk cId="1161872400" sldId="464"/>
            <ac:spMk id="58" creationId="{820C40B6-B943-CDA5-5364-66AFBA132ACD}"/>
          </ac:spMkLst>
        </pc:spChg>
        <pc:spChg chg="add mod">
          <ac:chgData name="Muchahary, Frankle" userId="0f2bf491-0617-4378-90b8-89af8fa381b9" providerId="ADAL" clId="{8E3D5D9D-CC05-4C7B-9A9C-2FFB7784C389}" dt="2024-02-06T03:29:57.957" v="2402" actId="571"/>
          <ac:spMkLst>
            <pc:docMk/>
            <pc:sldMk cId="1161872400" sldId="464"/>
            <ac:spMk id="59" creationId="{F19E1C42-707D-5928-0C0F-8316566C1F56}"/>
          </ac:spMkLst>
        </pc:spChg>
        <pc:spChg chg="add mod">
          <ac:chgData name="Muchahary, Frankle" userId="0f2bf491-0617-4378-90b8-89af8fa381b9" providerId="ADAL" clId="{8E3D5D9D-CC05-4C7B-9A9C-2FFB7784C389}" dt="2024-02-06T03:29:57.957" v="2402" actId="571"/>
          <ac:spMkLst>
            <pc:docMk/>
            <pc:sldMk cId="1161872400" sldId="464"/>
            <ac:spMk id="60" creationId="{AF4D2C3D-78C8-AE5D-BCE3-859052727A91}"/>
          </ac:spMkLst>
        </pc:spChg>
        <pc:spChg chg="add mod">
          <ac:chgData name="Muchahary, Frankle" userId="0f2bf491-0617-4378-90b8-89af8fa381b9" providerId="ADAL" clId="{8E3D5D9D-CC05-4C7B-9A9C-2FFB7784C389}" dt="2024-02-06T03:29:57.957" v="2402" actId="571"/>
          <ac:spMkLst>
            <pc:docMk/>
            <pc:sldMk cId="1161872400" sldId="464"/>
            <ac:spMk id="61" creationId="{87479C39-347A-E458-DC5E-AFFFAA401609}"/>
          </ac:spMkLst>
        </pc:spChg>
        <pc:grpChg chg="add mod">
          <ac:chgData name="Muchahary, Frankle" userId="0f2bf491-0617-4378-90b8-89af8fa381b9" providerId="ADAL" clId="{8E3D5D9D-CC05-4C7B-9A9C-2FFB7784C389}" dt="2024-02-06T03:32:36.623" v="2480" actId="1076"/>
          <ac:grpSpMkLst>
            <pc:docMk/>
            <pc:sldMk cId="1161872400" sldId="464"/>
            <ac:grpSpMk id="51" creationId="{FBFB7327-A65A-87D2-581E-427A42DF8668}"/>
          </ac:grpSpMkLst>
        </pc:grpChg>
        <pc:grpChg chg="del">
          <ac:chgData name="Muchahary, Frankle" userId="0f2bf491-0617-4378-90b8-89af8fa381b9" providerId="ADAL" clId="{8E3D5D9D-CC05-4C7B-9A9C-2FFB7784C389}" dt="2024-02-06T03:23:57.253" v="2283" actId="478"/>
          <ac:grpSpMkLst>
            <pc:docMk/>
            <pc:sldMk cId="1161872400" sldId="464"/>
            <ac:grpSpMk id="53" creationId="{CCDF4ED1-2F75-9949-97F7-F249CFBF53A5}"/>
          </ac:grpSpMkLst>
        </pc:grpChg>
      </pc:sldChg>
      <pc:sldChg chg="addSp delSp modSp add mod">
        <pc:chgData name="Muchahary, Frankle" userId="0f2bf491-0617-4378-90b8-89af8fa381b9" providerId="ADAL" clId="{8E3D5D9D-CC05-4C7B-9A9C-2FFB7784C389}" dt="2024-02-08T03:57:39.496" v="55142" actId="404"/>
        <pc:sldMkLst>
          <pc:docMk/>
          <pc:sldMk cId="773538737" sldId="465"/>
        </pc:sldMkLst>
        <pc:spChg chg="mod ord">
          <ac:chgData name="Muchahary, Frankle" userId="0f2bf491-0617-4378-90b8-89af8fa381b9" providerId="ADAL" clId="{8E3D5D9D-CC05-4C7B-9A9C-2FFB7784C389}" dt="2024-02-08T03:28:46.670" v="53752" actId="20577"/>
          <ac:spMkLst>
            <pc:docMk/>
            <pc:sldMk cId="773538737" sldId="465"/>
            <ac:spMk id="2" creationId="{A69DF033-5A89-C24A-59AC-1A40B7057136}"/>
          </ac:spMkLst>
        </pc:spChg>
        <pc:spChg chg="add mod ord">
          <ac:chgData name="Muchahary, Frankle" userId="0f2bf491-0617-4378-90b8-89af8fa381b9" providerId="ADAL" clId="{8E3D5D9D-CC05-4C7B-9A9C-2FFB7784C389}" dt="2024-02-08T03:24:31.504" v="53547" actId="20577"/>
          <ac:spMkLst>
            <pc:docMk/>
            <pc:sldMk cId="773538737" sldId="465"/>
            <ac:spMk id="3" creationId="{FA486285-85CE-19F7-F98B-34DF72348331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5" creationId="{EEF3B4AF-949C-5A2C-0248-E4AEA3EECAF0}"/>
          </ac:spMkLst>
        </pc:spChg>
        <pc:spChg chg="add mod">
          <ac:chgData name="Muchahary, Frankle" userId="0f2bf491-0617-4378-90b8-89af8fa381b9" providerId="ADAL" clId="{8E3D5D9D-CC05-4C7B-9A9C-2FFB7784C389}" dt="2024-02-08T03:12:58.828" v="53100" actId="1076"/>
          <ac:spMkLst>
            <pc:docMk/>
            <pc:sldMk cId="773538737" sldId="465"/>
            <ac:spMk id="6" creationId="{288DD4B7-3DC7-0FD5-3613-D64203676DED}"/>
          </ac:spMkLst>
        </pc:spChg>
        <pc:spChg chg="mod ord">
          <ac:chgData name="Muchahary, Frankle" userId="0f2bf491-0617-4378-90b8-89af8fa381b9" providerId="ADAL" clId="{8E3D5D9D-CC05-4C7B-9A9C-2FFB7784C389}" dt="2024-02-06T04:06:40.086" v="2499"/>
          <ac:spMkLst>
            <pc:docMk/>
            <pc:sldMk cId="773538737" sldId="465"/>
            <ac:spMk id="7" creationId="{95000245-5B13-BD59-4B36-07FDF1CF5FF7}"/>
          </ac:spMkLst>
        </pc:spChg>
        <pc:spChg chg="add mod">
          <ac:chgData name="Muchahary, Frankle" userId="0f2bf491-0617-4378-90b8-89af8fa381b9" providerId="ADAL" clId="{8E3D5D9D-CC05-4C7B-9A9C-2FFB7784C389}" dt="2024-02-08T03:12:58.828" v="53100" actId="1076"/>
          <ac:spMkLst>
            <pc:docMk/>
            <pc:sldMk cId="773538737" sldId="465"/>
            <ac:spMk id="8" creationId="{E593F466-AEE6-79AE-4CA5-780047DD4815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9" creationId="{8F57A53B-D749-4B0B-A19E-791821C2D01B}"/>
          </ac:spMkLst>
        </pc:spChg>
        <pc:spChg chg="add mod">
          <ac:chgData name="Muchahary, Frankle" userId="0f2bf491-0617-4378-90b8-89af8fa381b9" providerId="ADAL" clId="{8E3D5D9D-CC05-4C7B-9A9C-2FFB7784C389}" dt="2024-02-08T03:12:58.828" v="53100" actId="1076"/>
          <ac:spMkLst>
            <pc:docMk/>
            <pc:sldMk cId="773538737" sldId="465"/>
            <ac:spMk id="11" creationId="{BBDBAF8C-41D2-18C8-95D4-34DF1FE28D88}"/>
          </ac:spMkLst>
        </pc:spChg>
        <pc:spChg chg="add mod">
          <ac:chgData name="Muchahary, Frankle" userId="0f2bf491-0617-4378-90b8-89af8fa381b9" providerId="ADAL" clId="{8E3D5D9D-CC05-4C7B-9A9C-2FFB7784C389}" dt="2024-02-08T03:12:58.828" v="53100" actId="1076"/>
          <ac:spMkLst>
            <pc:docMk/>
            <pc:sldMk cId="773538737" sldId="465"/>
            <ac:spMk id="12" creationId="{9174E3C1-2A2F-BBF3-738D-6B55FAE5058A}"/>
          </ac:spMkLst>
        </pc:spChg>
        <pc:spChg chg="add mod">
          <ac:chgData name="Muchahary, Frankle" userId="0f2bf491-0617-4378-90b8-89af8fa381b9" providerId="ADAL" clId="{8E3D5D9D-CC05-4C7B-9A9C-2FFB7784C389}" dt="2024-02-08T03:57:39.496" v="55142" actId="404"/>
          <ac:spMkLst>
            <pc:docMk/>
            <pc:sldMk cId="773538737" sldId="465"/>
            <ac:spMk id="13" creationId="{FB3C763B-FB45-DCBC-6A4C-8BD30223612D}"/>
          </ac:spMkLst>
        </pc:spChg>
        <pc:spChg chg="add mod">
          <ac:chgData name="Muchahary, Frankle" userId="0f2bf491-0617-4378-90b8-89af8fa381b9" providerId="ADAL" clId="{8E3D5D9D-CC05-4C7B-9A9C-2FFB7784C389}" dt="2024-02-08T03:57:36.110" v="55140" actId="404"/>
          <ac:spMkLst>
            <pc:docMk/>
            <pc:sldMk cId="773538737" sldId="465"/>
            <ac:spMk id="15" creationId="{607817BC-1ED1-39FF-2BA1-9B7956C0B878}"/>
          </ac:spMkLst>
        </pc:spChg>
        <pc:spChg chg="add mod">
          <ac:chgData name="Muchahary, Frankle" userId="0f2bf491-0617-4378-90b8-89af8fa381b9" providerId="ADAL" clId="{8E3D5D9D-CC05-4C7B-9A9C-2FFB7784C389}" dt="2024-02-08T03:38:15.839" v="54165" actId="207"/>
          <ac:spMkLst>
            <pc:docMk/>
            <pc:sldMk cId="773538737" sldId="465"/>
            <ac:spMk id="16" creationId="{F141E32F-B7FB-A1A4-57FA-FF4E0FCBCA4B}"/>
          </ac:spMkLst>
        </pc:spChg>
        <pc:spChg chg="add mod">
          <ac:chgData name="Muchahary, Frankle" userId="0f2bf491-0617-4378-90b8-89af8fa381b9" providerId="ADAL" clId="{8E3D5D9D-CC05-4C7B-9A9C-2FFB7784C389}" dt="2024-02-08T03:30:10.445" v="53836" actId="207"/>
          <ac:spMkLst>
            <pc:docMk/>
            <pc:sldMk cId="773538737" sldId="465"/>
            <ac:spMk id="17" creationId="{1AD18380-5EA1-9FC9-7484-CE2A4191CEE1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25" creationId="{B06B8537-8368-B569-1746-3FB21B728D6E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30" creationId="{60898135-094A-A64A-F7F5-2C06A27F6A65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43" creationId="{852E9A1A-B17C-3989-0F6B-ADAC82E1ACF3}"/>
          </ac:spMkLst>
        </pc:spChg>
        <pc:spChg chg="mod">
          <ac:chgData name="Muchahary, Frankle" userId="0f2bf491-0617-4378-90b8-89af8fa381b9" providerId="ADAL" clId="{8E3D5D9D-CC05-4C7B-9A9C-2FFB7784C389}" dt="2024-02-06T04:04:57.706" v="2484" actId="1076"/>
          <ac:spMkLst>
            <pc:docMk/>
            <pc:sldMk cId="773538737" sldId="465"/>
            <ac:spMk id="45" creationId="{5332C7FA-932F-0A8D-FC06-C947224E5449}"/>
          </ac:spMkLst>
        </pc:spChg>
        <pc:spChg chg="add del mod ord">
          <ac:chgData name="Muchahary, Frankle" userId="0f2bf491-0617-4378-90b8-89af8fa381b9" providerId="ADAL" clId="{8E3D5D9D-CC05-4C7B-9A9C-2FFB7784C389}" dt="2024-02-08T03:13:19.074" v="53105" actId="478"/>
          <ac:spMkLst>
            <pc:docMk/>
            <pc:sldMk cId="773538737" sldId="465"/>
            <ac:spMk id="54" creationId="{226E5071-91F1-B63A-EAAC-10D4BE99F94D}"/>
          </ac:spMkLst>
        </pc:spChg>
        <pc:spChg chg="add del mod ord">
          <ac:chgData name="Muchahary, Frankle" userId="0f2bf491-0617-4378-90b8-89af8fa381b9" providerId="ADAL" clId="{8E3D5D9D-CC05-4C7B-9A9C-2FFB7784C389}" dt="2024-02-08T03:13:19.074" v="53105" actId="478"/>
          <ac:spMkLst>
            <pc:docMk/>
            <pc:sldMk cId="773538737" sldId="465"/>
            <ac:spMk id="55" creationId="{744C9364-C133-D47C-EBA9-7D65191D5BFA}"/>
          </ac:spMkLst>
        </pc:spChg>
        <pc:spChg chg="add del mod ord">
          <ac:chgData name="Muchahary, Frankle" userId="0f2bf491-0617-4378-90b8-89af8fa381b9" providerId="ADAL" clId="{8E3D5D9D-CC05-4C7B-9A9C-2FFB7784C389}" dt="2024-02-08T03:13:19.074" v="53105" actId="478"/>
          <ac:spMkLst>
            <pc:docMk/>
            <pc:sldMk cId="773538737" sldId="465"/>
            <ac:spMk id="56" creationId="{71E7EEBF-D1D6-1F32-7B20-555DC1489746}"/>
          </ac:spMkLst>
        </pc:spChg>
        <pc:spChg chg="add del mod ord">
          <ac:chgData name="Muchahary, Frankle" userId="0f2bf491-0617-4378-90b8-89af8fa381b9" providerId="ADAL" clId="{8E3D5D9D-CC05-4C7B-9A9C-2FFB7784C389}" dt="2024-02-08T03:13:19.074" v="53105" actId="478"/>
          <ac:spMkLst>
            <pc:docMk/>
            <pc:sldMk cId="773538737" sldId="465"/>
            <ac:spMk id="57" creationId="{B8C6827A-D1AD-0DC6-6625-81935609AB07}"/>
          </ac:spMkLst>
        </pc:spChg>
        <pc:grpChg chg="add mod">
          <ac:chgData name="Muchahary, Frankle" userId="0f2bf491-0617-4378-90b8-89af8fa381b9" providerId="ADAL" clId="{8E3D5D9D-CC05-4C7B-9A9C-2FFB7784C389}" dt="2024-02-08T03:25:15.893" v="53553" actId="14861"/>
          <ac:grpSpMkLst>
            <pc:docMk/>
            <pc:sldMk cId="773538737" sldId="465"/>
            <ac:grpSpMk id="10" creationId="{06FF313A-3823-414C-5DB5-9D380DEF148E}"/>
          </ac:grpSpMkLst>
        </pc:grpChg>
        <pc:grpChg chg="mod">
          <ac:chgData name="Muchahary, Frankle" userId="0f2bf491-0617-4378-90b8-89af8fa381b9" providerId="ADAL" clId="{8E3D5D9D-CC05-4C7B-9A9C-2FFB7784C389}" dt="2024-02-06T04:06:40.087" v="2500"/>
          <ac:grpSpMkLst>
            <pc:docMk/>
            <pc:sldMk cId="773538737" sldId="465"/>
            <ac:grpSpMk id="51" creationId="{095F51C4-6495-5CD1-FD15-89253D97C0F9}"/>
          </ac:grpSpMkLst>
        </pc:grpChg>
        <pc:graphicFrameChg chg="mod">
          <ac:chgData name="Muchahary, Frankle" userId="0f2bf491-0617-4378-90b8-89af8fa381b9" providerId="ADAL" clId="{8E3D5D9D-CC05-4C7B-9A9C-2FFB7784C389}" dt="2024-02-06T04:06:40.095" v="2514"/>
          <ac:graphicFrameMkLst>
            <pc:docMk/>
            <pc:sldMk cId="773538737" sldId="465"/>
            <ac:graphicFrameMk id="14" creationId="{7F30DE4A-BFA6-9B44-6A78-EDB07C8436A3}"/>
          </ac:graphicFrameMkLst>
        </pc:graphicFrameChg>
        <pc:cxnChg chg="add mod ord">
          <ac:chgData name="Muchahary, Frankle" userId="0f2bf491-0617-4378-90b8-89af8fa381b9" providerId="ADAL" clId="{8E3D5D9D-CC05-4C7B-9A9C-2FFB7784C389}" dt="2024-02-08T03:16:37.052" v="53150" actId="1582"/>
          <ac:cxnSpMkLst>
            <pc:docMk/>
            <pc:sldMk cId="773538737" sldId="465"/>
            <ac:cxnSpMk id="4" creationId="{9214011D-4FB1-ABEE-6415-A35C20B4CAAD}"/>
          </ac:cxnSpMkLst>
        </pc:cxnChg>
      </pc:sldChg>
      <pc:sldChg chg="addSp delSp modSp add mod">
        <pc:chgData name="Muchahary, Frankle" userId="0f2bf491-0617-4378-90b8-89af8fa381b9" providerId="ADAL" clId="{8E3D5D9D-CC05-4C7B-9A9C-2FFB7784C389}" dt="2024-02-08T03:57:50.252" v="55146" actId="404"/>
        <pc:sldMkLst>
          <pc:docMk/>
          <pc:sldMk cId="309938798" sldId="466"/>
        </pc:sldMkLst>
        <pc:spChg chg="mod ord">
          <ac:chgData name="Muchahary, Frankle" userId="0f2bf491-0617-4378-90b8-89af8fa381b9" providerId="ADAL" clId="{8E3D5D9D-CC05-4C7B-9A9C-2FFB7784C389}" dt="2024-02-08T03:28:37.919" v="53749" actId="20577"/>
          <ac:spMkLst>
            <pc:docMk/>
            <pc:sldMk cId="309938798" sldId="466"/>
            <ac:spMk id="2" creationId="{FE79A1F7-8A04-78E7-3E3F-6422E8E7D564}"/>
          </ac:spMkLst>
        </pc:spChg>
        <pc:spChg chg="mod">
          <ac:chgData name="Muchahary, Frankle" userId="0f2bf491-0617-4378-90b8-89af8fa381b9" providerId="ADAL" clId="{8E3D5D9D-CC05-4C7B-9A9C-2FFB7784C389}" dt="2024-02-08T03:25:04.620" v="53552" actId="14861"/>
          <ac:spMkLst>
            <pc:docMk/>
            <pc:sldMk cId="309938798" sldId="466"/>
            <ac:spMk id="3" creationId="{957F8758-D5EE-E518-371A-4D73E0096360}"/>
          </ac:spMkLst>
        </pc:spChg>
        <pc:spChg chg="add del mod">
          <ac:chgData name="Muchahary, Frankle" userId="0f2bf491-0617-4378-90b8-89af8fa381b9" providerId="ADAL" clId="{8E3D5D9D-CC05-4C7B-9A9C-2FFB7784C389}" dt="2024-02-08T03:13:36.488" v="53109" actId="478"/>
          <ac:spMkLst>
            <pc:docMk/>
            <pc:sldMk cId="309938798" sldId="466"/>
            <ac:spMk id="6" creationId="{7C124073-9828-E517-974D-0435DF60BE2D}"/>
          </ac:spMkLst>
        </pc:spChg>
        <pc:spChg chg="mod ord">
          <ac:chgData name="Muchahary, Frankle" userId="0f2bf491-0617-4378-90b8-89af8fa381b9" providerId="ADAL" clId="{8E3D5D9D-CC05-4C7B-9A9C-2FFB7784C389}" dt="2024-02-08T03:15:29.392" v="53131"/>
          <ac:spMkLst>
            <pc:docMk/>
            <pc:sldMk cId="309938798" sldId="466"/>
            <ac:spMk id="7" creationId="{FCA4D2BE-6906-7B9C-DC26-FAE09FCBC7E7}"/>
          </ac:spMkLst>
        </pc:spChg>
        <pc:spChg chg="add del mod">
          <ac:chgData name="Muchahary, Frankle" userId="0f2bf491-0617-4378-90b8-89af8fa381b9" providerId="ADAL" clId="{8E3D5D9D-CC05-4C7B-9A9C-2FFB7784C389}" dt="2024-02-08T03:13:36.488" v="53109" actId="478"/>
          <ac:spMkLst>
            <pc:docMk/>
            <pc:sldMk cId="309938798" sldId="466"/>
            <ac:spMk id="8" creationId="{DC7CE98B-9473-A6FD-E52E-587860E7E51D}"/>
          </ac:spMkLst>
        </pc:spChg>
        <pc:spChg chg="add del mod">
          <ac:chgData name="Muchahary, Frankle" userId="0f2bf491-0617-4378-90b8-89af8fa381b9" providerId="ADAL" clId="{8E3D5D9D-CC05-4C7B-9A9C-2FFB7784C389}" dt="2024-02-08T03:13:36.488" v="53109" actId="478"/>
          <ac:spMkLst>
            <pc:docMk/>
            <pc:sldMk cId="309938798" sldId="466"/>
            <ac:spMk id="11" creationId="{FBD465CD-FFEC-B610-CF91-AC92E2506F1E}"/>
          </ac:spMkLst>
        </pc:spChg>
        <pc:spChg chg="add del mod">
          <ac:chgData name="Muchahary, Frankle" userId="0f2bf491-0617-4378-90b8-89af8fa381b9" providerId="ADAL" clId="{8E3D5D9D-CC05-4C7B-9A9C-2FFB7784C389}" dt="2024-02-08T03:13:36.488" v="53109" actId="478"/>
          <ac:spMkLst>
            <pc:docMk/>
            <pc:sldMk cId="309938798" sldId="466"/>
            <ac:spMk id="12" creationId="{C7B32F4A-B679-463A-C07E-F05F6A7F9527}"/>
          </ac:spMkLst>
        </pc:spChg>
        <pc:spChg chg="add mod ord">
          <ac:chgData name="Muchahary, Frankle" userId="0f2bf491-0617-4378-90b8-89af8fa381b9" providerId="ADAL" clId="{8E3D5D9D-CC05-4C7B-9A9C-2FFB7784C389}" dt="2024-02-08T03:57:46.617" v="55144" actId="404"/>
          <ac:spMkLst>
            <pc:docMk/>
            <pc:sldMk cId="309938798" sldId="466"/>
            <ac:spMk id="13" creationId="{E6E9176E-644A-8EB5-60D1-DA82EFAAB571}"/>
          </ac:spMkLst>
        </pc:spChg>
        <pc:spChg chg="add mod ord">
          <ac:chgData name="Muchahary, Frankle" userId="0f2bf491-0617-4378-90b8-89af8fa381b9" providerId="ADAL" clId="{8E3D5D9D-CC05-4C7B-9A9C-2FFB7784C389}" dt="2024-02-08T03:57:50.252" v="55146" actId="404"/>
          <ac:spMkLst>
            <pc:docMk/>
            <pc:sldMk cId="309938798" sldId="466"/>
            <ac:spMk id="15" creationId="{4946D128-8E64-6ABF-83BC-711738512358}"/>
          </ac:spMkLst>
        </pc:spChg>
        <pc:spChg chg="add mod ord">
          <ac:chgData name="Muchahary, Frankle" userId="0f2bf491-0617-4378-90b8-89af8fa381b9" providerId="ADAL" clId="{8E3D5D9D-CC05-4C7B-9A9C-2FFB7784C389}" dt="2024-02-08T03:38:19.306" v="54166" actId="207"/>
          <ac:spMkLst>
            <pc:docMk/>
            <pc:sldMk cId="309938798" sldId="466"/>
            <ac:spMk id="16" creationId="{AA305EB7-1BEA-B847-5148-699B93694BE3}"/>
          </ac:spMkLst>
        </pc:spChg>
        <pc:spChg chg="add mod ord">
          <ac:chgData name="Muchahary, Frankle" userId="0f2bf491-0617-4378-90b8-89af8fa381b9" providerId="ADAL" clId="{8E3D5D9D-CC05-4C7B-9A9C-2FFB7784C389}" dt="2024-02-08T03:30:07.586" v="53835" actId="207"/>
          <ac:spMkLst>
            <pc:docMk/>
            <pc:sldMk cId="309938798" sldId="466"/>
            <ac:spMk id="17" creationId="{EE12FAB4-9B87-968F-9993-CC3E4C72EF1E}"/>
          </ac:spMkLst>
        </pc:spChg>
        <pc:spChg chg="del mod ord">
          <ac:chgData name="Muchahary, Frankle" userId="0f2bf491-0617-4378-90b8-89af8fa381b9" providerId="ADAL" clId="{8E3D5D9D-CC05-4C7B-9A9C-2FFB7784C389}" dt="2024-02-08T03:13:39.224" v="53110" actId="478"/>
          <ac:spMkLst>
            <pc:docMk/>
            <pc:sldMk cId="309938798" sldId="466"/>
            <ac:spMk id="54" creationId="{C50FA552-2858-5A75-4F83-804FC4DA0975}"/>
          </ac:spMkLst>
        </pc:spChg>
        <pc:spChg chg="del mod ord">
          <ac:chgData name="Muchahary, Frankle" userId="0f2bf491-0617-4378-90b8-89af8fa381b9" providerId="ADAL" clId="{8E3D5D9D-CC05-4C7B-9A9C-2FFB7784C389}" dt="2024-02-08T03:13:39.224" v="53110" actId="478"/>
          <ac:spMkLst>
            <pc:docMk/>
            <pc:sldMk cId="309938798" sldId="466"/>
            <ac:spMk id="55" creationId="{5052E216-02A3-76FC-382E-4C51547A5C5C}"/>
          </ac:spMkLst>
        </pc:spChg>
        <pc:spChg chg="del mod ord">
          <ac:chgData name="Muchahary, Frankle" userId="0f2bf491-0617-4378-90b8-89af8fa381b9" providerId="ADAL" clId="{8E3D5D9D-CC05-4C7B-9A9C-2FFB7784C389}" dt="2024-02-08T03:13:39.224" v="53110" actId="478"/>
          <ac:spMkLst>
            <pc:docMk/>
            <pc:sldMk cId="309938798" sldId="466"/>
            <ac:spMk id="56" creationId="{4C7B1938-1849-491A-1FB3-097B4670DE44}"/>
          </ac:spMkLst>
        </pc:spChg>
        <pc:spChg chg="del mod ord">
          <ac:chgData name="Muchahary, Frankle" userId="0f2bf491-0617-4378-90b8-89af8fa381b9" providerId="ADAL" clId="{8E3D5D9D-CC05-4C7B-9A9C-2FFB7784C389}" dt="2024-02-08T03:13:39.224" v="53110" actId="478"/>
          <ac:spMkLst>
            <pc:docMk/>
            <pc:sldMk cId="309938798" sldId="466"/>
            <ac:spMk id="57" creationId="{CD5D2126-3B4A-B093-8F05-EC0F195D0A6C}"/>
          </ac:spMkLst>
        </pc:spChg>
        <pc:grpChg chg="mod ord">
          <ac:chgData name="Muchahary, Frankle" userId="0f2bf491-0617-4378-90b8-89af8fa381b9" providerId="ADAL" clId="{8E3D5D9D-CC05-4C7B-9A9C-2FFB7784C389}" dt="2024-02-08T03:15:29.394" v="53134"/>
          <ac:grpSpMkLst>
            <pc:docMk/>
            <pc:sldMk cId="309938798" sldId="466"/>
            <ac:grpSpMk id="10" creationId="{A6AFCE13-6210-DDF0-AA44-8B6102BFA3F6}"/>
          </ac:grpSpMkLst>
        </pc:grpChg>
        <pc:grpChg chg="mod">
          <ac:chgData name="Muchahary, Frankle" userId="0f2bf491-0617-4378-90b8-89af8fa381b9" providerId="ADAL" clId="{8E3D5D9D-CC05-4C7B-9A9C-2FFB7784C389}" dt="2024-02-08T03:15:29.393" v="53132"/>
          <ac:grpSpMkLst>
            <pc:docMk/>
            <pc:sldMk cId="309938798" sldId="466"/>
            <ac:grpSpMk id="51" creationId="{E30AD85F-F088-22B7-8281-2FED45C389F8}"/>
          </ac:grpSpMkLst>
        </pc:grpChg>
        <pc:graphicFrameChg chg="mod">
          <ac:chgData name="Muchahary, Frankle" userId="0f2bf491-0617-4378-90b8-89af8fa381b9" providerId="ADAL" clId="{8E3D5D9D-CC05-4C7B-9A9C-2FFB7784C389}" dt="2024-02-08T03:15:29.401" v="53144"/>
          <ac:graphicFrameMkLst>
            <pc:docMk/>
            <pc:sldMk cId="309938798" sldId="466"/>
            <ac:graphicFrameMk id="14" creationId="{FA6EC44C-816D-C3E0-F809-05D9A7BB15B0}"/>
          </ac:graphicFrameMkLst>
        </pc:graphicFrameChg>
        <pc:cxnChg chg="mod">
          <ac:chgData name="Muchahary, Frankle" userId="0f2bf491-0617-4378-90b8-89af8fa381b9" providerId="ADAL" clId="{8E3D5D9D-CC05-4C7B-9A9C-2FFB7784C389}" dt="2024-02-08T03:16:05.718" v="53148" actId="1582"/>
          <ac:cxnSpMkLst>
            <pc:docMk/>
            <pc:sldMk cId="309938798" sldId="466"/>
            <ac:cxnSpMk id="4" creationId="{9C5FE1B1-430D-9475-B697-B0A682B0F528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487745011" sldId="466"/>
        </pc:sldMkLst>
      </pc:sldChg>
      <pc:sldChg chg="modSp add del mod">
        <pc:chgData name="Muchahary, Frankle" userId="0f2bf491-0617-4378-90b8-89af8fa381b9" providerId="ADAL" clId="{8E3D5D9D-CC05-4C7B-9A9C-2FFB7784C389}" dt="2024-02-06T04:09:02.524" v="2565" actId="47"/>
        <pc:sldMkLst>
          <pc:docMk/>
          <pc:sldMk cId="3572162096" sldId="466"/>
        </pc:sldMkLst>
        <pc:spChg chg="mod ord">
          <ac:chgData name="Muchahary, Frankle" userId="0f2bf491-0617-4378-90b8-89af8fa381b9" providerId="ADAL" clId="{8E3D5D9D-CC05-4C7B-9A9C-2FFB7784C389}" dt="2024-02-06T04:07:46.466" v="2540"/>
          <ac:spMkLst>
            <pc:docMk/>
            <pc:sldMk cId="3572162096" sldId="466"/>
            <ac:spMk id="2" creationId="{EA1F3D2D-CC1C-6319-A5F3-94D33F1974B5}"/>
          </ac:spMkLst>
        </pc:spChg>
        <pc:spChg chg="mod">
          <ac:chgData name="Muchahary, Frankle" userId="0f2bf491-0617-4378-90b8-89af8fa381b9" providerId="ADAL" clId="{8E3D5D9D-CC05-4C7B-9A9C-2FFB7784C389}" dt="2024-02-06T04:08:04.209" v="2561" actId="1076"/>
          <ac:spMkLst>
            <pc:docMk/>
            <pc:sldMk cId="3572162096" sldId="466"/>
            <ac:spMk id="3" creationId="{F190E36D-B4EB-2E7C-EA4A-377719E65F3B}"/>
          </ac:spMkLst>
        </pc:spChg>
        <pc:spChg chg="mod ord">
          <ac:chgData name="Muchahary, Frankle" userId="0f2bf491-0617-4378-90b8-89af8fa381b9" providerId="ADAL" clId="{8E3D5D9D-CC05-4C7B-9A9C-2FFB7784C389}" dt="2024-02-06T04:07:46.468" v="2542"/>
          <ac:spMkLst>
            <pc:docMk/>
            <pc:sldMk cId="3572162096" sldId="466"/>
            <ac:spMk id="7" creationId="{55C04DFF-E2FB-7CD3-81A7-81B6264269AC}"/>
          </ac:spMkLst>
        </pc:spChg>
        <pc:spChg chg="mod ord">
          <ac:chgData name="Muchahary, Frankle" userId="0f2bf491-0617-4378-90b8-89af8fa381b9" providerId="ADAL" clId="{8E3D5D9D-CC05-4C7B-9A9C-2FFB7784C389}" dt="2024-02-06T04:08:36.759" v="2564" actId="207"/>
          <ac:spMkLst>
            <pc:docMk/>
            <pc:sldMk cId="3572162096" sldId="466"/>
            <ac:spMk id="54" creationId="{496C2CBC-BC7F-1554-CD91-217CC84A586D}"/>
          </ac:spMkLst>
        </pc:spChg>
        <pc:spChg chg="mod ord">
          <ac:chgData name="Muchahary, Frankle" userId="0f2bf491-0617-4378-90b8-89af8fa381b9" providerId="ADAL" clId="{8E3D5D9D-CC05-4C7B-9A9C-2FFB7784C389}" dt="2024-02-06T04:07:53.380" v="2558" actId="207"/>
          <ac:spMkLst>
            <pc:docMk/>
            <pc:sldMk cId="3572162096" sldId="466"/>
            <ac:spMk id="55" creationId="{542D5CD3-224B-82C9-85F7-8EB1CBB4AD34}"/>
          </ac:spMkLst>
        </pc:spChg>
        <pc:spChg chg="mod ord">
          <ac:chgData name="Muchahary, Frankle" userId="0f2bf491-0617-4378-90b8-89af8fa381b9" providerId="ADAL" clId="{8E3D5D9D-CC05-4C7B-9A9C-2FFB7784C389}" dt="2024-02-06T04:07:46.472" v="2549"/>
          <ac:spMkLst>
            <pc:docMk/>
            <pc:sldMk cId="3572162096" sldId="466"/>
            <ac:spMk id="56" creationId="{2CC8B8D0-0CC9-86F7-E21A-2F63FA6766DC}"/>
          </ac:spMkLst>
        </pc:spChg>
        <pc:spChg chg="mod ord">
          <ac:chgData name="Muchahary, Frankle" userId="0f2bf491-0617-4378-90b8-89af8fa381b9" providerId="ADAL" clId="{8E3D5D9D-CC05-4C7B-9A9C-2FFB7784C389}" dt="2024-02-06T04:07:46.473" v="2551"/>
          <ac:spMkLst>
            <pc:docMk/>
            <pc:sldMk cId="3572162096" sldId="466"/>
            <ac:spMk id="57" creationId="{99F84E24-19A6-14E1-4A55-DDE524174A73}"/>
          </ac:spMkLst>
        </pc:spChg>
        <pc:grpChg chg="mod ord">
          <ac:chgData name="Muchahary, Frankle" userId="0f2bf491-0617-4378-90b8-89af8fa381b9" providerId="ADAL" clId="{8E3D5D9D-CC05-4C7B-9A9C-2FFB7784C389}" dt="2024-02-06T04:07:57.674" v="2559" actId="1076"/>
          <ac:grpSpMkLst>
            <pc:docMk/>
            <pc:sldMk cId="3572162096" sldId="466"/>
            <ac:grpSpMk id="10" creationId="{C6DC5461-03D8-1C53-ADE9-09B747FE508A}"/>
          </ac:grpSpMkLst>
        </pc:grpChg>
        <pc:grpChg chg="mod">
          <ac:chgData name="Muchahary, Frankle" userId="0f2bf491-0617-4378-90b8-89af8fa381b9" providerId="ADAL" clId="{8E3D5D9D-CC05-4C7B-9A9C-2FFB7784C389}" dt="2024-02-06T04:07:46.469" v="2543"/>
          <ac:grpSpMkLst>
            <pc:docMk/>
            <pc:sldMk cId="3572162096" sldId="466"/>
            <ac:grpSpMk id="51" creationId="{456011B0-BC67-9312-40FC-5A0D4C288CE6}"/>
          </ac:grpSpMkLst>
        </pc:grpChg>
        <pc:graphicFrameChg chg="mod">
          <ac:chgData name="Muchahary, Frankle" userId="0f2bf491-0617-4378-90b8-89af8fa381b9" providerId="ADAL" clId="{8E3D5D9D-CC05-4C7B-9A9C-2FFB7784C389}" dt="2024-02-06T04:07:46.477" v="2557"/>
          <ac:graphicFrameMkLst>
            <pc:docMk/>
            <pc:sldMk cId="3572162096" sldId="466"/>
            <ac:graphicFrameMk id="14" creationId="{B7E6DF16-D6A3-3016-578F-D28CAD293384}"/>
          </ac:graphicFrameMkLst>
        </pc:graphicFrameChg>
        <pc:cxnChg chg="mod">
          <ac:chgData name="Muchahary, Frankle" userId="0f2bf491-0617-4378-90b8-89af8fa381b9" providerId="ADAL" clId="{8E3D5D9D-CC05-4C7B-9A9C-2FFB7784C389}" dt="2024-02-06T04:08:25.295" v="2563" actId="14100"/>
          <ac:cxnSpMkLst>
            <pc:docMk/>
            <pc:sldMk cId="3572162096" sldId="466"/>
            <ac:cxnSpMk id="4" creationId="{C1BC0756-5223-6240-961D-EE171D661365}"/>
          </ac:cxnSpMkLst>
        </pc:cxnChg>
      </pc:sldChg>
      <pc:sldChg chg="modSp add del mod">
        <pc:chgData name="Muchahary, Frankle" userId="0f2bf491-0617-4378-90b8-89af8fa381b9" providerId="ADAL" clId="{8E3D5D9D-CC05-4C7B-9A9C-2FFB7784C389}" dt="2024-02-06T04:11:51.278" v="2633" actId="47"/>
        <pc:sldMkLst>
          <pc:docMk/>
          <pc:sldMk cId="2851258218" sldId="467"/>
        </pc:sldMkLst>
        <pc:spChg chg="mod">
          <ac:chgData name="Muchahary, Frankle" userId="0f2bf491-0617-4378-90b8-89af8fa381b9" providerId="ADAL" clId="{8E3D5D9D-CC05-4C7B-9A9C-2FFB7784C389}" dt="2024-02-06T04:10:24.603" v="2601" actId="1076"/>
          <ac:spMkLst>
            <pc:docMk/>
            <pc:sldMk cId="2851258218" sldId="467"/>
            <ac:spMk id="3" creationId="{CC89C647-95EB-6570-345D-9CD3E9FCC635}"/>
          </ac:spMkLst>
        </pc:spChg>
        <pc:spChg chg="mod">
          <ac:chgData name="Muchahary, Frankle" userId="0f2bf491-0617-4378-90b8-89af8fa381b9" providerId="ADAL" clId="{8E3D5D9D-CC05-4C7B-9A9C-2FFB7784C389}" dt="2024-02-06T04:10:41.163" v="2604" actId="207"/>
          <ac:spMkLst>
            <pc:docMk/>
            <pc:sldMk cId="2851258218" sldId="467"/>
            <ac:spMk id="55" creationId="{19B0120D-8206-300E-41E2-8BFFCF28F214}"/>
          </ac:spMkLst>
        </pc:spChg>
        <pc:spChg chg="mod">
          <ac:chgData name="Muchahary, Frankle" userId="0f2bf491-0617-4378-90b8-89af8fa381b9" providerId="ADAL" clId="{8E3D5D9D-CC05-4C7B-9A9C-2FFB7784C389}" dt="2024-02-06T04:10:08.698" v="2594" actId="207"/>
          <ac:spMkLst>
            <pc:docMk/>
            <pc:sldMk cId="2851258218" sldId="467"/>
            <ac:spMk id="57" creationId="{67D15F18-EAF5-7C74-6374-FDA547ECE5F6}"/>
          </ac:spMkLst>
        </pc:spChg>
        <pc:grpChg chg="mod">
          <ac:chgData name="Muchahary, Frankle" userId="0f2bf491-0617-4378-90b8-89af8fa381b9" providerId="ADAL" clId="{8E3D5D9D-CC05-4C7B-9A9C-2FFB7784C389}" dt="2024-02-06T04:10:35.951" v="2603" actId="1076"/>
          <ac:grpSpMkLst>
            <pc:docMk/>
            <pc:sldMk cId="2851258218" sldId="467"/>
            <ac:grpSpMk id="10" creationId="{D4CBDF13-8CA4-3787-2105-C943D99155A6}"/>
          </ac:grpSpMkLst>
        </pc:grpChg>
        <pc:cxnChg chg="mod">
          <ac:chgData name="Muchahary, Frankle" userId="0f2bf491-0617-4378-90b8-89af8fa381b9" providerId="ADAL" clId="{8E3D5D9D-CC05-4C7B-9A9C-2FFB7784C389}" dt="2024-02-06T04:10:21.549" v="2599" actId="14100"/>
          <ac:cxnSpMkLst>
            <pc:docMk/>
            <pc:sldMk cId="2851258218" sldId="467"/>
            <ac:cxnSpMk id="4" creationId="{0509B8E9-63B9-E39D-F1BF-C4D31CCB2B7D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887858075" sldId="467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476599744" sldId="468"/>
        </pc:sldMkLst>
      </pc:sldChg>
      <pc:sldChg chg="addSp delSp modSp add mod">
        <pc:chgData name="Muchahary, Frankle" userId="0f2bf491-0617-4378-90b8-89af8fa381b9" providerId="ADAL" clId="{8E3D5D9D-CC05-4C7B-9A9C-2FFB7784C389}" dt="2024-02-08T03:58:09.133" v="55154" actId="404"/>
        <pc:sldMkLst>
          <pc:docMk/>
          <pc:sldMk cId="2251145721" sldId="468"/>
        </pc:sldMkLst>
        <pc:spChg chg="mod ord">
          <ac:chgData name="Muchahary, Frankle" userId="0f2bf491-0617-4378-90b8-89af8fa381b9" providerId="ADAL" clId="{8E3D5D9D-CC05-4C7B-9A9C-2FFB7784C389}" dt="2024-02-08T03:30:51.003" v="53910" actId="20577"/>
          <ac:spMkLst>
            <pc:docMk/>
            <pc:sldMk cId="2251145721" sldId="468"/>
            <ac:spMk id="2" creationId="{32B95CDE-5588-14A8-82BC-5FB622BAF64F}"/>
          </ac:spMkLst>
        </pc:spChg>
        <pc:spChg chg="mod">
          <ac:chgData name="Muchahary, Frankle" userId="0f2bf491-0617-4378-90b8-89af8fa381b9" providerId="ADAL" clId="{8E3D5D9D-CC05-4C7B-9A9C-2FFB7784C389}" dt="2024-02-08T03:35:58.214" v="54126" actId="20577"/>
          <ac:spMkLst>
            <pc:docMk/>
            <pc:sldMk cId="2251145721" sldId="468"/>
            <ac:spMk id="3" creationId="{60AF6B45-E07B-B142-C8CD-26705792F959}"/>
          </ac:spMkLst>
        </pc:spChg>
        <pc:spChg chg="add mod ord">
          <ac:chgData name="Muchahary, Frankle" userId="0f2bf491-0617-4378-90b8-89af8fa381b9" providerId="ADAL" clId="{8E3D5D9D-CC05-4C7B-9A9C-2FFB7784C389}" dt="2024-02-08T03:58:06.307" v="55152" actId="404"/>
          <ac:spMkLst>
            <pc:docMk/>
            <pc:sldMk cId="2251145721" sldId="468"/>
            <ac:spMk id="6" creationId="{6AA486EA-E8C7-B547-3A8A-4DAF5DC959CD}"/>
          </ac:spMkLst>
        </pc:spChg>
        <pc:spChg chg="mod ord">
          <ac:chgData name="Muchahary, Frankle" userId="0f2bf491-0617-4378-90b8-89af8fa381b9" providerId="ADAL" clId="{8E3D5D9D-CC05-4C7B-9A9C-2FFB7784C389}" dt="2024-02-08T03:17:16.344" v="53161"/>
          <ac:spMkLst>
            <pc:docMk/>
            <pc:sldMk cId="2251145721" sldId="468"/>
            <ac:spMk id="7" creationId="{E5A09A23-F5B0-5E4C-14D6-35D24B9EF152}"/>
          </ac:spMkLst>
        </pc:spChg>
        <pc:spChg chg="add mod ord">
          <ac:chgData name="Muchahary, Frankle" userId="0f2bf491-0617-4378-90b8-89af8fa381b9" providerId="ADAL" clId="{8E3D5D9D-CC05-4C7B-9A9C-2FFB7784C389}" dt="2024-02-08T03:58:09.133" v="55154" actId="404"/>
          <ac:spMkLst>
            <pc:docMk/>
            <pc:sldMk cId="2251145721" sldId="468"/>
            <ac:spMk id="8" creationId="{1821423E-89D7-8D73-AC08-7C905EBE7658}"/>
          </ac:spMkLst>
        </pc:spChg>
        <pc:spChg chg="add mod ord">
          <ac:chgData name="Muchahary, Frankle" userId="0f2bf491-0617-4378-90b8-89af8fa381b9" providerId="ADAL" clId="{8E3D5D9D-CC05-4C7B-9A9C-2FFB7784C389}" dt="2024-02-08T03:38:09.240" v="54164" actId="14861"/>
          <ac:spMkLst>
            <pc:docMk/>
            <pc:sldMk cId="2251145721" sldId="468"/>
            <ac:spMk id="11" creationId="{30CC86D3-330D-213B-E3AF-FFABB5566C62}"/>
          </ac:spMkLst>
        </pc:spChg>
        <pc:spChg chg="add mod ord">
          <ac:chgData name="Muchahary, Frankle" userId="0f2bf491-0617-4378-90b8-89af8fa381b9" providerId="ADAL" clId="{8E3D5D9D-CC05-4C7B-9A9C-2FFB7784C389}" dt="2024-02-08T03:30:03.476" v="53834" actId="207"/>
          <ac:spMkLst>
            <pc:docMk/>
            <pc:sldMk cId="2251145721" sldId="468"/>
            <ac:spMk id="12" creationId="{B9C1AB0F-AD30-A6DF-E464-582A44973695}"/>
          </ac:spMkLst>
        </pc:spChg>
        <pc:spChg chg="del mod ord">
          <ac:chgData name="Muchahary, Frankle" userId="0f2bf491-0617-4378-90b8-89af8fa381b9" providerId="ADAL" clId="{8E3D5D9D-CC05-4C7B-9A9C-2FFB7784C389}" dt="2024-02-08T03:13:48.245" v="53114" actId="478"/>
          <ac:spMkLst>
            <pc:docMk/>
            <pc:sldMk cId="2251145721" sldId="468"/>
            <ac:spMk id="54" creationId="{6492FE6D-CA3C-69B5-3FA4-D665A24F8697}"/>
          </ac:spMkLst>
        </pc:spChg>
        <pc:spChg chg="del mod ord">
          <ac:chgData name="Muchahary, Frankle" userId="0f2bf491-0617-4378-90b8-89af8fa381b9" providerId="ADAL" clId="{8E3D5D9D-CC05-4C7B-9A9C-2FFB7784C389}" dt="2024-02-08T03:13:48.245" v="53114" actId="478"/>
          <ac:spMkLst>
            <pc:docMk/>
            <pc:sldMk cId="2251145721" sldId="468"/>
            <ac:spMk id="55" creationId="{F317000E-8E13-6E4D-4345-EDA18FD028CC}"/>
          </ac:spMkLst>
        </pc:spChg>
        <pc:spChg chg="del mod ord">
          <ac:chgData name="Muchahary, Frankle" userId="0f2bf491-0617-4378-90b8-89af8fa381b9" providerId="ADAL" clId="{8E3D5D9D-CC05-4C7B-9A9C-2FFB7784C389}" dt="2024-02-08T03:13:48.245" v="53114" actId="478"/>
          <ac:spMkLst>
            <pc:docMk/>
            <pc:sldMk cId="2251145721" sldId="468"/>
            <ac:spMk id="56" creationId="{36436A78-EE43-8FBB-200C-374E6FEEC0F9}"/>
          </ac:spMkLst>
        </pc:spChg>
        <pc:spChg chg="del mod ord">
          <ac:chgData name="Muchahary, Frankle" userId="0f2bf491-0617-4378-90b8-89af8fa381b9" providerId="ADAL" clId="{8E3D5D9D-CC05-4C7B-9A9C-2FFB7784C389}" dt="2024-02-08T03:13:48.245" v="53114" actId="478"/>
          <ac:spMkLst>
            <pc:docMk/>
            <pc:sldMk cId="2251145721" sldId="468"/>
            <ac:spMk id="57" creationId="{5BA85069-7C6A-05A7-9C57-27DBD4FAAC80}"/>
          </ac:spMkLst>
        </pc:spChg>
        <pc:grpChg chg="mod ord">
          <ac:chgData name="Muchahary, Frankle" userId="0f2bf491-0617-4378-90b8-89af8fa381b9" providerId="ADAL" clId="{8E3D5D9D-CC05-4C7B-9A9C-2FFB7784C389}" dt="2024-02-08T03:38:09.240" v="54164" actId="14861"/>
          <ac:grpSpMkLst>
            <pc:docMk/>
            <pc:sldMk cId="2251145721" sldId="468"/>
            <ac:grpSpMk id="10" creationId="{35791432-8F79-7166-4956-AE98CB6A3A55}"/>
          </ac:grpSpMkLst>
        </pc:grpChg>
        <pc:grpChg chg="mod">
          <ac:chgData name="Muchahary, Frankle" userId="0f2bf491-0617-4378-90b8-89af8fa381b9" providerId="ADAL" clId="{8E3D5D9D-CC05-4C7B-9A9C-2FFB7784C389}" dt="2024-02-08T03:17:16.344" v="53162"/>
          <ac:grpSpMkLst>
            <pc:docMk/>
            <pc:sldMk cId="2251145721" sldId="468"/>
            <ac:grpSpMk id="51" creationId="{BBEF902F-2A0A-0A66-2198-03A2C1784E6A}"/>
          </ac:grpSpMkLst>
        </pc:grpChg>
        <pc:graphicFrameChg chg="mod">
          <ac:chgData name="Muchahary, Frankle" userId="0f2bf491-0617-4378-90b8-89af8fa381b9" providerId="ADAL" clId="{8E3D5D9D-CC05-4C7B-9A9C-2FFB7784C389}" dt="2024-02-08T03:17:16.354" v="53174"/>
          <ac:graphicFrameMkLst>
            <pc:docMk/>
            <pc:sldMk cId="2251145721" sldId="468"/>
            <ac:graphicFrameMk id="14" creationId="{1244B8D3-B251-8959-4F84-153B58F48630}"/>
          </ac:graphicFrameMkLst>
        </pc:graphicFrameChg>
        <pc:cxnChg chg="mod">
          <ac:chgData name="Muchahary, Frankle" userId="0f2bf491-0617-4378-90b8-89af8fa381b9" providerId="ADAL" clId="{8E3D5D9D-CC05-4C7B-9A9C-2FFB7784C389}" dt="2024-02-08T03:17:22.504" v="53175" actId="1582"/>
          <ac:cxnSpMkLst>
            <pc:docMk/>
            <pc:sldMk cId="2251145721" sldId="468"/>
            <ac:cxnSpMk id="4" creationId="{481685FB-A517-8F02-BCFD-6B319F787300}"/>
          </ac:cxnSpMkLst>
        </pc:cxnChg>
      </pc:sldChg>
      <pc:sldChg chg="add del">
        <pc:chgData name="Muchahary, Frankle" userId="0f2bf491-0617-4378-90b8-89af8fa381b9" providerId="ADAL" clId="{8E3D5D9D-CC05-4C7B-9A9C-2FFB7784C389}" dt="2024-02-06T04:09:22.413" v="2570" actId="47"/>
        <pc:sldMkLst>
          <pc:docMk/>
          <pc:sldMk cId="3057441826" sldId="468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503182321" sldId="469"/>
        </pc:sldMkLst>
      </pc:sldChg>
      <pc:sldChg chg="addSp delSp modSp add mod">
        <pc:chgData name="Muchahary, Frankle" userId="0f2bf491-0617-4378-90b8-89af8fa381b9" providerId="ADAL" clId="{8E3D5D9D-CC05-4C7B-9A9C-2FFB7784C389}" dt="2024-02-08T03:58:00.144" v="55150" actId="404"/>
        <pc:sldMkLst>
          <pc:docMk/>
          <pc:sldMk cId="3781530259" sldId="469"/>
        </pc:sldMkLst>
        <pc:spChg chg="mod">
          <ac:chgData name="Muchahary, Frankle" userId="0f2bf491-0617-4378-90b8-89af8fa381b9" providerId="ADAL" clId="{8E3D5D9D-CC05-4C7B-9A9C-2FFB7784C389}" dt="2024-02-08T03:30:30.901" v="53864" actId="20577"/>
          <ac:spMkLst>
            <pc:docMk/>
            <pc:sldMk cId="3781530259" sldId="469"/>
            <ac:spMk id="2" creationId="{735748B9-85B1-92D3-BFAF-5F19310808FF}"/>
          </ac:spMkLst>
        </pc:spChg>
        <pc:spChg chg="mod">
          <ac:chgData name="Muchahary, Frankle" userId="0f2bf491-0617-4378-90b8-89af8fa381b9" providerId="ADAL" clId="{8E3D5D9D-CC05-4C7B-9A9C-2FFB7784C389}" dt="2024-02-08T03:27:46.225" v="53683" actId="20577"/>
          <ac:spMkLst>
            <pc:docMk/>
            <pc:sldMk cId="3781530259" sldId="469"/>
            <ac:spMk id="3" creationId="{BD767CFF-2AC9-AD85-160E-6A80E6D0EFEE}"/>
          </ac:spMkLst>
        </pc:spChg>
        <pc:spChg chg="add mod">
          <ac:chgData name="Muchahary, Frankle" userId="0f2bf491-0617-4378-90b8-89af8fa381b9" providerId="ADAL" clId="{8E3D5D9D-CC05-4C7B-9A9C-2FFB7784C389}" dt="2024-02-08T03:57:56.631" v="55148" actId="404"/>
          <ac:spMkLst>
            <pc:docMk/>
            <pc:sldMk cId="3781530259" sldId="469"/>
            <ac:spMk id="6" creationId="{3B680511-A171-8BD0-8C07-33C41E812DED}"/>
          </ac:spMkLst>
        </pc:spChg>
        <pc:spChg chg="add mod">
          <ac:chgData name="Muchahary, Frankle" userId="0f2bf491-0617-4378-90b8-89af8fa381b9" providerId="ADAL" clId="{8E3D5D9D-CC05-4C7B-9A9C-2FFB7784C389}" dt="2024-02-08T03:58:00.144" v="55150" actId="404"/>
          <ac:spMkLst>
            <pc:docMk/>
            <pc:sldMk cId="3781530259" sldId="469"/>
            <ac:spMk id="8" creationId="{A8907A95-1414-4194-CD97-C10C394B4EAF}"/>
          </ac:spMkLst>
        </pc:spChg>
        <pc:spChg chg="add mod">
          <ac:chgData name="Muchahary, Frankle" userId="0f2bf491-0617-4378-90b8-89af8fa381b9" providerId="ADAL" clId="{8E3D5D9D-CC05-4C7B-9A9C-2FFB7784C389}" dt="2024-02-08T03:38:22.184" v="54167" actId="207"/>
          <ac:spMkLst>
            <pc:docMk/>
            <pc:sldMk cId="3781530259" sldId="469"/>
            <ac:spMk id="11" creationId="{29F635D5-CE2A-6CA3-80B1-49039C9E8C5A}"/>
          </ac:spMkLst>
        </pc:spChg>
        <pc:spChg chg="add mod">
          <ac:chgData name="Muchahary, Frankle" userId="0f2bf491-0617-4378-90b8-89af8fa381b9" providerId="ADAL" clId="{8E3D5D9D-CC05-4C7B-9A9C-2FFB7784C389}" dt="2024-02-08T03:29:57.648" v="53832"/>
          <ac:spMkLst>
            <pc:docMk/>
            <pc:sldMk cId="3781530259" sldId="469"/>
            <ac:spMk id="12" creationId="{A771CCC4-E95F-19A4-1B3F-F592B891D0E0}"/>
          </ac:spMkLst>
        </pc:spChg>
        <pc:spChg chg="del">
          <ac:chgData name="Muchahary, Frankle" userId="0f2bf491-0617-4378-90b8-89af8fa381b9" providerId="ADAL" clId="{8E3D5D9D-CC05-4C7B-9A9C-2FFB7784C389}" dt="2024-02-08T03:13:43.741" v="53112" actId="478"/>
          <ac:spMkLst>
            <pc:docMk/>
            <pc:sldMk cId="3781530259" sldId="469"/>
            <ac:spMk id="54" creationId="{6026FF9B-9578-132C-0EB2-A40CCCDF5B6E}"/>
          </ac:spMkLst>
        </pc:spChg>
        <pc:spChg chg="del">
          <ac:chgData name="Muchahary, Frankle" userId="0f2bf491-0617-4378-90b8-89af8fa381b9" providerId="ADAL" clId="{8E3D5D9D-CC05-4C7B-9A9C-2FFB7784C389}" dt="2024-02-08T03:13:43.741" v="53112" actId="478"/>
          <ac:spMkLst>
            <pc:docMk/>
            <pc:sldMk cId="3781530259" sldId="469"/>
            <ac:spMk id="55" creationId="{8C7629D2-3B0D-507E-E4B1-ACB29955B7E7}"/>
          </ac:spMkLst>
        </pc:spChg>
        <pc:spChg chg="del mod">
          <ac:chgData name="Muchahary, Frankle" userId="0f2bf491-0617-4378-90b8-89af8fa381b9" providerId="ADAL" clId="{8E3D5D9D-CC05-4C7B-9A9C-2FFB7784C389}" dt="2024-02-08T03:13:43.741" v="53112" actId="478"/>
          <ac:spMkLst>
            <pc:docMk/>
            <pc:sldMk cId="3781530259" sldId="469"/>
            <ac:spMk id="56" creationId="{7FCD4801-2BEB-7099-98DC-F74FB1250BDD}"/>
          </ac:spMkLst>
        </pc:spChg>
        <pc:spChg chg="del mod">
          <ac:chgData name="Muchahary, Frankle" userId="0f2bf491-0617-4378-90b8-89af8fa381b9" providerId="ADAL" clId="{8E3D5D9D-CC05-4C7B-9A9C-2FFB7784C389}" dt="2024-02-08T03:13:43.741" v="53112" actId="478"/>
          <ac:spMkLst>
            <pc:docMk/>
            <pc:sldMk cId="3781530259" sldId="469"/>
            <ac:spMk id="57" creationId="{5CE2529D-2504-A1AC-5C1D-5317EC1B34DE}"/>
          </ac:spMkLst>
        </pc:spChg>
        <pc:grpChg chg="mod">
          <ac:chgData name="Muchahary, Frankle" userId="0f2bf491-0617-4378-90b8-89af8fa381b9" providerId="ADAL" clId="{8E3D5D9D-CC05-4C7B-9A9C-2FFB7784C389}" dt="2024-02-08T03:25:31.059" v="53555" actId="14861"/>
          <ac:grpSpMkLst>
            <pc:docMk/>
            <pc:sldMk cId="3781530259" sldId="469"/>
            <ac:grpSpMk id="10" creationId="{A6BC7674-ADD9-818B-C355-6A71A8F77B6E}"/>
          </ac:grpSpMkLst>
        </pc:grpChg>
        <pc:cxnChg chg="mod">
          <ac:chgData name="Muchahary, Frankle" userId="0f2bf491-0617-4378-90b8-89af8fa381b9" providerId="ADAL" clId="{8E3D5D9D-CC05-4C7B-9A9C-2FFB7784C389}" dt="2024-02-08T03:16:57.989" v="53153" actId="1582"/>
          <ac:cxnSpMkLst>
            <pc:docMk/>
            <pc:sldMk cId="3781530259" sldId="469"/>
            <ac:cxnSpMk id="4" creationId="{68DA1325-29E7-76F1-05D9-C4990336C2EB}"/>
          </ac:cxnSpMkLst>
        </pc:cxnChg>
      </pc:sldChg>
      <pc:sldChg chg="addSp delSp modSp add del mod">
        <pc:chgData name="Muchahary, Frankle" userId="0f2bf491-0617-4378-90b8-89af8fa381b9" providerId="ADAL" clId="{8E3D5D9D-CC05-4C7B-9A9C-2FFB7784C389}" dt="2024-02-06T04:15:28.174" v="3826" actId="2696"/>
        <pc:sldMkLst>
          <pc:docMk/>
          <pc:sldMk cId="489047355" sldId="470"/>
        </pc:sldMkLst>
        <pc:spChg chg="mod ord">
          <ac:chgData name="Muchahary, Frankle" userId="0f2bf491-0617-4378-90b8-89af8fa381b9" providerId="ADAL" clId="{8E3D5D9D-CC05-4C7B-9A9C-2FFB7784C389}" dt="2024-02-06T04:15:22.459" v="3817"/>
          <ac:spMkLst>
            <pc:docMk/>
            <pc:sldMk cId="489047355" sldId="470"/>
            <ac:spMk id="2" creationId="{C483C86C-7F82-C98C-8C1A-9301B9285056}"/>
          </ac:spMkLst>
        </pc:spChg>
        <pc:spChg chg="mod ord">
          <ac:chgData name="Muchahary, Frankle" userId="0f2bf491-0617-4378-90b8-89af8fa381b9" providerId="ADAL" clId="{8E3D5D9D-CC05-4C7B-9A9C-2FFB7784C389}" dt="2024-02-06T04:15:22.457" v="3813"/>
          <ac:spMkLst>
            <pc:docMk/>
            <pc:sldMk cId="489047355" sldId="470"/>
            <ac:spMk id="3" creationId="{3244E267-7744-AE64-DB00-39E7B907E5F5}"/>
          </ac:spMkLst>
        </pc:spChg>
        <pc:spChg chg="add del mod modVis">
          <ac:chgData name="Muchahary, Frankle" userId="0f2bf491-0617-4378-90b8-89af8fa381b9" providerId="ADAL" clId="{8E3D5D9D-CC05-4C7B-9A9C-2FFB7784C389}" dt="2024-02-06T04:15:17.210" v="2847"/>
          <ac:spMkLst>
            <pc:docMk/>
            <pc:sldMk cId="489047355" sldId="470"/>
            <ac:spMk id="5" creationId="{61AD6DF3-F114-4BBD-3C00-212AF54F4DDD}"/>
          </ac:spMkLst>
        </pc:spChg>
        <pc:spChg chg="add del mod modVis">
          <ac:chgData name="Muchahary, Frankle" userId="0f2bf491-0617-4378-90b8-89af8fa381b9" providerId="ADAL" clId="{8E3D5D9D-CC05-4C7B-9A9C-2FFB7784C389}" dt="2024-02-06T04:15:22.463" v="3823"/>
          <ac:spMkLst>
            <pc:docMk/>
            <pc:sldMk cId="489047355" sldId="470"/>
            <ac:spMk id="6" creationId="{63779100-57D9-5A0A-ED92-C3A38E0EAE81}"/>
          </ac:spMkLst>
        </pc:spChg>
        <pc:spChg chg="add mod ord replST">
          <ac:chgData name="Muchahary, Frankle" userId="0f2bf491-0617-4378-90b8-89af8fa381b9" providerId="ADAL" clId="{8E3D5D9D-CC05-4C7B-9A9C-2FFB7784C389}" dt="2024-02-06T04:15:22.441" v="3782"/>
          <ac:spMkLst>
            <pc:docMk/>
            <pc:sldMk cId="489047355" sldId="470"/>
            <ac:spMk id="7" creationId="{2A3B3FB7-7194-AE2F-C1C4-5C5E7EA818E0}"/>
          </ac:spMkLst>
        </pc:spChg>
        <pc:spChg chg="add mod ord replST">
          <ac:chgData name="Muchahary, Frankle" userId="0f2bf491-0617-4378-90b8-89af8fa381b9" providerId="ADAL" clId="{8E3D5D9D-CC05-4C7B-9A9C-2FFB7784C389}" dt="2024-02-06T04:15:22.428" v="3754"/>
          <ac:spMkLst>
            <pc:docMk/>
            <pc:sldMk cId="489047355" sldId="470"/>
            <ac:spMk id="8" creationId="{83CB5C75-B4ED-BE31-2FE9-580D69606B7B}"/>
          </ac:spMkLst>
        </pc:spChg>
        <pc:spChg chg="add mod replST">
          <ac:chgData name="Muchahary, Frankle" userId="0f2bf491-0617-4378-90b8-89af8fa381b9" providerId="ADAL" clId="{8E3D5D9D-CC05-4C7B-9A9C-2FFB7784C389}" dt="2024-02-06T04:15:22.425" v="3749"/>
          <ac:spMkLst>
            <pc:docMk/>
            <pc:sldMk cId="489047355" sldId="470"/>
            <ac:spMk id="9" creationId="{914AAFC5-A480-7228-1283-67E63C7FD075}"/>
          </ac:spMkLst>
        </pc:spChg>
        <pc:spChg chg="add mod ord replST">
          <ac:chgData name="Muchahary, Frankle" userId="0f2bf491-0617-4378-90b8-89af8fa381b9" providerId="ADAL" clId="{8E3D5D9D-CC05-4C7B-9A9C-2FFB7784C389}" dt="2024-02-06T04:15:22.429" v="3756"/>
          <ac:spMkLst>
            <pc:docMk/>
            <pc:sldMk cId="489047355" sldId="470"/>
            <ac:spMk id="10" creationId="{4E4AF5E6-2181-60DD-4669-FED2D8383E96}"/>
          </ac:spMkLst>
        </pc:spChg>
        <pc:spChg chg="add mod ord replST">
          <ac:chgData name="Muchahary, Frankle" userId="0f2bf491-0617-4378-90b8-89af8fa381b9" providerId="ADAL" clId="{8E3D5D9D-CC05-4C7B-9A9C-2FFB7784C389}" dt="2024-02-06T04:15:22.430" v="3758"/>
          <ac:spMkLst>
            <pc:docMk/>
            <pc:sldMk cId="489047355" sldId="470"/>
            <ac:spMk id="11" creationId="{68F12499-50B8-1A3B-FB0E-6E6B3E43A3E4}"/>
          </ac:spMkLst>
        </pc:spChg>
        <pc:spChg chg="add mod replST">
          <ac:chgData name="Muchahary, Frankle" userId="0f2bf491-0617-4378-90b8-89af8fa381b9" providerId="ADAL" clId="{8E3D5D9D-CC05-4C7B-9A9C-2FFB7784C389}" dt="2024-02-06T04:15:22.424" v="3747"/>
          <ac:spMkLst>
            <pc:docMk/>
            <pc:sldMk cId="489047355" sldId="470"/>
            <ac:spMk id="12" creationId="{E25EE718-7578-25EE-C398-98FE8E280AC9}"/>
          </ac:spMkLst>
        </pc:spChg>
        <pc:spChg chg="add mod ord replST">
          <ac:chgData name="Muchahary, Frankle" userId="0f2bf491-0617-4378-90b8-89af8fa381b9" providerId="ADAL" clId="{8E3D5D9D-CC05-4C7B-9A9C-2FFB7784C389}" dt="2024-02-06T04:15:22.438" v="3776"/>
          <ac:spMkLst>
            <pc:docMk/>
            <pc:sldMk cId="489047355" sldId="470"/>
            <ac:spMk id="13" creationId="{DEDF2C92-8660-9600-A275-072023C37858}"/>
          </ac:spMkLst>
        </pc:spChg>
        <pc:spChg chg="add mod ord replST">
          <ac:chgData name="Muchahary, Frankle" userId="0f2bf491-0617-4378-90b8-89af8fa381b9" providerId="ADAL" clId="{8E3D5D9D-CC05-4C7B-9A9C-2FFB7784C389}" dt="2024-02-06T04:15:22.430" v="3760"/>
          <ac:spMkLst>
            <pc:docMk/>
            <pc:sldMk cId="489047355" sldId="470"/>
            <ac:spMk id="14" creationId="{BE376E21-8E7C-C069-6862-9BD6BB445899}"/>
          </ac:spMkLst>
        </pc:spChg>
        <pc:spChg chg="add mod replST">
          <ac:chgData name="Muchahary, Frankle" userId="0f2bf491-0617-4378-90b8-89af8fa381b9" providerId="ADAL" clId="{8E3D5D9D-CC05-4C7B-9A9C-2FFB7784C389}" dt="2024-02-06T04:15:22.422" v="3745"/>
          <ac:spMkLst>
            <pc:docMk/>
            <pc:sldMk cId="489047355" sldId="470"/>
            <ac:spMk id="15" creationId="{BC695973-4BF9-557F-2A42-BAABF075DBAC}"/>
          </ac:spMkLst>
        </pc:spChg>
        <pc:spChg chg="add mod ord replST">
          <ac:chgData name="Muchahary, Frankle" userId="0f2bf491-0617-4378-90b8-89af8fa381b9" providerId="ADAL" clId="{8E3D5D9D-CC05-4C7B-9A9C-2FFB7784C389}" dt="2024-02-06T04:15:22.432" v="3762"/>
          <ac:spMkLst>
            <pc:docMk/>
            <pc:sldMk cId="489047355" sldId="470"/>
            <ac:spMk id="16" creationId="{F8FB90A3-9BB7-F525-A7F2-6D0BF5057B52}"/>
          </ac:spMkLst>
        </pc:spChg>
        <pc:spChg chg="add mod ord replST">
          <ac:chgData name="Muchahary, Frankle" userId="0f2bf491-0617-4378-90b8-89af8fa381b9" providerId="ADAL" clId="{8E3D5D9D-CC05-4C7B-9A9C-2FFB7784C389}" dt="2024-02-06T04:15:22.433" v="3764"/>
          <ac:spMkLst>
            <pc:docMk/>
            <pc:sldMk cId="489047355" sldId="470"/>
            <ac:spMk id="17" creationId="{62A3927C-82FC-82C1-AED0-45BABB62FFAC}"/>
          </ac:spMkLst>
        </pc:spChg>
        <pc:spChg chg="add mod replST">
          <ac:chgData name="Muchahary, Frankle" userId="0f2bf491-0617-4378-90b8-89af8fa381b9" providerId="ADAL" clId="{8E3D5D9D-CC05-4C7B-9A9C-2FFB7784C389}" dt="2024-02-06T04:15:22.426" v="3750"/>
          <ac:spMkLst>
            <pc:docMk/>
            <pc:sldMk cId="489047355" sldId="470"/>
            <ac:spMk id="18" creationId="{69E4C112-562D-C3C1-14CB-383845C01603}"/>
          </ac:spMkLst>
        </pc:spChg>
        <pc:spChg chg="add mod ord replST">
          <ac:chgData name="Muchahary, Frankle" userId="0f2bf491-0617-4378-90b8-89af8fa381b9" providerId="ADAL" clId="{8E3D5D9D-CC05-4C7B-9A9C-2FFB7784C389}" dt="2024-02-06T04:15:22.433" v="3766"/>
          <ac:spMkLst>
            <pc:docMk/>
            <pc:sldMk cId="489047355" sldId="470"/>
            <ac:spMk id="19" creationId="{B2D3C890-C0D3-CC57-ED7A-7A60A30E9E5D}"/>
          </ac:spMkLst>
        </pc:spChg>
        <pc:spChg chg="add mod ord replST">
          <ac:chgData name="Muchahary, Frankle" userId="0f2bf491-0617-4378-90b8-89af8fa381b9" providerId="ADAL" clId="{8E3D5D9D-CC05-4C7B-9A9C-2FFB7784C389}" dt="2024-02-06T04:15:22.434" v="3768"/>
          <ac:spMkLst>
            <pc:docMk/>
            <pc:sldMk cId="489047355" sldId="470"/>
            <ac:spMk id="20" creationId="{E50F25D5-6F1D-1FC4-D2E5-92FAF427D447}"/>
          </ac:spMkLst>
        </pc:spChg>
        <pc:spChg chg="add mod replST">
          <ac:chgData name="Muchahary, Frankle" userId="0f2bf491-0617-4378-90b8-89af8fa381b9" providerId="ADAL" clId="{8E3D5D9D-CC05-4C7B-9A9C-2FFB7784C389}" dt="2024-02-06T04:15:22.425" v="3748"/>
          <ac:spMkLst>
            <pc:docMk/>
            <pc:sldMk cId="489047355" sldId="470"/>
            <ac:spMk id="21" creationId="{6114F0FA-C5C7-F653-1C33-B036F2DE5553}"/>
          </ac:spMkLst>
        </pc:spChg>
        <pc:spChg chg="add mod ord replST">
          <ac:chgData name="Muchahary, Frankle" userId="0f2bf491-0617-4378-90b8-89af8fa381b9" providerId="ADAL" clId="{8E3D5D9D-CC05-4C7B-9A9C-2FFB7784C389}" dt="2024-02-06T04:15:22.442" v="3784"/>
          <ac:spMkLst>
            <pc:docMk/>
            <pc:sldMk cId="489047355" sldId="470"/>
            <ac:spMk id="22" creationId="{2682713B-9A67-40E4-0C7F-FBECC9624AFC}"/>
          </ac:spMkLst>
        </pc:spChg>
        <pc:spChg chg="add mod ord replST">
          <ac:chgData name="Muchahary, Frankle" userId="0f2bf491-0617-4378-90b8-89af8fa381b9" providerId="ADAL" clId="{8E3D5D9D-CC05-4C7B-9A9C-2FFB7784C389}" dt="2024-02-06T04:15:22.435" v="3770"/>
          <ac:spMkLst>
            <pc:docMk/>
            <pc:sldMk cId="489047355" sldId="470"/>
            <ac:spMk id="23" creationId="{A06CA4F5-8918-3887-DE39-87F81B0BB7F6}"/>
          </ac:spMkLst>
        </pc:spChg>
        <pc:spChg chg="add mod replST">
          <ac:chgData name="Muchahary, Frankle" userId="0f2bf491-0617-4378-90b8-89af8fa381b9" providerId="ADAL" clId="{8E3D5D9D-CC05-4C7B-9A9C-2FFB7784C389}" dt="2024-02-06T04:15:22.424" v="3746"/>
          <ac:spMkLst>
            <pc:docMk/>
            <pc:sldMk cId="489047355" sldId="470"/>
            <ac:spMk id="24" creationId="{1160EF8A-F480-6D7F-FF65-7A66E5EFD7BD}"/>
          </ac:spMkLst>
        </pc:spChg>
        <pc:spChg chg="mod">
          <ac:chgData name="Muchahary, Frankle" userId="0f2bf491-0617-4378-90b8-89af8fa381b9" providerId="ADAL" clId="{8E3D5D9D-CC05-4C7B-9A9C-2FFB7784C389}" dt="2024-02-06T04:15:22.452" v="3803"/>
          <ac:spMkLst>
            <pc:docMk/>
            <pc:sldMk cId="489047355" sldId="470"/>
            <ac:spMk id="25" creationId="{26554ECF-A10C-964E-86A8-28D125FC2219}"/>
          </ac:spMkLst>
        </pc:spChg>
        <pc:spChg chg="add mod ord replST">
          <ac:chgData name="Muchahary, Frankle" userId="0f2bf491-0617-4378-90b8-89af8fa381b9" providerId="ADAL" clId="{8E3D5D9D-CC05-4C7B-9A9C-2FFB7784C389}" dt="2024-02-06T04:15:22.437" v="3772"/>
          <ac:spMkLst>
            <pc:docMk/>
            <pc:sldMk cId="489047355" sldId="470"/>
            <ac:spMk id="26" creationId="{F2A79ADB-A287-7CBF-A9B1-476E958DD599}"/>
          </ac:spMkLst>
        </pc:spChg>
        <pc:spChg chg="mod">
          <ac:chgData name="Muchahary, Frankle" userId="0f2bf491-0617-4378-90b8-89af8fa381b9" providerId="ADAL" clId="{8E3D5D9D-CC05-4C7B-9A9C-2FFB7784C389}" dt="2024-02-06T04:15:22.448" v="3794"/>
          <ac:spMkLst>
            <pc:docMk/>
            <pc:sldMk cId="489047355" sldId="470"/>
            <ac:spMk id="27" creationId="{15134E46-7525-526A-E84C-4761AA0EEB30}"/>
          </ac:spMkLst>
        </pc:spChg>
        <pc:spChg chg="mod">
          <ac:chgData name="Muchahary, Frankle" userId="0f2bf491-0617-4378-90b8-89af8fa381b9" providerId="ADAL" clId="{8E3D5D9D-CC05-4C7B-9A9C-2FFB7784C389}" dt="2024-02-06T04:15:22.456" v="3809"/>
          <ac:spMkLst>
            <pc:docMk/>
            <pc:sldMk cId="489047355" sldId="470"/>
            <ac:spMk id="28" creationId="{AF126E14-A477-CC64-8648-FAF87A720DE0}"/>
          </ac:spMkLst>
        </pc:spChg>
        <pc:spChg chg="add mod ord replST">
          <ac:chgData name="Muchahary, Frankle" userId="0f2bf491-0617-4378-90b8-89af8fa381b9" providerId="ADAL" clId="{8E3D5D9D-CC05-4C7B-9A9C-2FFB7784C389}" dt="2024-02-06T04:15:22.437" v="3774"/>
          <ac:spMkLst>
            <pc:docMk/>
            <pc:sldMk cId="489047355" sldId="470"/>
            <ac:spMk id="31" creationId="{13B56C2E-C368-069C-662C-435249A0749F}"/>
          </ac:spMkLst>
        </pc:spChg>
        <pc:spChg chg="add mod replST">
          <ac:chgData name="Muchahary, Frankle" userId="0f2bf491-0617-4378-90b8-89af8fa381b9" providerId="ADAL" clId="{8E3D5D9D-CC05-4C7B-9A9C-2FFB7784C389}" dt="2024-02-06T04:15:22.426" v="3751"/>
          <ac:spMkLst>
            <pc:docMk/>
            <pc:sldMk cId="489047355" sldId="470"/>
            <ac:spMk id="32" creationId="{2825A976-AC07-45DB-A6D5-61C4F7212270}"/>
          </ac:spMkLst>
        </pc:spChg>
        <pc:spChg chg="add mod ord replST">
          <ac:chgData name="Muchahary, Frankle" userId="0f2bf491-0617-4378-90b8-89af8fa381b9" providerId="ADAL" clId="{8E3D5D9D-CC05-4C7B-9A9C-2FFB7784C389}" dt="2024-02-06T04:15:22.439" v="3778"/>
          <ac:spMkLst>
            <pc:docMk/>
            <pc:sldMk cId="489047355" sldId="470"/>
            <ac:spMk id="33" creationId="{8E99C9E0-F6EE-0D97-05FE-5BF5618A1446}"/>
          </ac:spMkLst>
        </pc:spChg>
        <pc:spChg chg="add mod ord replST">
          <ac:chgData name="Muchahary, Frankle" userId="0f2bf491-0617-4378-90b8-89af8fa381b9" providerId="ADAL" clId="{8E3D5D9D-CC05-4C7B-9A9C-2FFB7784C389}" dt="2024-02-06T04:15:22.439" v="3780"/>
          <ac:spMkLst>
            <pc:docMk/>
            <pc:sldMk cId="489047355" sldId="470"/>
            <ac:spMk id="34" creationId="{015F719C-8219-FA78-89D5-8A703165B1A2}"/>
          </ac:spMkLst>
        </pc:spChg>
        <pc:spChg chg="add mod replST">
          <ac:chgData name="Muchahary, Frankle" userId="0f2bf491-0617-4378-90b8-89af8fa381b9" providerId="ADAL" clId="{8E3D5D9D-CC05-4C7B-9A9C-2FFB7784C389}" dt="2024-02-06T04:15:22.427" v="3752"/>
          <ac:spMkLst>
            <pc:docMk/>
            <pc:sldMk cId="489047355" sldId="470"/>
            <ac:spMk id="35" creationId="{405BFFEE-92C7-05C0-886D-AE684FF6AAB2}"/>
          </ac:spMkLst>
        </pc:spChg>
        <pc:spChg chg="mod">
          <ac:chgData name="Muchahary, Frankle" userId="0f2bf491-0617-4378-90b8-89af8fa381b9" providerId="ADAL" clId="{8E3D5D9D-CC05-4C7B-9A9C-2FFB7784C389}" dt="2024-02-06T04:15:22.453" v="3804"/>
          <ac:spMkLst>
            <pc:docMk/>
            <pc:sldMk cId="489047355" sldId="470"/>
            <ac:spMk id="45" creationId="{B19BC6CA-41AE-0A48-0958-2896C06D8984}"/>
          </ac:spMkLst>
        </pc:spChg>
        <pc:spChg chg="mod">
          <ac:chgData name="Muchahary, Frankle" userId="0f2bf491-0617-4378-90b8-89af8fa381b9" providerId="ADAL" clId="{8E3D5D9D-CC05-4C7B-9A9C-2FFB7784C389}" dt="2024-02-06T04:15:22.452" v="3801"/>
          <ac:spMkLst>
            <pc:docMk/>
            <pc:sldMk cId="489047355" sldId="470"/>
            <ac:spMk id="50" creationId="{10469BF5-1974-1060-0E70-03E876899F17}"/>
          </ac:spMkLst>
        </pc:spChg>
        <pc:spChg chg="mod">
          <ac:chgData name="Muchahary, Frankle" userId="0f2bf491-0617-4378-90b8-89af8fa381b9" providerId="ADAL" clId="{8E3D5D9D-CC05-4C7B-9A9C-2FFB7784C389}" dt="2024-02-06T04:15:22.449" v="3795"/>
          <ac:spMkLst>
            <pc:docMk/>
            <pc:sldMk cId="489047355" sldId="470"/>
            <ac:spMk id="55" creationId="{B5E31BA8-630D-6042-8AF0-B47051A639F8}"/>
          </ac:spMkLst>
        </pc:spChg>
        <pc:spChg chg="del">
          <ac:chgData name="Muchahary, Frankle" userId="0f2bf491-0617-4378-90b8-89af8fa381b9" providerId="ADAL" clId="{8E3D5D9D-CC05-4C7B-9A9C-2FFB7784C389}" dt="2024-02-06T04:15:17.132" v="2816"/>
          <ac:spMkLst>
            <pc:docMk/>
            <pc:sldMk cId="489047355" sldId="470"/>
            <ac:spMk id="411" creationId="{CAF53212-B048-BF2F-FA4A-52392E648B02}"/>
          </ac:spMkLst>
        </pc:spChg>
        <pc:spChg chg="mod">
          <ac:chgData name="Muchahary, Frankle" userId="0f2bf491-0617-4378-90b8-89af8fa381b9" providerId="ADAL" clId="{8E3D5D9D-CC05-4C7B-9A9C-2FFB7784C389}" dt="2024-02-06T04:15:22.450" v="3798"/>
          <ac:spMkLst>
            <pc:docMk/>
            <pc:sldMk cId="489047355" sldId="470"/>
            <ac:spMk id="412" creationId="{B93EB660-72E8-F153-6280-665FBA6A0C33}"/>
          </ac:spMkLst>
        </pc:spChg>
        <pc:spChg chg="del">
          <ac:chgData name="Muchahary, Frankle" userId="0f2bf491-0617-4378-90b8-89af8fa381b9" providerId="ADAL" clId="{8E3D5D9D-CC05-4C7B-9A9C-2FFB7784C389}" dt="2024-02-06T04:15:17.134" v="2820"/>
          <ac:spMkLst>
            <pc:docMk/>
            <pc:sldMk cId="489047355" sldId="470"/>
            <ac:spMk id="417" creationId="{7E824721-9F7C-1DE0-0577-CCA1F76AE679}"/>
          </ac:spMkLst>
        </pc:spChg>
        <pc:spChg chg="del">
          <ac:chgData name="Muchahary, Frankle" userId="0f2bf491-0617-4378-90b8-89af8fa381b9" providerId="ADAL" clId="{8E3D5D9D-CC05-4C7B-9A9C-2FFB7784C389}" dt="2024-02-06T04:15:17.131" v="2815"/>
          <ac:spMkLst>
            <pc:docMk/>
            <pc:sldMk cId="489047355" sldId="470"/>
            <ac:spMk id="418" creationId="{6ADEB44D-23BA-7704-27EA-8762EF3FF04E}"/>
          </ac:spMkLst>
        </pc:spChg>
        <pc:spChg chg="mod">
          <ac:chgData name="Muchahary, Frankle" userId="0f2bf491-0617-4378-90b8-89af8fa381b9" providerId="ADAL" clId="{8E3D5D9D-CC05-4C7B-9A9C-2FFB7784C389}" dt="2024-02-06T04:15:22.451" v="3799"/>
          <ac:spMkLst>
            <pc:docMk/>
            <pc:sldMk cId="489047355" sldId="470"/>
            <ac:spMk id="434" creationId="{AF0EE607-9366-B9E5-7DE9-AC3D97FF0ACC}"/>
          </ac:spMkLst>
        </pc:spChg>
        <pc:spChg chg="mod">
          <ac:chgData name="Muchahary, Frankle" userId="0f2bf491-0617-4378-90b8-89af8fa381b9" providerId="ADAL" clId="{8E3D5D9D-CC05-4C7B-9A9C-2FFB7784C389}" dt="2024-02-06T04:15:22.418" v="3736"/>
          <ac:spMkLst>
            <pc:docMk/>
            <pc:sldMk cId="489047355" sldId="470"/>
            <ac:spMk id="435" creationId="{C8ACA1F8-886B-B873-B622-3CA055EF4E02}"/>
          </ac:spMkLst>
        </pc:spChg>
        <pc:spChg chg="mod">
          <ac:chgData name="Muchahary, Frankle" userId="0f2bf491-0617-4378-90b8-89af8fa381b9" providerId="ADAL" clId="{8E3D5D9D-CC05-4C7B-9A9C-2FFB7784C389}" dt="2024-02-06T04:15:22.419" v="3737"/>
          <ac:spMkLst>
            <pc:docMk/>
            <pc:sldMk cId="489047355" sldId="470"/>
            <ac:spMk id="437" creationId="{8F745A10-4086-19B5-60DE-97072CC009AC}"/>
          </ac:spMkLst>
        </pc:spChg>
        <pc:spChg chg="del">
          <ac:chgData name="Muchahary, Frankle" userId="0f2bf491-0617-4378-90b8-89af8fa381b9" providerId="ADAL" clId="{8E3D5D9D-CC05-4C7B-9A9C-2FFB7784C389}" dt="2024-02-06T04:15:17.134" v="2819"/>
          <ac:spMkLst>
            <pc:docMk/>
            <pc:sldMk cId="489047355" sldId="470"/>
            <ac:spMk id="438" creationId="{CA95E984-CDDF-51AD-AEA0-3ED93F0DB50E}"/>
          </ac:spMkLst>
        </pc:spChg>
        <pc:spChg chg="mod">
          <ac:chgData name="Muchahary, Frankle" userId="0f2bf491-0617-4378-90b8-89af8fa381b9" providerId="ADAL" clId="{8E3D5D9D-CC05-4C7B-9A9C-2FFB7784C389}" dt="2024-02-06T04:15:22.420" v="3739"/>
          <ac:spMkLst>
            <pc:docMk/>
            <pc:sldMk cId="489047355" sldId="470"/>
            <ac:spMk id="439" creationId="{39A4E0EA-3790-25A2-B41C-547B3B1D9687}"/>
          </ac:spMkLst>
        </pc:spChg>
        <pc:spChg chg="mod">
          <ac:chgData name="Muchahary, Frankle" userId="0f2bf491-0617-4378-90b8-89af8fa381b9" providerId="ADAL" clId="{8E3D5D9D-CC05-4C7B-9A9C-2FFB7784C389}" dt="2024-02-06T04:15:22.420" v="3740"/>
          <ac:spMkLst>
            <pc:docMk/>
            <pc:sldMk cId="489047355" sldId="470"/>
            <ac:spMk id="441" creationId="{0EA88B35-43F1-7E0B-3DEA-827643C4EE7F}"/>
          </ac:spMkLst>
        </pc:spChg>
        <pc:spChg chg="mod">
          <ac:chgData name="Muchahary, Frankle" userId="0f2bf491-0617-4378-90b8-89af8fa381b9" providerId="ADAL" clId="{8E3D5D9D-CC05-4C7B-9A9C-2FFB7784C389}" dt="2024-02-06T04:15:22.422" v="3743"/>
          <ac:spMkLst>
            <pc:docMk/>
            <pc:sldMk cId="489047355" sldId="470"/>
            <ac:spMk id="446" creationId="{FA3E117A-4A3E-4261-F197-0E61BB29EFEE}"/>
          </ac:spMkLst>
        </pc:spChg>
        <pc:spChg chg="mod">
          <ac:chgData name="Muchahary, Frankle" userId="0f2bf491-0617-4378-90b8-89af8fa381b9" providerId="ADAL" clId="{8E3D5D9D-CC05-4C7B-9A9C-2FFB7784C389}" dt="2024-02-06T04:15:22.422" v="3744"/>
          <ac:spMkLst>
            <pc:docMk/>
            <pc:sldMk cId="489047355" sldId="470"/>
            <ac:spMk id="447" creationId="{F3234878-80FA-59DE-D62C-ED770D70CDEA}"/>
          </ac:spMkLst>
        </pc:spChg>
        <pc:spChg chg="mod">
          <ac:chgData name="Muchahary, Frankle" userId="0f2bf491-0617-4378-90b8-89af8fa381b9" providerId="ADAL" clId="{8E3D5D9D-CC05-4C7B-9A9C-2FFB7784C389}" dt="2024-02-06T04:15:22.447" v="3791"/>
          <ac:spMkLst>
            <pc:docMk/>
            <pc:sldMk cId="489047355" sldId="470"/>
            <ac:spMk id="562" creationId="{E9D0B21B-9017-1158-C42C-BA53E4505AE6}"/>
          </ac:spMkLst>
        </pc:spChg>
        <pc:spChg chg="mod ord">
          <ac:chgData name="Muchahary, Frankle" userId="0f2bf491-0617-4378-90b8-89af8fa381b9" providerId="ADAL" clId="{8E3D5D9D-CC05-4C7B-9A9C-2FFB7784C389}" dt="2024-02-06T04:15:22.456" v="3811"/>
          <ac:spMkLst>
            <pc:docMk/>
            <pc:sldMk cId="489047355" sldId="470"/>
            <ac:spMk id="705" creationId="{7C524A13-EB6F-3019-3749-A376EB7A3C9F}"/>
          </ac:spMkLst>
        </pc:spChg>
        <pc:spChg chg="mod">
          <ac:chgData name="Muchahary, Frankle" userId="0f2bf491-0617-4378-90b8-89af8fa381b9" providerId="ADAL" clId="{8E3D5D9D-CC05-4C7B-9A9C-2FFB7784C389}" dt="2024-02-06T04:15:22.452" v="3802"/>
          <ac:spMkLst>
            <pc:docMk/>
            <pc:sldMk cId="489047355" sldId="470"/>
            <ac:spMk id="740" creationId="{8DEB3653-3DD0-C895-7EA4-B352B09BD886}"/>
          </ac:spMkLst>
        </pc:spChg>
        <pc:spChg chg="mod ord">
          <ac:chgData name="Muchahary, Frankle" userId="0f2bf491-0617-4378-90b8-89af8fa381b9" providerId="ADAL" clId="{8E3D5D9D-CC05-4C7B-9A9C-2FFB7784C389}" dt="2024-02-06T04:15:22.448" v="3793"/>
          <ac:spMkLst>
            <pc:docMk/>
            <pc:sldMk cId="489047355" sldId="470"/>
            <ac:spMk id="753" creationId="{971B0D0E-1723-2008-B29F-F04BE6FA49BF}"/>
          </ac:spMkLst>
        </pc:spChg>
        <pc:spChg chg="mod">
          <ac:chgData name="Muchahary, Frankle" userId="0f2bf491-0617-4378-90b8-89af8fa381b9" providerId="ADAL" clId="{8E3D5D9D-CC05-4C7B-9A9C-2FFB7784C389}" dt="2024-02-06T04:15:22.454" v="3805"/>
          <ac:spMkLst>
            <pc:docMk/>
            <pc:sldMk cId="489047355" sldId="470"/>
            <ac:spMk id="798" creationId="{A3793751-3CD8-F6D2-02DB-7D9D757F6E38}"/>
          </ac:spMkLst>
        </pc:spChg>
        <pc:spChg chg="mod">
          <ac:chgData name="Muchahary, Frankle" userId="0f2bf491-0617-4378-90b8-89af8fa381b9" providerId="ADAL" clId="{8E3D5D9D-CC05-4C7B-9A9C-2FFB7784C389}" dt="2024-02-06T04:15:22.454" v="3806"/>
          <ac:spMkLst>
            <pc:docMk/>
            <pc:sldMk cId="489047355" sldId="470"/>
            <ac:spMk id="866" creationId="{18BCB01A-63E6-31EE-AAFA-587D1785E1C3}"/>
          </ac:spMkLst>
        </pc:spChg>
        <pc:spChg chg="mod">
          <ac:chgData name="Muchahary, Frankle" userId="0f2bf491-0617-4378-90b8-89af8fa381b9" providerId="ADAL" clId="{8E3D5D9D-CC05-4C7B-9A9C-2FFB7784C389}" dt="2024-02-06T04:15:22.455" v="3807"/>
          <ac:spMkLst>
            <pc:docMk/>
            <pc:sldMk cId="489047355" sldId="470"/>
            <ac:spMk id="867" creationId="{085FFD9D-D51E-D77B-5E5B-1389DA720EB6}"/>
          </ac:spMkLst>
        </pc:spChg>
        <pc:spChg chg="mod">
          <ac:chgData name="Muchahary, Frankle" userId="0f2bf491-0617-4378-90b8-89af8fa381b9" providerId="ADAL" clId="{8E3D5D9D-CC05-4C7B-9A9C-2FFB7784C389}" dt="2024-02-06T04:15:22.455" v="3808"/>
          <ac:spMkLst>
            <pc:docMk/>
            <pc:sldMk cId="489047355" sldId="470"/>
            <ac:spMk id="868" creationId="{C54E3E30-CC3B-357E-E527-7057A2DCECC2}"/>
          </ac:spMkLst>
        </pc:spChg>
        <pc:spChg chg="mod">
          <ac:chgData name="Muchahary, Frankle" userId="0f2bf491-0617-4378-90b8-89af8fa381b9" providerId="ADAL" clId="{8E3D5D9D-CC05-4C7B-9A9C-2FFB7784C389}" dt="2024-02-06T04:15:22.419" v="3738"/>
          <ac:spMkLst>
            <pc:docMk/>
            <pc:sldMk cId="489047355" sldId="470"/>
            <ac:spMk id="869" creationId="{FEFD3BFF-5F11-6AA5-E76B-57469493659C}"/>
          </ac:spMkLst>
        </pc:spChg>
        <pc:spChg chg="del">
          <ac:chgData name="Muchahary, Frankle" userId="0f2bf491-0617-4378-90b8-89af8fa381b9" providerId="ADAL" clId="{8E3D5D9D-CC05-4C7B-9A9C-2FFB7784C389}" dt="2024-02-06T04:15:12.216" v="2791" actId="478"/>
          <ac:spMkLst>
            <pc:docMk/>
            <pc:sldMk cId="489047355" sldId="470"/>
            <ac:spMk id="898" creationId="{5F8AC715-BDBE-A262-D038-C0777F8640C3}"/>
          </ac:spMkLst>
        </pc:spChg>
        <pc:spChg chg="mod">
          <ac:chgData name="Muchahary, Frankle" userId="0f2bf491-0617-4378-90b8-89af8fa381b9" providerId="ADAL" clId="{8E3D5D9D-CC05-4C7B-9A9C-2FFB7784C389}" dt="2024-02-06T04:15:22.451" v="3800"/>
          <ac:spMkLst>
            <pc:docMk/>
            <pc:sldMk cId="489047355" sldId="470"/>
            <ac:spMk id="906" creationId="{EBF062D3-C161-6140-BCCC-BA5105472EA0}"/>
          </ac:spMkLst>
        </pc:spChg>
        <pc:spChg chg="mod">
          <ac:chgData name="Muchahary, Frankle" userId="0f2bf491-0617-4378-90b8-89af8fa381b9" providerId="ADAL" clId="{8E3D5D9D-CC05-4C7B-9A9C-2FFB7784C389}" dt="2024-02-06T04:15:22.421" v="3742"/>
          <ac:spMkLst>
            <pc:docMk/>
            <pc:sldMk cId="489047355" sldId="470"/>
            <ac:spMk id="911" creationId="{8692C198-7E22-6A2C-9F07-2E740AB0CEA2}"/>
          </ac:spMkLst>
        </pc:spChg>
        <pc:spChg chg="mod ord">
          <ac:chgData name="Muchahary, Frankle" userId="0f2bf491-0617-4378-90b8-89af8fa381b9" providerId="ADAL" clId="{8E3D5D9D-CC05-4C7B-9A9C-2FFB7784C389}" dt="2024-02-06T04:15:22.460" v="3819"/>
          <ac:spMkLst>
            <pc:docMk/>
            <pc:sldMk cId="489047355" sldId="470"/>
            <ac:spMk id="977" creationId="{A5349B38-8B2E-3965-63F4-31D68BEBDA93}"/>
          </ac:spMkLst>
        </pc:spChg>
        <pc:spChg chg="del">
          <ac:chgData name="Muchahary, Frankle" userId="0f2bf491-0617-4378-90b8-89af8fa381b9" providerId="ADAL" clId="{8E3D5D9D-CC05-4C7B-9A9C-2FFB7784C389}" dt="2024-02-06T04:15:21.457" v="2889"/>
          <ac:spMkLst>
            <pc:docMk/>
            <pc:sldMk cId="489047355" sldId="470"/>
            <ac:spMk id="997" creationId="{D3683C9B-FD0F-4DAA-3057-A3436682E637}"/>
          </ac:spMkLst>
        </pc:spChg>
        <pc:spChg chg="del">
          <ac:chgData name="Muchahary, Frankle" userId="0f2bf491-0617-4378-90b8-89af8fa381b9" providerId="ADAL" clId="{8E3D5D9D-CC05-4C7B-9A9C-2FFB7784C389}" dt="2024-02-06T04:15:21.477" v="2905"/>
          <ac:spMkLst>
            <pc:docMk/>
            <pc:sldMk cId="489047355" sldId="470"/>
            <ac:spMk id="998" creationId="{EDA34677-C36F-BEF9-EF17-C9254F441A5F}"/>
          </ac:spMkLst>
        </pc:spChg>
        <pc:spChg chg="del">
          <ac:chgData name="Muchahary, Frankle" userId="0f2bf491-0617-4378-90b8-89af8fa381b9" providerId="ADAL" clId="{8E3D5D9D-CC05-4C7B-9A9C-2FFB7784C389}" dt="2024-02-06T04:15:21.488" v="2920"/>
          <ac:spMkLst>
            <pc:docMk/>
            <pc:sldMk cId="489047355" sldId="470"/>
            <ac:spMk id="999" creationId="{AF53626E-E00A-DAA6-7BEF-FBC1043A75F9}"/>
          </ac:spMkLst>
        </pc:spChg>
        <pc:spChg chg="del">
          <ac:chgData name="Muchahary, Frankle" userId="0f2bf491-0617-4378-90b8-89af8fa381b9" providerId="ADAL" clId="{8E3D5D9D-CC05-4C7B-9A9C-2FFB7784C389}" dt="2024-02-06T04:15:21.496" v="2933"/>
          <ac:spMkLst>
            <pc:docMk/>
            <pc:sldMk cId="489047355" sldId="470"/>
            <ac:spMk id="1000" creationId="{51F955EC-B871-FA4F-8A6E-51CDF577C3BB}"/>
          </ac:spMkLst>
        </pc:spChg>
        <pc:spChg chg="del">
          <ac:chgData name="Muchahary, Frankle" userId="0f2bf491-0617-4378-90b8-89af8fa381b9" providerId="ADAL" clId="{8E3D5D9D-CC05-4C7B-9A9C-2FFB7784C389}" dt="2024-02-06T04:15:21.510" v="2949"/>
          <ac:spMkLst>
            <pc:docMk/>
            <pc:sldMk cId="489047355" sldId="470"/>
            <ac:spMk id="1001" creationId="{B758E33F-2754-49FD-FC7D-D071E15C32C4}"/>
          </ac:spMkLst>
        </pc:spChg>
        <pc:spChg chg="del">
          <ac:chgData name="Muchahary, Frankle" userId="0f2bf491-0617-4378-90b8-89af8fa381b9" providerId="ADAL" clId="{8E3D5D9D-CC05-4C7B-9A9C-2FFB7784C389}" dt="2024-02-06T04:15:21.521" v="2964"/>
          <ac:spMkLst>
            <pc:docMk/>
            <pc:sldMk cId="489047355" sldId="470"/>
            <ac:spMk id="1002" creationId="{2527C452-4C00-FBDB-FD39-28468B246233}"/>
          </ac:spMkLst>
        </pc:spChg>
        <pc:spChg chg="del">
          <ac:chgData name="Muchahary, Frankle" userId="0f2bf491-0617-4378-90b8-89af8fa381b9" providerId="ADAL" clId="{8E3D5D9D-CC05-4C7B-9A9C-2FFB7784C389}" dt="2024-02-06T04:15:21.530" v="2977"/>
          <ac:spMkLst>
            <pc:docMk/>
            <pc:sldMk cId="489047355" sldId="470"/>
            <ac:spMk id="1003" creationId="{1109A65D-E1B5-AC2C-2562-6D2689CA1C60}"/>
          </ac:spMkLst>
        </pc:spChg>
        <pc:spChg chg="del">
          <ac:chgData name="Muchahary, Frankle" userId="0f2bf491-0617-4378-90b8-89af8fa381b9" providerId="ADAL" clId="{8E3D5D9D-CC05-4C7B-9A9C-2FFB7784C389}" dt="2024-02-06T04:15:21.540" v="2993"/>
          <ac:spMkLst>
            <pc:docMk/>
            <pc:sldMk cId="489047355" sldId="470"/>
            <ac:spMk id="1004" creationId="{10C991D2-8B71-B488-CAE0-8F08B722FCF4}"/>
          </ac:spMkLst>
        </pc:spChg>
        <pc:spChg chg="del">
          <ac:chgData name="Muchahary, Frankle" userId="0f2bf491-0617-4378-90b8-89af8fa381b9" providerId="ADAL" clId="{8E3D5D9D-CC05-4C7B-9A9C-2FFB7784C389}" dt="2024-02-06T04:15:21.552" v="3008"/>
          <ac:spMkLst>
            <pc:docMk/>
            <pc:sldMk cId="489047355" sldId="470"/>
            <ac:spMk id="1005" creationId="{AB90F804-298C-C8A2-C5DE-3C03325436AE}"/>
          </ac:spMkLst>
        </pc:spChg>
        <pc:spChg chg="del">
          <ac:chgData name="Muchahary, Frankle" userId="0f2bf491-0617-4378-90b8-89af8fa381b9" providerId="ADAL" clId="{8E3D5D9D-CC05-4C7B-9A9C-2FFB7784C389}" dt="2024-02-06T04:15:21.560" v="3021"/>
          <ac:spMkLst>
            <pc:docMk/>
            <pc:sldMk cId="489047355" sldId="470"/>
            <ac:spMk id="1006" creationId="{45792E25-D482-41A9-44C3-EF675CB52C7B}"/>
          </ac:spMkLst>
        </pc:spChg>
        <pc:spChg chg="del">
          <ac:chgData name="Muchahary, Frankle" userId="0f2bf491-0617-4378-90b8-89af8fa381b9" providerId="ADAL" clId="{8E3D5D9D-CC05-4C7B-9A9C-2FFB7784C389}" dt="2024-02-06T04:15:21.573" v="3037"/>
          <ac:spMkLst>
            <pc:docMk/>
            <pc:sldMk cId="489047355" sldId="470"/>
            <ac:spMk id="1007" creationId="{AD218A33-B4AF-6687-6D7F-B4E087F403EA}"/>
          </ac:spMkLst>
        </pc:spChg>
        <pc:spChg chg="del">
          <ac:chgData name="Muchahary, Frankle" userId="0f2bf491-0617-4378-90b8-89af8fa381b9" providerId="ADAL" clId="{8E3D5D9D-CC05-4C7B-9A9C-2FFB7784C389}" dt="2024-02-06T04:15:21.583" v="3052"/>
          <ac:spMkLst>
            <pc:docMk/>
            <pc:sldMk cId="489047355" sldId="470"/>
            <ac:spMk id="1008" creationId="{535A7EFE-1307-E999-B5CB-B7D5D222E83E}"/>
          </ac:spMkLst>
        </pc:spChg>
        <pc:spChg chg="del">
          <ac:chgData name="Muchahary, Frankle" userId="0f2bf491-0617-4378-90b8-89af8fa381b9" providerId="ADAL" clId="{8E3D5D9D-CC05-4C7B-9A9C-2FFB7784C389}" dt="2024-02-06T04:15:21.594" v="3065"/>
          <ac:spMkLst>
            <pc:docMk/>
            <pc:sldMk cId="489047355" sldId="470"/>
            <ac:spMk id="1009" creationId="{33202EE8-5950-8892-CD9D-A15C28EA299A}"/>
          </ac:spMkLst>
        </pc:spChg>
        <pc:spChg chg="del">
          <ac:chgData name="Muchahary, Frankle" userId="0f2bf491-0617-4378-90b8-89af8fa381b9" providerId="ADAL" clId="{8E3D5D9D-CC05-4C7B-9A9C-2FFB7784C389}" dt="2024-02-06T04:15:21.608" v="3081"/>
          <ac:spMkLst>
            <pc:docMk/>
            <pc:sldMk cId="489047355" sldId="470"/>
            <ac:spMk id="1010" creationId="{640E3A83-F7EE-1C7C-852F-87A0A58A7B84}"/>
          </ac:spMkLst>
        </pc:spChg>
        <pc:spChg chg="del">
          <ac:chgData name="Muchahary, Frankle" userId="0f2bf491-0617-4378-90b8-89af8fa381b9" providerId="ADAL" clId="{8E3D5D9D-CC05-4C7B-9A9C-2FFB7784C389}" dt="2024-02-06T04:15:21.619" v="3096"/>
          <ac:spMkLst>
            <pc:docMk/>
            <pc:sldMk cId="489047355" sldId="470"/>
            <ac:spMk id="1011" creationId="{5E5272C0-699C-E41E-69B3-7C7151B5AEE3}"/>
          </ac:spMkLst>
        </pc:spChg>
        <pc:spChg chg="del">
          <ac:chgData name="Muchahary, Frankle" userId="0f2bf491-0617-4378-90b8-89af8fa381b9" providerId="ADAL" clId="{8E3D5D9D-CC05-4C7B-9A9C-2FFB7784C389}" dt="2024-02-06T04:15:21.630" v="3109"/>
          <ac:spMkLst>
            <pc:docMk/>
            <pc:sldMk cId="489047355" sldId="470"/>
            <ac:spMk id="1012" creationId="{DC8D77E9-4205-4C97-CEA9-9976393F8C0E}"/>
          </ac:spMkLst>
        </pc:spChg>
        <pc:spChg chg="del">
          <ac:chgData name="Muchahary, Frankle" userId="0f2bf491-0617-4378-90b8-89af8fa381b9" providerId="ADAL" clId="{8E3D5D9D-CC05-4C7B-9A9C-2FFB7784C389}" dt="2024-02-06T04:15:21.646" v="3125"/>
          <ac:spMkLst>
            <pc:docMk/>
            <pc:sldMk cId="489047355" sldId="470"/>
            <ac:spMk id="1013" creationId="{10C23BA4-180E-DA2B-1009-69BDA25832E6}"/>
          </ac:spMkLst>
        </pc:spChg>
        <pc:spChg chg="del">
          <ac:chgData name="Muchahary, Frankle" userId="0f2bf491-0617-4378-90b8-89af8fa381b9" providerId="ADAL" clId="{8E3D5D9D-CC05-4C7B-9A9C-2FFB7784C389}" dt="2024-02-06T04:15:21.655" v="3140"/>
          <ac:spMkLst>
            <pc:docMk/>
            <pc:sldMk cId="489047355" sldId="470"/>
            <ac:spMk id="1014" creationId="{6C05B14F-AF9D-D193-9454-857FA615C238}"/>
          </ac:spMkLst>
        </pc:spChg>
        <pc:spChg chg="del">
          <ac:chgData name="Muchahary, Frankle" userId="0f2bf491-0617-4378-90b8-89af8fa381b9" providerId="ADAL" clId="{8E3D5D9D-CC05-4C7B-9A9C-2FFB7784C389}" dt="2024-02-06T04:15:21.665" v="3153"/>
          <ac:spMkLst>
            <pc:docMk/>
            <pc:sldMk cId="489047355" sldId="470"/>
            <ac:spMk id="1015" creationId="{5C6FB000-8839-7FD1-0DA6-17E3F98A6675}"/>
          </ac:spMkLst>
        </pc:spChg>
        <pc:spChg chg="del">
          <ac:chgData name="Muchahary, Frankle" userId="0f2bf491-0617-4378-90b8-89af8fa381b9" providerId="ADAL" clId="{8E3D5D9D-CC05-4C7B-9A9C-2FFB7784C389}" dt="2024-02-06T04:15:21.677" v="3169"/>
          <ac:spMkLst>
            <pc:docMk/>
            <pc:sldMk cId="489047355" sldId="470"/>
            <ac:spMk id="1016" creationId="{66883C5C-AE4E-F64C-4E70-35867B495DEA}"/>
          </ac:spMkLst>
        </pc:spChg>
        <pc:spChg chg="del">
          <ac:chgData name="Muchahary, Frankle" userId="0f2bf491-0617-4378-90b8-89af8fa381b9" providerId="ADAL" clId="{8E3D5D9D-CC05-4C7B-9A9C-2FFB7784C389}" dt="2024-02-06T04:15:21.688" v="3184"/>
          <ac:spMkLst>
            <pc:docMk/>
            <pc:sldMk cId="489047355" sldId="470"/>
            <ac:spMk id="1017" creationId="{FCA526DC-8F41-0CCA-C4B5-33377A19E943}"/>
          </ac:spMkLst>
        </pc:spChg>
        <pc:spChg chg="del">
          <ac:chgData name="Muchahary, Frankle" userId="0f2bf491-0617-4378-90b8-89af8fa381b9" providerId="ADAL" clId="{8E3D5D9D-CC05-4C7B-9A9C-2FFB7784C389}" dt="2024-02-06T04:15:21.698" v="3197"/>
          <ac:spMkLst>
            <pc:docMk/>
            <pc:sldMk cId="489047355" sldId="470"/>
            <ac:spMk id="1018" creationId="{D0F30A1B-83E2-5B18-198C-6115B0CDD9F8}"/>
          </ac:spMkLst>
        </pc:spChg>
        <pc:spChg chg="del">
          <ac:chgData name="Muchahary, Frankle" userId="0f2bf491-0617-4378-90b8-89af8fa381b9" providerId="ADAL" clId="{8E3D5D9D-CC05-4C7B-9A9C-2FFB7784C389}" dt="2024-02-06T04:15:21.710" v="3213"/>
          <ac:spMkLst>
            <pc:docMk/>
            <pc:sldMk cId="489047355" sldId="470"/>
            <ac:spMk id="1019" creationId="{CB42F2DF-35B2-55F1-7422-3D1903A63079}"/>
          </ac:spMkLst>
        </pc:spChg>
        <pc:spChg chg="del">
          <ac:chgData name="Muchahary, Frankle" userId="0f2bf491-0617-4378-90b8-89af8fa381b9" providerId="ADAL" clId="{8E3D5D9D-CC05-4C7B-9A9C-2FFB7784C389}" dt="2024-02-06T04:15:21.724" v="3228"/>
          <ac:spMkLst>
            <pc:docMk/>
            <pc:sldMk cId="489047355" sldId="470"/>
            <ac:spMk id="1020" creationId="{3079B67F-192B-64CB-C2A7-26DFB9B08A58}"/>
          </ac:spMkLst>
        </pc:spChg>
        <pc:spChg chg="del">
          <ac:chgData name="Muchahary, Frankle" userId="0f2bf491-0617-4378-90b8-89af8fa381b9" providerId="ADAL" clId="{8E3D5D9D-CC05-4C7B-9A9C-2FFB7784C389}" dt="2024-02-06T04:15:17.133" v="2818"/>
          <ac:spMkLst>
            <pc:docMk/>
            <pc:sldMk cId="489047355" sldId="470"/>
            <ac:spMk id="1577" creationId="{27E28271-7513-B2DB-4CB3-20CF1E518AFA}"/>
          </ac:spMkLst>
        </pc:spChg>
        <pc:spChg chg="del">
          <ac:chgData name="Muchahary, Frankle" userId="0f2bf491-0617-4378-90b8-89af8fa381b9" providerId="ADAL" clId="{8E3D5D9D-CC05-4C7B-9A9C-2FFB7784C389}" dt="2024-02-06T04:15:17.135" v="2821"/>
          <ac:spMkLst>
            <pc:docMk/>
            <pc:sldMk cId="489047355" sldId="470"/>
            <ac:spMk id="1580" creationId="{42D25C95-4A0E-C332-1FCD-F650C9026032}"/>
          </ac:spMkLst>
        </pc:spChg>
        <pc:spChg chg="del">
          <ac:chgData name="Muchahary, Frankle" userId="0f2bf491-0617-4378-90b8-89af8fa381b9" providerId="ADAL" clId="{8E3D5D9D-CC05-4C7B-9A9C-2FFB7784C389}" dt="2024-02-06T04:15:17.132" v="2817"/>
          <ac:spMkLst>
            <pc:docMk/>
            <pc:sldMk cId="489047355" sldId="470"/>
            <ac:spMk id="1607" creationId="{0C4FD17F-2A06-D2B9-CA97-35E92761719D}"/>
          </ac:spMkLst>
        </pc:spChg>
        <pc:spChg chg="mod">
          <ac:chgData name="Muchahary, Frankle" userId="0f2bf491-0617-4378-90b8-89af8fa381b9" providerId="ADAL" clId="{8E3D5D9D-CC05-4C7B-9A9C-2FFB7784C389}" dt="2024-02-06T04:15:22.421" v="3741"/>
          <ac:spMkLst>
            <pc:docMk/>
            <pc:sldMk cId="489047355" sldId="470"/>
            <ac:spMk id="1662" creationId="{174B43BB-9870-2DC3-204C-22BA18B1672E}"/>
          </ac:spMkLst>
        </pc:spChg>
        <pc:spChg chg="mod ord">
          <ac:chgData name="Muchahary, Frankle" userId="0f2bf491-0617-4378-90b8-89af8fa381b9" providerId="ADAL" clId="{8E3D5D9D-CC05-4C7B-9A9C-2FFB7784C389}" dt="2024-02-06T04:15:22.450" v="3797"/>
          <ac:spMkLst>
            <pc:docMk/>
            <pc:sldMk cId="489047355" sldId="470"/>
            <ac:spMk id="1668" creationId="{C3772601-CFC3-E33B-3509-672F428483FF}"/>
          </ac:spMkLst>
        </pc:spChg>
        <pc:spChg chg="mod">
          <ac:chgData name="Muchahary, Frankle" userId="0f2bf491-0617-4378-90b8-89af8fa381b9" providerId="ADAL" clId="{8E3D5D9D-CC05-4C7B-9A9C-2FFB7784C389}" dt="2024-02-06T04:15:22.416" v="3734"/>
          <ac:spMkLst>
            <pc:docMk/>
            <pc:sldMk cId="489047355" sldId="470"/>
            <ac:spMk id="1669" creationId="{0306B6BB-4BF0-6249-A591-4E2DE60A2EDB}"/>
          </ac:spMkLst>
        </pc:spChg>
        <pc:spChg chg="mod">
          <ac:chgData name="Muchahary, Frankle" userId="0f2bf491-0617-4378-90b8-89af8fa381b9" providerId="ADAL" clId="{8E3D5D9D-CC05-4C7B-9A9C-2FFB7784C389}" dt="2024-02-06T04:15:22.416" v="3733"/>
          <ac:spMkLst>
            <pc:docMk/>
            <pc:sldMk cId="489047355" sldId="470"/>
            <ac:spMk id="1673" creationId="{510664BB-381D-B665-744F-C16770AC03B8}"/>
          </ac:spMkLst>
        </pc:spChg>
        <pc:spChg chg="mod">
          <ac:chgData name="Muchahary, Frankle" userId="0f2bf491-0617-4378-90b8-89af8fa381b9" providerId="ADAL" clId="{8E3D5D9D-CC05-4C7B-9A9C-2FFB7784C389}" dt="2024-02-06T04:15:22.418" v="3735"/>
          <ac:spMkLst>
            <pc:docMk/>
            <pc:sldMk cId="489047355" sldId="470"/>
            <ac:spMk id="1674" creationId="{471FDC8C-1B22-4E8D-17DE-7D1A0CEF09E2}"/>
          </ac:spMkLst>
        </pc:spChg>
        <pc:spChg chg="del">
          <ac:chgData name="Muchahary, Frankle" userId="0f2bf491-0617-4378-90b8-89af8fa381b9" providerId="ADAL" clId="{8E3D5D9D-CC05-4C7B-9A9C-2FFB7784C389}" dt="2024-02-06T04:15:17.131" v="2814"/>
          <ac:spMkLst>
            <pc:docMk/>
            <pc:sldMk cId="489047355" sldId="470"/>
            <ac:spMk id="1689" creationId="{214F3249-C742-B518-75F9-3407757B878D}"/>
          </ac:spMkLst>
        </pc:spChg>
        <pc:spChg chg="mod ord">
          <ac:chgData name="Muchahary, Frankle" userId="0f2bf491-0617-4378-90b8-89af8fa381b9" providerId="ADAL" clId="{8E3D5D9D-CC05-4C7B-9A9C-2FFB7784C389}" dt="2024-02-06T04:15:22.457" v="3815"/>
          <ac:spMkLst>
            <pc:docMk/>
            <pc:sldMk cId="489047355" sldId="470"/>
            <ac:spMk id="1693" creationId="{C9BD2FAD-3401-496D-001F-AB877942F9EF}"/>
          </ac:spMkLst>
        </pc:spChg>
        <pc:graphicFrameChg chg="mod">
          <ac:chgData name="Muchahary, Frankle" userId="0f2bf491-0617-4378-90b8-89af8fa381b9" providerId="ADAL" clId="{8E3D5D9D-CC05-4C7B-9A9C-2FFB7784C389}" dt="2024-02-06T04:15:22.471" v="3825"/>
          <ac:graphicFrameMkLst>
            <pc:docMk/>
            <pc:sldMk cId="489047355" sldId="470"/>
            <ac:graphicFrameMk id="4" creationId="{5459FC04-E045-3AE0-E29C-432C91BE2DE2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6T04:15:22.404" v="3708"/>
          <ac:graphicFrameMkLst>
            <pc:docMk/>
            <pc:sldMk cId="489047355" sldId="470"/>
            <ac:graphicFrameMk id="36" creationId="{957629B6-764D-1F34-9D34-6EBA690B98E6}"/>
          </ac:graphicFrameMkLst>
        </pc:graphicFrameChg>
        <pc:graphicFrameChg chg="del">
          <ac:chgData name="Muchahary, Frankle" userId="0f2bf491-0617-4378-90b8-89af8fa381b9" providerId="ADAL" clId="{8E3D5D9D-CC05-4C7B-9A9C-2FFB7784C389}" dt="2024-02-06T04:15:22.357" v="3684"/>
          <ac:graphicFrameMkLst>
            <pc:docMk/>
            <pc:sldMk cId="489047355" sldId="470"/>
            <ac:graphicFrameMk id="514" creationId="{C3E0BBA0-14E3-94C0-E024-11F76DF52FB3}"/>
          </ac:graphicFrameMkLst>
        </pc:graphicFrameChg>
        <pc:graphicFrameChg chg="del">
          <ac:chgData name="Muchahary, Frankle" userId="0f2bf491-0617-4378-90b8-89af8fa381b9" providerId="ADAL" clId="{8E3D5D9D-CC05-4C7B-9A9C-2FFB7784C389}" dt="2024-02-06T04:15:17.139" v="2823"/>
          <ac:graphicFrameMkLst>
            <pc:docMk/>
            <pc:sldMk cId="489047355" sldId="470"/>
            <ac:graphicFrameMk id="976" creationId="{C434C97E-0339-1BDF-84B2-9202F1700CC3}"/>
          </ac:graphicFrameMkLst>
        </pc:graphicFrameChg>
        <pc:cxnChg chg="mod ord">
          <ac:chgData name="Muchahary, Frankle" userId="0f2bf491-0617-4378-90b8-89af8fa381b9" providerId="ADAL" clId="{8E3D5D9D-CC05-4C7B-9A9C-2FFB7784C389}" dt="2024-02-06T04:15:22.403" v="3704"/>
          <ac:cxnSpMkLst>
            <pc:docMk/>
            <pc:sldMk cId="489047355" sldId="470"/>
            <ac:cxnSpMk id="29" creationId="{0B4466CF-527C-F986-2109-7A99E941F7C5}"/>
          </ac:cxnSpMkLst>
        </pc:cxnChg>
        <pc:cxnChg chg="mod ord">
          <ac:chgData name="Muchahary, Frankle" userId="0f2bf491-0617-4378-90b8-89af8fa381b9" providerId="ADAL" clId="{8E3D5D9D-CC05-4C7B-9A9C-2FFB7784C389}" dt="2024-02-06T04:15:22.401" v="3700"/>
          <ac:cxnSpMkLst>
            <pc:docMk/>
            <pc:sldMk cId="489047355" sldId="470"/>
            <ac:cxnSpMk id="30" creationId="{3A209406-AEC9-0735-C255-764A79934C64}"/>
          </ac:cxnSpMkLst>
        </pc:cxnChg>
        <pc:cxnChg chg="mod ord">
          <ac:chgData name="Muchahary, Frankle" userId="0f2bf491-0617-4378-90b8-89af8fa381b9" providerId="ADAL" clId="{8E3D5D9D-CC05-4C7B-9A9C-2FFB7784C389}" dt="2024-02-06T04:15:22.400" v="3698"/>
          <ac:cxnSpMkLst>
            <pc:docMk/>
            <pc:sldMk cId="489047355" sldId="470"/>
            <ac:cxnSpMk id="48" creationId="{9C7A0030-948F-E3B2-DD0C-F7591515C7D9}"/>
          </ac:cxnSpMkLst>
        </pc:cxnChg>
        <pc:cxnChg chg="mod ord">
          <ac:chgData name="Muchahary, Frankle" userId="0f2bf491-0617-4378-90b8-89af8fa381b9" providerId="ADAL" clId="{8E3D5D9D-CC05-4C7B-9A9C-2FFB7784C389}" dt="2024-02-06T04:15:22.400" v="3696"/>
          <ac:cxnSpMkLst>
            <pc:docMk/>
            <pc:sldMk cId="489047355" sldId="470"/>
            <ac:cxnSpMk id="53" creationId="{5835CD90-62AC-A09A-5A7B-272851531A4B}"/>
          </ac:cxnSpMkLst>
        </pc:cxnChg>
        <pc:cxnChg chg="mod ord">
          <ac:chgData name="Muchahary, Frankle" userId="0f2bf491-0617-4378-90b8-89af8fa381b9" providerId="ADAL" clId="{8E3D5D9D-CC05-4C7B-9A9C-2FFB7784C389}" dt="2024-02-06T04:15:22.399" v="3694"/>
          <ac:cxnSpMkLst>
            <pc:docMk/>
            <pc:sldMk cId="489047355" sldId="470"/>
            <ac:cxnSpMk id="58" creationId="{D81704BD-0E84-7C3E-ECCC-BC97F2143BFA}"/>
          </ac:cxnSpMkLst>
        </pc:cxnChg>
        <pc:cxnChg chg="mod ord">
          <ac:chgData name="Muchahary, Frankle" userId="0f2bf491-0617-4378-90b8-89af8fa381b9" providerId="ADAL" clId="{8E3D5D9D-CC05-4C7B-9A9C-2FFB7784C389}" dt="2024-02-06T04:15:22.402" v="3702"/>
          <ac:cxnSpMkLst>
            <pc:docMk/>
            <pc:sldMk cId="489047355" sldId="470"/>
            <ac:cxnSpMk id="388" creationId="{9B1C0DAF-533E-0600-6118-683227EC8B93}"/>
          </ac:cxnSpMkLst>
        </pc:cxnChg>
        <pc:cxnChg chg="mod ord">
          <ac:chgData name="Muchahary, Frankle" userId="0f2bf491-0617-4378-90b8-89af8fa381b9" providerId="ADAL" clId="{8E3D5D9D-CC05-4C7B-9A9C-2FFB7784C389}" dt="2024-02-06T04:15:22.398" v="3692"/>
          <ac:cxnSpMkLst>
            <pc:docMk/>
            <pc:sldMk cId="489047355" sldId="470"/>
            <ac:cxnSpMk id="409" creationId="{3EADA168-F177-0E47-D3E9-D226BF40136E}"/>
          </ac:cxnSpMkLst>
        </pc:cxnChg>
        <pc:cxnChg chg="mod ord">
          <ac:chgData name="Muchahary, Frankle" userId="0f2bf491-0617-4378-90b8-89af8fa381b9" providerId="ADAL" clId="{8E3D5D9D-CC05-4C7B-9A9C-2FFB7784C389}" dt="2024-02-06T04:15:22.443" v="3786"/>
          <ac:cxnSpMkLst>
            <pc:docMk/>
            <pc:sldMk cId="489047355" sldId="470"/>
            <ac:cxnSpMk id="707" creationId="{E4E3946D-6B41-38C9-22EA-C202DC3140D4}"/>
          </ac:cxnSpMkLst>
        </pc:cxnChg>
        <pc:cxnChg chg="mod ord">
          <ac:chgData name="Muchahary, Frankle" userId="0f2bf491-0617-4378-90b8-89af8fa381b9" providerId="ADAL" clId="{8E3D5D9D-CC05-4C7B-9A9C-2FFB7784C389}" dt="2024-02-06T04:15:22.445" v="3788"/>
          <ac:cxnSpMkLst>
            <pc:docMk/>
            <pc:sldMk cId="489047355" sldId="470"/>
            <ac:cxnSpMk id="708" creationId="{66DCBDB2-0B43-F728-400A-F01AA17619BD}"/>
          </ac:cxnSpMkLst>
        </pc:cxnChg>
        <pc:cxnChg chg="mod ord">
          <ac:chgData name="Muchahary, Frankle" userId="0f2bf491-0617-4378-90b8-89af8fa381b9" providerId="ADAL" clId="{8E3D5D9D-CC05-4C7B-9A9C-2FFB7784C389}" dt="2024-02-06T04:15:22.446" v="3790"/>
          <ac:cxnSpMkLst>
            <pc:docMk/>
            <pc:sldMk cId="489047355" sldId="470"/>
            <ac:cxnSpMk id="709" creationId="{32EB4D6C-6466-EDC8-FD60-088E5A1F34C0}"/>
          </ac:cxnSpMkLst>
        </pc:cxnChg>
        <pc:cxnChg chg="mod ord">
          <ac:chgData name="Muchahary, Frankle" userId="0f2bf491-0617-4378-90b8-89af8fa381b9" providerId="ADAL" clId="{8E3D5D9D-CC05-4C7B-9A9C-2FFB7784C389}" dt="2024-02-06T04:15:22.406" v="3712"/>
          <ac:cxnSpMkLst>
            <pc:docMk/>
            <pc:sldMk cId="489047355" sldId="470"/>
            <ac:cxnSpMk id="879" creationId="{A3AC0952-7165-FA1C-1EF1-3FED1D121C86}"/>
          </ac:cxnSpMkLst>
        </pc:cxnChg>
        <pc:cxnChg chg="mod ord">
          <ac:chgData name="Muchahary, Frankle" userId="0f2bf491-0617-4378-90b8-89af8fa381b9" providerId="ADAL" clId="{8E3D5D9D-CC05-4C7B-9A9C-2FFB7784C389}" dt="2024-02-06T04:15:22.404" v="3706"/>
          <ac:cxnSpMkLst>
            <pc:docMk/>
            <pc:sldMk cId="489047355" sldId="470"/>
            <ac:cxnSpMk id="904" creationId="{828B4EDA-D989-E37F-4FD4-4CB7E5EA446C}"/>
          </ac:cxnSpMkLst>
        </pc:cxnChg>
        <pc:cxnChg chg="mod ord">
          <ac:chgData name="Muchahary, Frankle" userId="0f2bf491-0617-4378-90b8-89af8fa381b9" providerId="ADAL" clId="{8E3D5D9D-CC05-4C7B-9A9C-2FFB7784C389}" dt="2024-02-06T04:15:22.414" v="3728"/>
          <ac:cxnSpMkLst>
            <pc:docMk/>
            <pc:sldMk cId="489047355" sldId="470"/>
            <ac:cxnSpMk id="912" creationId="{7E438071-045C-484D-5315-3B085078CECB}"/>
          </ac:cxnSpMkLst>
        </pc:cxnChg>
        <pc:cxnChg chg="mod ord">
          <ac:chgData name="Muchahary, Frankle" userId="0f2bf491-0617-4378-90b8-89af8fa381b9" providerId="ADAL" clId="{8E3D5D9D-CC05-4C7B-9A9C-2FFB7784C389}" dt="2024-02-06T04:15:22.412" v="3724"/>
          <ac:cxnSpMkLst>
            <pc:docMk/>
            <pc:sldMk cId="489047355" sldId="470"/>
            <ac:cxnSpMk id="961" creationId="{B2FF5A0D-168B-5D3A-0A17-61D40166EF39}"/>
          </ac:cxnSpMkLst>
        </pc:cxnChg>
        <pc:cxnChg chg="mod ord">
          <ac:chgData name="Muchahary, Frankle" userId="0f2bf491-0617-4378-90b8-89af8fa381b9" providerId="ADAL" clId="{8E3D5D9D-CC05-4C7B-9A9C-2FFB7784C389}" dt="2024-02-06T04:15:22.405" v="3710"/>
          <ac:cxnSpMkLst>
            <pc:docMk/>
            <pc:sldMk cId="489047355" sldId="470"/>
            <ac:cxnSpMk id="963" creationId="{6CAE78C1-3725-AEDB-68E0-5F453DC397DD}"/>
          </ac:cxnSpMkLst>
        </pc:cxnChg>
        <pc:cxnChg chg="mod ord">
          <ac:chgData name="Muchahary, Frankle" userId="0f2bf491-0617-4378-90b8-89af8fa381b9" providerId="ADAL" clId="{8E3D5D9D-CC05-4C7B-9A9C-2FFB7784C389}" dt="2024-02-06T04:15:22.409" v="3718"/>
          <ac:cxnSpMkLst>
            <pc:docMk/>
            <pc:sldMk cId="489047355" sldId="470"/>
            <ac:cxnSpMk id="964" creationId="{F36B5D83-F033-C673-B5B9-8D8D9431883B}"/>
          </ac:cxnSpMkLst>
        </pc:cxnChg>
        <pc:cxnChg chg="mod ord">
          <ac:chgData name="Muchahary, Frankle" userId="0f2bf491-0617-4378-90b8-89af8fa381b9" providerId="ADAL" clId="{8E3D5D9D-CC05-4C7B-9A9C-2FFB7784C389}" dt="2024-02-06T04:15:22.412" v="3726"/>
          <ac:cxnSpMkLst>
            <pc:docMk/>
            <pc:sldMk cId="489047355" sldId="470"/>
            <ac:cxnSpMk id="966" creationId="{B649CEF8-379E-88DA-D9EC-E0BBAF960B5D}"/>
          </ac:cxnSpMkLst>
        </pc:cxnChg>
        <pc:cxnChg chg="mod ord">
          <ac:chgData name="Muchahary, Frankle" userId="0f2bf491-0617-4378-90b8-89af8fa381b9" providerId="ADAL" clId="{8E3D5D9D-CC05-4C7B-9A9C-2FFB7784C389}" dt="2024-02-06T04:15:22.411" v="3722"/>
          <ac:cxnSpMkLst>
            <pc:docMk/>
            <pc:sldMk cId="489047355" sldId="470"/>
            <ac:cxnSpMk id="971" creationId="{89287C2B-C12B-9F36-C436-252EC3BABD3C}"/>
          </ac:cxnSpMkLst>
        </pc:cxnChg>
        <pc:cxnChg chg="mod ord">
          <ac:chgData name="Muchahary, Frankle" userId="0f2bf491-0617-4378-90b8-89af8fa381b9" providerId="ADAL" clId="{8E3D5D9D-CC05-4C7B-9A9C-2FFB7784C389}" dt="2024-02-06T04:15:22.415" v="3730"/>
          <ac:cxnSpMkLst>
            <pc:docMk/>
            <pc:sldMk cId="489047355" sldId="470"/>
            <ac:cxnSpMk id="972" creationId="{A482BBA8-ED83-1E0D-8155-02E4D49E2C9C}"/>
          </ac:cxnSpMkLst>
        </pc:cxnChg>
        <pc:cxnChg chg="mod ord">
          <ac:chgData name="Muchahary, Frankle" userId="0f2bf491-0617-4378-90b8-89af8fa381b9" providerId="ADAL" clId="{8E3D5D9D-CC05-4C7B-9A9C-2FFB7784C389}" dt="2024-02-06T04:15:22.407" v="3714"/>
          <ac:cxnSpMkLst>
            <pc:docMk/>
            <pc:sldMk cId="489047355" sldId="470"/>
            <ac:cxnSpMk id="1664" creationId="{8781B04E-01E4-1890-F18B-7EB2C3A21AB7}"/>
          </ac:cxnSpMkLst>
        </pc:cxnChg>
        <pc:cxnChg chg="mod ord">
          <ac:chgData name="Muchahary, Frankle" userId="0f2bf491-0617-4378-90b8-89af8fa381b9" providerId="ADAL" clId="{8E3D5D9D-CC05-4C7B-9A9C-2FFB7784C389}" dt="2024-02-06T04:15:22.415" v="3732"/>
          <ac:cxnSpMkLst>
            <pc:docMk/>
            <pc:sldMk cId="489047355" sldId="470"/>
            <ac:cxnSpMk id="1670" creationId="{495403DA-6B4F-DAA0-216F-36813F39D041}"/>
          </ac:cxnSpMkLst>
        </pc:cxnChg>
        <pc:cxnChg chg="mod ord">
          <ac:chgData name="Muchahary, Frankle" userId="0f2bf491-0617-4378-90b8-89af8fa381b9" providerId="ADAL" clId="{8E3D5D9D-CC05-4C7B-9A9C-2FFB7784C389}" dt="2024-02-06T04:15:22.409" v="3716"/>
          <ac:cxnSpMkLst>
            <pc:docMk/>
            <pc:sldMk cId="489047355" sldId="470"/>
            <ac:cxnSpMk id="1675" creationId="{9548D4C4-331F-4897-3C0E-ACF00D95CA5D}"/>
          </ac:cxnSpMkLst>
        </pc:cxnChg>
        <pc:cxnChg chg="mod ord">
          <ac:chgData name="Muchahary, Frankle" userId="0f2bf491-0617-4378-90b8-89af8fa381b9" providerId="ADAL" clId="{8E3D5D9D-CC05-4C7B-9A9C-2FFB7784C389}" dt="2024-02-06T04:15:22.410" v="3720"/>
          <ac:cxnSpMkLst>
            <pc:docMk/>
            <pc:sldMk cId="489047355" sldId="470"/>
            <ac:cxnSpMk id="1676" creationId="{AB4D4D16-DA12-C87C-88CE-ECEEF4B79E4E}"/>
          </ac:cxnSpMkLst>
        </pc:cxnChg>
        <pc:cxnChg chg="del">
          <ac:chgData name="Muchahary, Frankle" userId="0f2bf491-0617-4378-90b8-89af8fa381b9" providerId="ADAL" clId="{8E3D5D9D-CC05-4C7B-9A9C-2FFB7784C389}" dt="2024-02-06T04:15:17.119" v="2795"/>
          <ac:cxnSpMkLst>
            <pc:docMk/>
            <pc:sldMk cId="489047355" sldId="470"/>
            <ac:cxnSpMk id="1678" creationId="{47C7CE14-183D-BCE4-C0BC-AC96D74F271A}"/>
          </ac:cxnSpMkLst>
        </pc:cxnChg>
        <pc:cxnChg chg="del">
          <ac:chgData name="Muchahary, Frankle" userId="0f2bf491-0617-4378-90b8-89af8fa381b9" providerId="ADAL" clId="{8E3D5D9D-CC05-4C7B-9A9C-2FFB7784C389}" dt="2024-02-06T04:15:17.117" v="2793"/>
          <ac:cxnSpMkLst>
            <pc:docMk/>
            <pc:sldMk cId="489047355" sldId="470"/>
            <ac:cxnSpMk id="1679" creationId="{C8A66112-A8A9-EECA-8DBF-98D1A698E079}"/>
          </ac:cxnSpMkLst>
        </pc:cxnChg>
        <pc:cxnChg chg="del">
          <ac:chgData name="Muchahary, Frankle" userId="0f2bf491-0617-4378-90b8-89af8fa381b9" providerId="ADAL" clId="{8E3D5D9D-CC05-4C7B-9A9C-2FFB7784C389}" dt="2024-02-06T04:15:17.122" v="2801"/>
          <ac:cxnSpMkLst>
            <pc:docMk/>
            <pc:sldMk cId="489047355" sldId="470"/>
            <ac:cxnSpMk id="1680" creationId="{DCC0F6E0-24E5-BFFD-C007-34A663D6A122}"/>
          </ac:cxnSpMkLst>
        </pc:cxnChg>
        <pc:cxnChg chg="del">
          <ac:chgData name="Muchahary, Frankle" userId="0f2bf491-0617-4378-90b8-89af8fa381b9" providerId="ADAL" clId="{8E3D5D9D-CC05-4C7B-9A9C-2FFB7784C389}" dt="2024-02-06T04:15:17.121" v="2799"/>
          <ac:cxnSpMkLst>
            <pc:docMk/>
            <pc:sldMk cId="489047355" sldId="470"/>
            <ac:cxnSpMk id="1681" creationId="{506A6EBF-6641-D9C1-A896-DA5B3486DA71}"/>
          </ac:cxnSpMkLst>
        </pc:cxnChg>
        <pc:cxnChg chg="del">
          <ac:chgData name="Muchahary, Frankle" userId="0f2bf491-0617-4378-90b8-89af8fa381b9" providerId="ADAL" clId="{8E3D5D9D-CC05-4C7B-9A9C-2FFB7784C389}" dt="2024-02-06T04:15:17.120" v="2797"/>
          <ac:cxnSpMkLst>
            <pc:docMk/>
            <pc:sldMk cId="489047355" sldId="470"/>
            <ac:cxnSpMk id="1682" creationId="{9F402447-C200-9C0E-2DA8-8BF3D8DD0C91}"/>
          </ac:cxnSpMkLst>
        </pc:cxnChg>
        <pc:cxnChg chg="del">
          <ac:chgData name="Muchahary, Frankle" userId="0f2bf491-0617-4378-90b8-89af8fa381b9" providerId="ADAL" clId="{8E3D5D9D-CC05-4C7B-9A9C-2FFB7784C389}" dt="2024-02-06T04:15:17.127" v="2807"/>
          <ac:cxnSpMkLst>
            <pc:docMk/>
            <pc:sldMk cId="489047355" sldId="470"/>
            <ac:cxnSpMk id="1683" creationId="{E337327D-4936-5CDB-FF02-AADE5B761FA8}"/>
          </ac:cxnSpMkLst>
        </pc:cxnChg>
        <pc:cxnChg chg="del">
          <ac:chgData name="Muchahary, Frankle" userId="0f2bf491-0617-4378-90b8-89af8fa381b9" providerId="ADAL" clId="{8E3D5D9D-CC05-4C7B-9A9C-2FFB7784C389}" dt="2024-02-06T04:15:17.125" v="2805"/>
          <ac:cxnSpMkLst>
            <pc:docMk/>
            <pc:sldMk cId="489047355" sldId="470"/>
            <ac:cxnSpMk id="1684" creationId="{06399BB2-7E16-4EBC-5518-1E4F6829CB62}"/>
          </ac:cxnSpMkLst>
        </pc:cxnChg>
        <pc:cxnChg chg="del">
          <ac:chgData name="Muchahary, Frankle" userId="0f2bf491-0617-4378-90b8-89af8fa381b9" providerId="ADAL" clId="{8E3D5D9D-CC05-4C7B-9A9C-2FFB7784C389}" dt="2024-02-06T04:15:17.124" v="2803"/>
          <ac:cxnSpMkLst>
            <pc:docMk/>
            <pc:sldMk cId="489047355" sldId="470"/>
            <ac:cxnSpMk id="1685" creationId="{4BABB206-B1BD-BBE6-FFB9-A333C2F7FEC4}"/>
          </ac:cxnSpMkLst>
        </pc:cxnChg>
        <pc:cxnChg chg="del">
          <ac:chgData name="Muchahary, Frankle" userId="0f2bf491-0617-4378-90b8-89af8fa381b9" providerId="ADAL" clId="{8E3D5D9D-CC05-4C7B-9A9C-2FFB7784C389}" dt="2024-02-06T04:15:17.130" v="2813"/>
          <ac:cxnSpMkLst>
            <pc:docMk/>
            <pc:sldMk cId="489047355" sldId="470"/>
            <ac:cxnSpMk id="1686" creationId="{6D993EC7-1C28-79F2-70D7-E23CEDF73944}"/>
          </ac:cxnSpMkLst>
        </pc:cxnChg>
        <pc:cxnChg chg="del">
          <ac:chgData name="Muchahary, Frankle" userId="0f2bf491-0617-4378-90b8-89af8fa381b9" providerId="ADAL" clId="{8E3D5D9D-CC05-4C7B-9A9C-2FFB7784C389}" dt="2024-02-06T04:15:17.129" v="2811"/>
          <ac:cxnSpMkLst>
            <pc:docMk/>
            <pc:sldMk cId="489047355" sldId="470"/>
            <ac:cxnSpMk id="1687" creationId="{049F85BC-FCD0-2B0D-4FA4-8B93FE8E21B6}"/>
          </ac:cxnSpMkLst>
        </pc:cxnChg>
        <pc:cxnChg chg="del">
          <ac:chgData name="Muchahary, Frankle" userId="0f2bf491-0617-4378-90b8-89af8fa381b9" providerId="ADAL" clId="{8E3D5D9D-CC05-4C7B-9A9C-2FFB7784C389}" dt="2024-02-06T04:15:17.128" v="2809"/>
          <ac:cxnSpMkLst>
            <pc:docMk/>
            <pc:sldMk cId="489047355" sldId="470"/>
            <ac:cxnSpMk id="1688" creationId="{578B4F01-BC38-DD5A-71B6-D251BDD34CF7}"/>
          </ac:cxnSpMkLst>
        </pc:cxnChg>
      </pc:sldChg>
      <pc:sldChg chg="add del">
        <pc:chgData name="Muchahary, Frankle" userId="0f2bf491-0617-4378-90b8-89af8fa381b9" providerId="ADAL" clId="{8E3D5D9D-CC05-4C7B-9A9C-2FFB7784C389}" dt="2024-02-06T04:14:56.890" v="2789"/>
        <pc:sldMkLst>
          <pc:docMk/>
          <pc:sldMk cId="1133715040" sldId="470"/>
        </pc:sldMkLst>
      </pc:sldChg>
      <pc:sldChg chg="addSp delSp modSp add mod ord">
        <pc:chgData name="Muchahary, Frankle" userId="0f2bf491-0617-4378-90b8-89af8fa381b9" providerId="ADAL" clId="{8E3D5D9D-CC05-4C7B-9A9C-2FFB7784C389}" dt="2024-02-08T04:02:54.520" v="55203"/>
        <pc:sldMkLst>
          <pc:docMk/>
          <pc:sldMk cId="2850138378" sldId="470"/>
        </pc:sldMkLst>
        <pc:spChg chg="mod ord">
          <ac:chgData name="Muchahary, Frankle" userId="0f2bf491-0617-4378-90b8-89af8fa381b9" providerId="ADAL" clId="{8E3D5D9D-CC05-4C7B-9A9C-2FFB7784C389}" dt="2024-02-08T01:01:26.922" v="47576"/>
          <ac:spMkLst>
            <pc:docMk/>
            <pc:sldMk cId="2850138378" sldId="470"/>
            <ac:spMk id="2" creationId="{708B7548-2027-42FF-EC3B-C915D49B3890}"/>
          </ac:spMkLst>
        </pc:spChg>
        <pc:spChg chg="mod ord">
          <ac:chgData name="Muchahary, Frankle" userId="0f2bf491-0617-4378-90b8-89af8fa381b9" providerId="ADAL" clId="{8E3D5D9D-CC05-4C7B-9A9C-2FFB7784C389}" dt="2024-02-08T01:01:26.922" v="47574"/>
          <ac:spMkLst>
            <pc:docMk/>
            <pc:sldMk cId="2850138378" sldId="470"/>
            <ac:spMk id="3" creationId="{CC7C5C86-D687-DF6E-4643-9B97E3679EA3}"/>
          </ac:spMkLst>
        </pc:spChg>
        <pc:spChg chg="add del mod modVis">
          <ac:chgData name="Muchahary, Frankle" userId="0f2bf491-0617-4378-90b8-89af8fa381b9" providerId="ADAL" clId="{8E3D5D9D-CC05-4C7B-9A9C-2FFB7784C389}" dt="2024-02-06T04:16:32.945" v="3979"/>
          <ac:spMkLst>
            <pc:docMk/>
            <pc:sldMk cId="2850138378" sldId="470"/>
            <ac:spMk id="5" creationId="{43CBAC98-256E-9FF5-B836-BFF8989C77A1}"/>
          </ac:spMkLst>
        </pc:spChg>
        <pc:spChg chg="add del mod modVis">
          <ac:chgData name="Muchahary, Frankle" userId="0f2bf491-0617-4378-90b8-89af8fa381b9" providerId="ADAL" clId="{8E3D5D9D-CC05-4C7B-9A9C-2FFB7784C389}" dt="2024-02-08T00:02:35.718" v="41376"/>
          <ac:spMkLst>
            <pc:docMk/>
            <pc:sldMk cId="2850138378" sldId="470"/>
            <ac:spMk id="5" creationId="{6849CB3F-C209-3893-6012-0B3CAC576DE7}"/>
          </ac:spMkLst>
        </pc:spChg>
        <pc:spChg chg="add del mod modVis">
          <ac:chgData name="Muchahary, Frankle" userId="0f2bf491-0617-4378-90b8-89af8fa381b9" providerId="ADAL" clId="{8E3D5D9D-CC05-4C7B-9A9C-2FFB7784C389}" dt="2024-02-06T04:16:38.039" v="4032"/>
          <ac:spMkLst>
            <pc:docMk/>
            <pc:sldMk cId="2850138378" sldId="470"/>
            <ac:spMk id="6" creationId="{5E258D2C-4F9B-C049-73AA-6E36519B3552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49"/>
          <ac:spMkLst>
            <pc:docMk/>
            <pc:sldMk cId="2850138378" sldId="470"/>
            <ac:spMk id="6" creationId="{F38BCEA6-D574-A531-7B8E-7CDAF75026E9}"/>
          </ac:spMkLst>
        </pc:spChg>
        <pc:spChg chg="del">
          <ac:chgData name="Muchahary, Frankle" userId="0f2bf491-0617-4378-90b8-89af8fa381b9" providerId="ADAL" clId="{8E3D5D9D-CC05-4C7B-9A9C-2FFB7784C389}" dt="2024-02-06T04:17:50.891" v="4165"/>
          <ac:spMkLst>
            <pc:docMk/>
            <pc:sldMk cId="2850138378" sldId="470"/>
            <ac:spMk id="7" creationId="{45625555-CFF3-84AF-1D4F-11B434E53CBC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51"/>
          <ac:spMkLst>
            <pc:docMk/>
            <pc:sldMk cId="2850138378" sldId="470"/>
            <ac:spMk id="7" creationId="{7820CB64-EC72-822F-D738-C603C8D28BED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45"/>
          <ac:spMkLst>
            <pc:docMk/>
            <pc:sldMk cId="2850138378" sldId="470"/>
            <ac:spMk id="8" creationId="{41F704A0-2903-D76B-3CBE-00906117D65F}"/>
          </ac:spMkLst>
        </pc:spChg>
        <pc:spChg chg="del">
          <ac:chgData name="Muchahary, Frankle" userId="0f2bf491-0617-4378-90b8-89af8fa381b9" providerId="ADAL" clId="{8E3D5D9D-CC05-4C7B-9A9C-2FFB7784C389}" dt="2024-02-06T04:17:50.902" v="4181"/>
          <ac:spMkLst>
            <pc:docMk/>
            <pc:sldMk cId="2850138378" sldId="470"/>
            <ac:spMk id="8" creationId="{AFBBF3AD-B868-6B41-4A5E-710808AFB83E}"/>
          </ac:spMkLst>
        </pc:spChg>
        <pc:spChg chg="del">
          <ac:chgData name="Muchahary, Frankle" userId="0f2bf491-0617-4378-90b8-89af8fa381b9" providerId="ADAL" clId="{8E3D5D9D-CC05-4C7B-9A9C-2FFB7784C389}" dt="2024-02-06T04:17:50.913" v="4196"/>
          <ac:spMkLst>
            <pc:docMk/>
            <pc:sldMk cId="2850138378" sldId="470"/>
            <ac:spMk id="9" creationId="{06425FCD-1974-F408-4F28-517DF479F271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59"/>
          <ac:spMkLst>
            <pc:docMk/>
            <pc:sldMk cId="2850138378" sldId="470"/>
            <ac:spMk id="9" creationId="{CF13FEBE-5DD7-8CA1-7EED-43E3302340C1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53"/>
          <ac:spMkLst>
            <pc:docMk/>
            <pc:sldMk cId="2850138378" sldId="470"/>
            <ac:spMk id="10" creationId="{4F16827A-12DF-ABE9-F1CA-C1BE0F781B7D}"/>
          </ac:spMkLst>
        </pc:spChg>
        <pc:spChg chg="del">
          <ac:chgData name="Muchahary, Frankle" userId="0f2bf491-0617-4378-90b8-89af8fa381b9" providerId="ADAL" clId="{8E3D5D9D-CC05-4C7B-9A9C-2FFB7784C389}" dt="2024-02-06T04:17:50.923" v="4209"/>
          <ac:spMkLst>
            <pc:docMk/>
            <pc:sldMk cId="2850138378" sldId="470"/>
            <ac:spMk id="10" creationId="{95F3A37A-CF0F-8C94-4F51-AC72B771AEF7}"/>
          </ac:spMkLst>
        </pc:spChg>
        <pc:spChg chg="del">
          <ac:chgData name="Muchahary, Frankle" userId="0f2bf491-0617-4378-90b8-89af8fa381b9" providerId="ADAL" clId="{8E3D5D9D-CC05-4C7B-9A9C-2FFB7784C389}" dt="2024-02-06T04:17:50.935" v="4225"/>
          <ac:spMkLst>
            <pc:docMk/>
            <pc:sldMk cId="2850138378" sldId="470"/>
            <ac:spMk id="11" creationId="{1CF59D08-DBA1-4398-D26E-2FDE0439E672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46"/>
          <ac:spMkLst>
            <pc:docMk/>
            <pc:sldMk cId="2850138378" sldId="470"/>
            <ac:spMk id="11" creationId="{46A99BCC-DC75-D3D0-C31C-7BD5C6B2CA9F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55"/>
          <ac:spMkLst>
            <pc:docMk/>
            <pc:sldMk cId="2850138378" sldId="470"/>
            <ac:spMk id="12" creationId="{5551231A-6570-DC8D-247B-E614CADD7157}"/>
          </ac:spMkLst>
        </pc:spChg>
        <pc:spChg chg="del">
          <ac:chgData name="Muchahary, Frankle" userId="0f2bf491-0617-4378-90b8-89af8fa381b9" providerId="ADAL" clId="{8E3D5D9D-CC05-4C7B-9A9C-2FFB7784C389}" dt="2024-02-06T04:17:50.945" v="4240"/>
          <ac:spMkLst>
            <pc:docMk/>
            <pc:sldMk cId="2850138378" sldId="470"/>
            <ac:spMk id="12" creationId="{E3E0D777-42C3-420C-4B34-0F3B705EC09D}"/>
          </ac:spMkLst>
        </pc:spChg>
        <pc:spChg chg="del">
          <ac:chgData name="Muchahary, Frankle" userId="0f2bf491-0617-4378-90b8-89af8fa381b9" providerId="ADAL" clId="{8E3D5D9D-CC05-4C7B-9A9C-2FFB7784C389}" dt="2024-02-06T04:17:50.954" v="4253"/>
          <ac:spMkLst>
            <pc:docMk/>
            <pc:sldMk cId="2850138378" sldId="470"/>
            <ac:spMk id="13" creationId="{08269E86-5BE6-5AA3-02FC-F9F63FDEDF09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57"/>
          <ac:spMkLst>
            <pc:docMk/>
            <pc:sldMk cId="2850138378" sldId="470"/>
            <ac:spMk id="13" creationId="{20459DD2-CF83-F259-6DB1-54630713D88C}"/>
          </ac:spMkLst>
        </pc:spChg>
        <pc:spChg chg="del">
          <ac:chgData name="Muchahary, Frankle" userId="0f2bf491-0617-4378-90b8-89af8fa381b9" providerId="ADAL" clId="{8E3D5D9D-CC05-4C7B-9A9C-2FFB7784C389}" dt="2024-02-06T04:17:50.965" v="4269"/>
          <ac:spMkLst>
            <pc:docMk/>
            <pc:sldMk cId="2850138378" sldId="470"/>
            <ac:spMk id="14" creationId="{6F9DE570-D11D-EE4B-182B-A78941DF7D70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47"/>
          <ac:spMkLst>
            <pc:docMk/>
            <pc:sldMk cId="2850138378" sldId="470"/>
            <ac:spMk id="14" creationId="{DE391295-80C6-807C-3596-0258F9CEC2BB}"/>
          </ac:spMkLst>
        </pc:spChg>
        <pc:spChg chg="del">
          <ac:chgData name="Muchahary, Frankle" userId="0f2bf491-0617-4378-90b8-89af8fa381b9" providerId="ADAL" clId="{8E3D5D9D-CC05-4C7B-9A9C-2FFB7784C389}" dt="2024-02-06T04:17:50.978" v="4284"/>
          <ac:spMkLst>
            <pc:docMk/>
            <pc:sldMk cId="2850138378" sldId="470"/>
            <ac:spMk id="15" creationId="{DC9B2E51-EFC5-E773-5162-924E5B2836D4}"/>
          </ac:spMkLst>
        </pc:spChg>
        <pc:spChg chg="del">
          <ac:chgData name="Muchahary, Frankle" userId="0f2bf491-0617-4378-90b8-89af8fa381b9" providerId="ADAL" clId="{8E3D5D9D-CC05-4C7B-9A9C-2FFB7784C389}" dt="2024-02-06T04:17:50.985" v="4297"/>
          <ac:spMkLst>
            <pc:docMk/>
            <pc:sldMk cId="2850138378" sldId="470"/>
            <ac:spMk id="16" creationId="{8351A10D-C3C8-7EEA-E688-B9542FC01E32}"/>
          </ac:spMkLst>
        </pc:spChg>
        <pc:spChg chg="add del mod modVis">
          <ac:chgData name="Muchahary, Frankle" userId="0f2bf491-0617-4378-90b8-89af8fa381b9" providerId="ADAL" clId="{8E3D5D9D-CC05-4C7B-9A9C-2FFB7784C389}" dt="2024-02-08T00:58:18.930" v="42836"/>
          <ac:spMkLst>
            <pc:docMk/>
            <pc:sldMk cId="2850138378" sldId="470"/>
            <ac:spMk id="16" creationId="{83D991FE-666D-FE68-F43D-7EAA67B99293}"/>
          </ac:spMkLst>
        </pc:spChg>
        <pc:spChg chg="del">
          <ac:chgData name="Muchahary, Frankle" userId="0f2bf491-0617-4378-90b8-89af8fa381b9" providerId="ADAL" clId="{8E3D5D9D-CC05-4C7B-9A9C-2FFB7784C389}" dt="2024-02-06T04:17:51" v="4313"/>
          <ac:spMkLst>
            <pc:docMk/>
            <pc:sldMk cId="2850138378" sldId="470"/>
            <ac:spMk id="17" creationId="{73804FD1-8E94-641E-4B74-64733AEA4D43}"/>
          </ac:spMkLst>
        </pc:spChg>
        <pc:spChg chg="add del mod modVis">
          <ac:chgData name="Muchahary, Frankle" userId="0f2bf491-0617-4378-90b8-89af8fa381b9" providerId="ADAL" clId="{8E3D5D9D-CC05-4C7B-9A9C-2FFB7784C389}" dt="2024-02-08T00:58:24.617" v="43031"/>
          <ac:spMkLst>
            <pc:docMk/>
            <pc:sldMk cId="2850138378" sldId="470"/>
            <ac:spMk id="18" creationId="{3A385B2C-1585-EE42-7353-34F7C8D51450}"/>
          </ac:spMkLst>
        </pc:spChg>
        <pc:spChg chg="del">
          <ac:chgData name="Muchahary, Frankle" userId="0f2bf491-0617-4378-90b8-89af8fa381b9" providerId="ADAL" clId="{8E3D5D9D-CC05-4C7B-9A9C-2FFB7784C389}" dt="2024-02-06T04:17:51.010" v="4328"/>
          <ac:spMkLst>
            <pc:docMk/>
            <pc:sldMk cId="2850138378" sldId="470"/>
            <ac:spMk id="18" creationId="{CC802E8B-1F5F-E65B-28E3-CD75CEB896BB}"/>
          </ac:spMkLst>
        </pc:spChg>
        <pc:spChg chg="del">
          <ac:chgData name="Muchahary, Frankle" userId="0f2bf491-0617-4378-90b8-89af8fa381b9" providerId="ADAL" clId="{8E3D5D9D-CC05-4C7B-9A9C-2FFB7784C389}" dt="2024-02-06T04:17:51.020" v="4341"/>
          <ac:spMkLst>
            <pc:docMk/>
            <pc:sldMk cId="2850138378" sldId="470"/>
            <ac:spMk id="19" creationId="{D6335B41-300D-FCE2-869F-0A97F0F4A53A}"/>
          </ac:spMkLst>
        </pc:spChg>
        <pc:spChg chg="add del mod modVis">
          <ac:chgData name="Muchahary, Frankle" userId="0f2bf491-0617-4378-90b8-89af8fa381b9" providerId="ADAL" clId="{8E3D5D9D-CC05-4C7B-9A9C-2FFB7784C389}" dt="2024-02-08T00:58:41.608" v="43228"/>
          <ac:spMkLst>
            <pc:docMk/>
            <pc:sldMk cId="2850138378" sldId="470"/>
            <ac:spMk id="20" creationId="{24D4F0D1-4496-509D-A9CF-BCDC464C11FE}"/>
          </ac:spMkLst>
        </pc:spChg>
        <pc:spChg chg="del">
          <ac:chgData name="Muchahary, Frankle" userId="0f2bf491-0617-4378-90b8-89af8fa381b9" providerId="ADAL" clId="{8E3D5D9D-CC05-4C7B-9A9C-2FFB7784C389}" dt="2024-02-06T04:17:51.030" v="4357"/>
          <ac:spMkLst>
            <pc:docMk/>
            <pc:sldMk cId="2850138378" sldId="470"/>
            <ac:spMk id="20" creationId="{971FAAB6-2634-510C-C614-A4F9CCA0A4AF}"/>
          </ac:spMkLst>
        </pc:spChg>
        <pc:spChg chg="del">
          <ac:chgData name="Muchahary, Frankle" userId="0f2bf491-0617-4378-90b8-89af8fa381b9" providerId="ADAL" clId="{8E3D5D9D-CC05-4C7B-9A9C-2FFB7784C389}" dt="2024-02-06T04:17:51.042" v="4372"/>
          <ac:spMkLst>
            <pc:docMk/>
            <pc:sldMk cId="2850138378" sldId="470"/>
            <ac:spMk id="21" creationId="{44920DE9-279E-2343-7EAF-64EFAA0CB91B}"/>
          </ac:spMkLst>
        </pc:spChg>
        <pc:spChg chg="add del mod modVis">
          <ac:chgData name="Muchahary, Frankle" userId="0f2bf491-0617-4378-90b8-89af8fa381b9" providerId="ADAL" clId="{8E3D5D9D-CC05-4C7B-9A9C-2FFB7784C389}" dt="2024-02-08T00:58:45.016" v="43427"/>
          <ac:spMkLst>
            <pc:docMk/>
            <pc:sldMk cId="2850138378" sldId="470"/>
            <ac:spMk id="22" creationId="{193546E5-C29C-AF5F-6D9A-B462ABFF129D}"/>
          </ac:spMkLst>
        </pc:spChg>
        <pc:spChg chg="del">
          <ac:chgData name="Muchahary, Frankle" userId="0f2bf491-0617-4378-90b8-89af8fa381b9" providerId="ADAL" clId="{8E3D5D9D-CC05-4C7B-9A9C-2FFB7784C389}" dt="2024-02-06T04:17:51.052" v="4385"/>
          <ac:spMkLst>
            <pc:docMk/>
            <pc:sldMk cId="2850138378" sldId="470"/>
            <ac:spMk id="22" creationId="{AFDBBEDF-A587-61F2-ED1A-30026E09C079}"/>
          </ac:spMkLst>
        </pc:spChg>
        <pc:spChg chg="del">
          <ac:chgData name="Muchahary, Frankle" userId="0f2bf491-0617-4378-90b8-89af8fa381b9" providerId="ADAL" clId="{8E3D5D9D-CC05-4C7B-9A9C-2FFB7784C389}" dt="2024-02-06T04:17:51.065" v="4401"/>
          <ac:spMkLst>
            <pc:docMk/>
            <pc:sldMk cId="2850138378" sldId="470"/>
            <ac:spMk id="23" creationId="{F4A2A019-CE18-7C2D-8114-67483AD2DB41}"/>
          </ac:spMkLst>
        </pc:spChg>
        <pc:spChg chg="del">
          <ac:chgData name="Muchahary, Frankle" userId="0f2bf491-0617-4378-90b8-89af8fa381b9" providerId="ADAL" clId="{8E3D5D9D-CC05-4C7B-9A9C-2FFB7784C389}" dt="2024-02-06T04:17:51.077" v="4416"/>
          <ac:spMkLst>
            <pc:docMk/>
            <pc:sldMk cId="2850138378" sldId="470"/>
            <ac:spMk id="24" creationId="{C91E9015-A1AE-8291-A1AB-F9CB58ED24C5}"/>
          </ac:spMkLst>
        </pc:spChg>
        <pc:spChg chg="add del mod modVis">
          <ac:chgData name="Muchahary, Frankle" userId="0f2bf491-0617-4378-90b8-89af8fa381b9" providerId="ADAL" clId="{8E3D5D9D-CC05-4C7B-9A9C-2FFB7784C389}" dt="2024-02-08T00:58:49.067" v="43624"/>
          <ac:spMkLst>
            <pc:docMk/>
            <pc:sldMk cId="2850138378" sldId="470"/>
            <ac:spMk id="24" creationId="{D6B22E24-FE49-C540-8CCC-2E5BC3029C56}"/>
          </ac:spMkLst>
        </pc:spChg>
        <pc:spChg chg="mod">
          <ac:chgData name="Muchahary, Frankle" userId="0f2bf491-0617-4378-90b8-89af8fa381b9" providerId="ADAL" clId="{8E3D5D9D-CC05-4C7B-9A9C-2FFB7784C389}" dt="2024-02-08T01:01:26.906" v="47569"/>
          <ac:spMkLst>
            <pc:docMk/>
            <pc:sldMk cId="2850138378" sldId="470"/>
            <ac:spMk id="25" creationId="{C78CE541-04AF-2895-B164-F7F5271B850A}"/>
          </ac:spMkLst>
        </pc:spChg>
        <pc:spChg chg="del">
          <ac:chgData name="Muchahary, Frankle" userId="0f2bf491-0617-4378-90b8-89af8fa381b9" providerId="ADAL" clId="{8E3D5D9D-CC05-4C7B-9A9C-2FFB7784C389}" dt="2024-02-06T04:17:51.084" v="4429"/>
          <ac:spMkLst>
            <pc:docMk/>
            <pc:sldMk cId="2850138378" sldId="470"/>
            <ac:spMk id="26" creationId="{DC457DA2-C8DA-258F-C005-69CA34F9A416}"/>
          </ac:spMkLst>
        </pc:spChg>
        <pc:spChg chg="mod">
          <ac:chgData name="Muchahary, Frankle" userId="0f2bf491-0617-4378-90b8-89af8fa381b9" providerId="ADAL" clId="{8E3D5D9D-CC05-4C7B-9A9C-2FFB7784C389}" dt="2024-02-08T01:01:26.906" v="47567"/>
          <ac:spMkLst>
            <pc:docMk/>
            <pc:sldMk cId="2850138378" sldId="470"/>
            <ac:spMk id="27" creationId="{3F4486CF-B013-55F8-E153-790799E43C97}"/>
          </ac:spMkLst>
        </pc:spChg>
        <pc:spChg chg="mod">
          <ac:chgData name="Muchahary, Frankle" userId="0f2bf491-0617-4378-90b8-89af8fa381b9" providerId="ADAL" clId="{8E3D5D9D-CC05-4C7B-9A9C-2FFB7784C389}" dt="2024-02-08T01:01:26.906" v="47565"/>
          <ac:spMkLst>
            <pc:docMk/>
            <pc:sldMk cId="2850138378" sldId="470"/>
            <ac:spMk id="28" creationId="{D0C01492-D13A-4AB7-D0EE-DCAE122043E5}"/>
          </ac:spMkLst>
        </pc:spChg>
        <pc:spChg chg="del">
          <ac:chgData name="Muchahary, Frankle" userId="0f2bf491-0617-4378-90b8-89af8fa381b9" providerId="ADAL" clId="{8E3D5D9D-CC05-4C7B-9A9C-2FFB7784C389}" dt="2024-02-06T04:17:51.097" v="4445"/>
          <ac:spMkLst>
            <pc:docMk/>
            <pc:sldMk cId="2850138378" sldId="470"/>
            <ac:spMk id="31" creationId="{74F14ED6-AA51-1A9F-F67F-194B6ECA8381}"/>
          </ac:spMkLst>
        </pc:spChg>
        <pc:spChg chg="add del mod modVis">
          <ac:chgData name="Muchahary, Frankle" userId="0f2bf491-0617-4378-90b8-89af8fa381b9" providerId="ADAL" clId="{8E3D5D9D-CC05-4C7B-9A9C-2FFB7784C389}" dt="2024-02-08T00:58:54.782" v="43823"/>
          <ac:spMkLst>
            <pc:docMk/>
            <pc:sldMk cId="2850138378" sldId="470"/>
            <ac:spMk id="31" creationId="{83562585-112C-7A9E-5450-15CD7A04FD0B}"/>
          </ac:spMkLst>
        </pc:spChg>
        <pc:spChg chg="del">
          <ac:chgData name="Muchahary, Frankle" userId="0f2bf491-0617-4378-90b8-89af8fa381b9" providerId="ADAL" clId="{8E3D5D9D-CC05-4C7B-9A9C-2FFB7784C389}" dt="2024-02-06T04:17:51.109" v="4460"/>
          <ac:spMkLst>
            <pc:docMk/>
            <pc:sldMk cId="2850138378" sldId="470"/>
            <ac:spMk id="32" creationId="{70658DF9-4BE3-B58E-0A55-D95C1511D49D}"/>
          </ac:spMkLst>
        </pc:spChg>
        <pc:spChg chg="add del mod modVis">
          <ac:chgData name="Muchahary, Frankle" userId="0f2bf491-0617-4378-90b8-89af8fa381b9" providerId="ADAL" clId="{8E3D5D9D-CC05-4C7B-9A9C-2FFB7784C389}" dt="2024-02-08T00:59:01.746" v="44020"/>
          <ac:spMkLst>
            <pc:docMk/>
            <pc:sldMk cId="2850138378" sldId="470"/>
            <ac:spMk id="33" creationId="{5ADEED28-5349-3549-E439-5E94078353AD}"/>
          </ac:spMkLst>
        </pc:spChg>
        <pc:spChg chg="del">
          <ac:chgData name="Muchahary, Frankle" userId="0f2bf491-0617-4378-90b8-89af8fa381b9" providerId="ADAL" clId="{8E3D5D9D-CC05-4C7B-9A9C-2FFB7784C389}" dt="2024-02-06T04:17:51.120" v="4473"/>
          <ac:spMkLst>
            <pc:docMk/>
            <pc:sldMk cId="2850138378" sldId="470"/>
            <ac:spMk id="33" creationId="{EB3B1BDD-288A-CDCE-CC02-232EBD68ACA7}"/>
          </ac:spMkLst>
        </pc:spChg>
        <pc:spChg chg="del">
          <ac:chgData name="Muchahary, Frankle" userId="0f2bf491-0617-4378-90b8-89af8fa381b9" providerId="ADAL" clId="{8E3D5D9D-CC05-4C7B-9A9C-2FFB7784C389}" dt="2024-02-06T04:17:51.133" v="4489"/>
          <ac:spMkLst>
            <pc:docMk/>
            <pc:sldMk cId="2850138378" sldId="470"/>
            <ac:spMk id="34" creationId="{C4896263-C65E-7E1D-CDE9-8AB499A35FD5}"/>
          </ac:spMkLst>
        </pc:spChg>
        <pc:spChg chg="add del mod modVis">
          <ac:chgData name="Muchahary, Frankle" userId="0f2bf491-0617-4378-90b8-89af8fa381b9" providerId="ADAL" clId="{8E3D5D9D-CC05-4C7B-9A9C-2FFB7784C389}" dt="2024-02-08T00:59:07.295" v="44215"/>
          <ac:spMkLst>
            <pc:docMk/>
            <pc:sldMk cId="2850138378" sldId="470"/>
            <ac:spMk id="35" creationId="{8F283F05-6456-B655-1A23-D024CEFA5322}"/>
          </ac:spMkLst>
        </pc:spChg>
        <pc:spChg chg="del">
          <ac:chgData name="Muchahary, Frankle" userId="0f2bf491-0617-4378-90b8-89af8fa381b9" providerId="ADAL" clId="{8E3D5D9D-CC05-4C7B-9A9C-2FFB7784C389}" dt="2024-02-06T04:17:51.144" v="4504"/>
          <ac:spMkLst>
            <pc:docMk/>
            <pc:sldMk cId="2850138378" sldId="470"/>
            <ac:spMk id="35" creationId="{949F79B7-66B0-DC3A-601B-212764F5A56E}"/>
          </ac:spMkLst>
        </pc:spChg>
        <pc:spChg chg="add del mod modVis">
          <ac:chgData name="Muchahary, Frankle" userId="0f2bf491-0617-4378-90b8-89af8fa381b9" providerId="ADAL" clId="{8E3D5D9D-CC05-4C7B-9A9C-2FFB7784C389}" dt="2024-02-06T04:16:41.392" v="4065"/>
          <ac:spMkLst>
            <pc:docMk/>
            <pc:sldMk cId="2850138378" sldId="470"/>
            <ac:spMk id="37" creationId="{D55AE349-E34C-DAA8-0986-1C99D001962E}"/>
          </ac:spMkLst>
        </pc:spChg>
        <pc:spChg chg="add del mod modVis">
          <ac:chgData name="Muchahary, Frankle" userId="0f2bf491-0617-4378-90b8-89af8fa381b9" providerId="ADAL" clId="{8E3D5D9D-CC05-4C7B-9A9C-2FFB7784C389}" dt="2024-02-08T00:59:19.522" v="44380"/>
          <ac:spMkLst>
            <pc:docMk/>
            <pc:sldMk cId="2850138378" sldId="470"/>
            <ac:spMk id="37" creationId="{DA8CE0BF-A387-0113-F666-676F5BA3FF5C}"/>
          </ac:spMkLst>
        </pc:spChg>
        <pc:spChg chg="add del mod modVis">
          <ac:chgData name="Muchahary, Frankle" userId="0f2bf491-0617-4378-90b8-89af8fa381b9" providerId="ADAL" clId="{8E3D5D9D-CC05-4C7B-9A9C-2FFB7784C389}" dt="2024-02-06T04:16:44.926" v="4110"/>
          <ac:spMkLst>
            <pc:docMk/>
            <pc:sldMk cId="2850138378" sldId="470"/>
            <ac:spMk id="38" creationId="{1777B142-0244-1614-8D4D-4DDED265E226}"/>
          </ac:spMkLst>
        </pc:spChg>
        <pc:spChg chg="add del mod modVis">
          <ac:chgData name="Muchahary, Frankle" userId="0f2bf491-0617-4378-90b8-89af8fa381b9" providerId="ADAL" clId="{8E3D5D9D-CC05-4C7B-9A9C-2FFB7784C389}" dt="2024-02-08T00:59:26.194" v="44545"/>
          <ac:spMkLst>
            <pc:docMk/>
            <pc:sldMk cId="2850138378" sldId="470"/>
            <ac:spMk id="39" creationId="{08CF55AB-3BC1-51A6-37EF-6634C2F7EFE6}"/>
          </ac:spMkLst>
        </pc:spChg>
        <pc:spChg chg="add del mod modVis">
          <ac:chgData name="Muchahary, Frankle" userId="0f2bf491-0617-4378-90b8-89af8fa381b9" providerId="ADAL" clId="{8E3D5D9D-CC05-4C7B-9A9C-2FFB7784C389}" dt="2024-02-06T04:17:51.852" v="5015"/>
          <ac:spMkLst>
            <pc:docMk/>
            <pc:sldMk cId="2850138378" sldId="470"/>
            <ac:spMk id="39" creationId="{A579202E-7CC5-1C70-BC23-C5E21513911D}"/>
          </ac:spMkLst>
        </pc:spChg>
        <pc:spChg chg="add del mod ord replST">
          <ac:chgData name="Muchahary, Frankle" userId="0f2bf491-0617-4378-90b8-89af8fa381b9" providerId="ADAL" clId="{8E3D5D9D-CC05-4C7B-9A9C-2FFB7784C389}" dt="2024-02-06T04:22:14.981" v="14197"/>
          <ac:spMkLst>
            <pc:docMk/>
            <pc:sldMk cId="2850138378" sldId="470"/>
            <ac:spMk id="40" creationId="{36DCF05E-6EC9-66EC-FE28-2427EFAEA081}"/>
          </ac:spMkLst>
        </pc:spChg>
        <pc:spChg chg="add del mod ord replST">
          <ac:chgData name="Muchahary, Frankle" userId="0f2bf491-0617-4378-90b8-89af8fa381b9" providerId="ADAL" clId="{8E3D5D9D-CC05-4C7B-9A9C-2FFB7784C389}" dt="2024-02-06T04:22:14.992" v="14213"/>
          <ac:spMkLst>
            <pc:docMk/>
            <pc:sldMk cId="2850138378" sldId="470"/>
            <ac:spMk id="41" creationId="{B1512032-75C4-B255-19E2-588C1C451E6B}"/>
          </ac:spMkLst>
        </pc:spChg>
        <pc:spChg chg="add del mod modVis">
          <ac:chgData name="Muchahary, Frankle" userId="0f2bf491-0617-4378-90b8-89af8fa381b9" providerId="ADAL" clId="{8E3D5D9D-CC05-4C7B-9A9C-2FFB7784C389}" dt="2024-02-08T00:59:28.848" v="44728"/>
          <ac:spMkLst>
            <pc:docMk/>
            <pc:sldMk cId="2850138378" sldId="470"/>
            <ac:spMk id="41" creationId="{E71D8BB3-6F16-FD09-0C0C-144165B6E3C6}"/>
          </ac:spMkLst>
        </pc:spChg>
        <pc:spChg chg="add del mod replST">
          <ac:chgData name="Muchahary, Frankle" userId="0f2bf491-0617-4378-90b8-89af8fa381b9" providerId="ADAL" clId="{8E3D5D9D-CC05-4C7B-9A9C-2FFB7784C389}" dt="2024-02-06T04:22:15.001" v="14228"/>
          <ac:spMkLst>
            <pc:docMk/>
            <pc:sldMk cId="2850138378" sldId="470"/>
            <ac:spMk id="42" creationId="{294E0D2A-C290-F8BF-6B42-31804E6D051F}"/>
          </ac:spMkLst>
        </pc:spChg>
        <pc:spChg chg="add del mod modVis">
          <ac:chgData name="Muchahary, Frankle" userId="0f2bf491-0617-4378-90b8-89af8fa381b9" providerId="ADAL" clId="{8E3D5D9D-CC05-4C7B-9A9C-2FFB7784C389}" dt="2024-02-08T00:59:51.898" v="44891"/>
          <ac:spMkLst>
            <pc:docMk/>
            <pc:sldMk cId="2850138378" sldId="470"/>
            <ac:spMk id="43" creationId="{387F3975-1E74-74C8-0853-31F4B5F00CE3}"/>
          </ac:spMkLst>
        </pc:spChg>
        <pc:spChg chg="add del mod ord replST">
          <ac:chgData name="Muchahary, Frankle" userId="0f2bf491-0617-4378-90b8-89af8fa381b9" providerId="ADAL" clId="{8E3D5D9D-CC05-4C7B-9A9C-2FFB7784C389}" dt="2024-02-06T04:21:07.064" v="11925"/>
          <ac:spMkLst>
            <pc:docMk/>
            <pc:sldMk cId="2850138378" sldId="470"/>
            <ac:spMk id="43" creationId="{A90B594B-0FC9-53CC-BE92-14F210BC015F}"/>
          </ac:spMkLst>
        </pc:spChg>
        <pc:spChg chg="add del mod ord replST">
          <ac:chgData name="Muchahary, Frankle" userId="0f2bf491-0617-4378-90b8-89af8fa381b9" providerId="ADAL" clId="{8E3D5D9D-CC05-4C7B-9A9C-2FFB7784C389}" dt="2024-02-06T04:21:07.076" v="11941"/>
          <ac:spMkLst>
            <pc:docMk/>
            <pc:sldMk cId="2850138378" sldId="470"/>
            <ac:spMk id="44" creationId="{3799477D-CC4D-41CB-B9EB-763E3B2CFC80}"/>
          </ac:spMkLst>
        </pc:spChg>
        <pc:spChg chg="mod">
          <ac:chgData name="Muchahary, Frankle" userId="0f2bf491-0617-4378-90b8-89af8fa381b9" providerId="ADAL" clId="{8E3D5D9D-CC05-4C7B-9A9C-2FFB7784C389}" dt="2024-02-08T01:01:26.906" v="47560"/>
          <ac:spMkLst>
            <pc:docMk/>
            <pc:sldMk cId="2850138378" sldId="470"/>
            <ac:spMk id="45" creationId="{BD70DD0A-5AEB-ED58-8C4E-24FB2C137596}"/>
          </ac:spMkLst>
        </pc:spChg>
        <pc:spChg chg="add del mod modVis">
          <ac:chgData name="Muchahary, Frankle" userId="0f2bf491-0617-4378-90b8-89af8fa381b9" providerId="ADAL" clId="{8E3D5D9D-CC05-4C7B-9A9C-2FFB7784C389}" dt="2024-02-08T00:59:59.951" v="45058"/>
          <ac:spMkLst>
            <pc:docMk/>
            <pc:sldMk cId="2850138378" sldId="470"/>
            <ac:spMk id="46" creationId="{4F71BA2A-DA0A-5C8C-53D3-6D1EE7AAE066}"/>
          </ac:spMkLst>
        </pc:spChg>
        <pc:spChg chg="add del mod replST">
          <ac:chgData name="Muchahary, Frankle" userId="0f2bf491-0617-4378-90b8-89af8fa381b9" providerId="ADAL" clId="{8E3D5D9D-CC05-4C7B-9A9C-2FFB7784C389}" dt="2024-02-06T04:21:07.089" v="11956"/>
          <ac:spMkLst>
            <pc:docMk/>
            <pc:sldMk cId="2850138378" sldId="470"/>
            <ac:spMk id="46" creationId="{D81E514B-23DB-65C5-5F4D-AC2CF3E25064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77" v="6802"/>
          <ac:spMkLst>
            <pc:docMk/>
            <pc:sldMk cId="2850138378" sldId="470"/>
            <ac:spMk id="47" creationId="{889E0CBB-CB5B-6DED-B070-76FCAD1824F7}"/>
          </ac:spMkLst>
        </pc:spChg>
        <pc:spChg chg="add del mod modVis">
          <ac:chgData name="Muchahary, Frankle" userId="0f2bf491-0617-4378-90b8-89af8fa381b9" providerId="ADAL" clId="{8E3D5D9D-CC05-4C7B-9A9C-2FFB7784C389}" dt="2024-02-08T01:00:03.360" v="45225"/>
          <ac:spMkLst>
            <pc:docMk/>
            <pc:sldMk cId="2850138378" sldId="470"/>
            <ac:spMk id="49" creationId="{06432378-2255-07A6-93B7-A558D1CF69B2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76" v="6800"/>
          <ac:spMkLst>
            <pc:docMk/>
            <pc:sldMk cId="2850138378" sldId="470"/>
            <ac:spMk id="49" creationId="{59C5CA89-695A-13CE-0CEA-AB864971C793}"/>
          </ac:spMkLst>
        </pc:spChg>
        <pc:spChg chg="mod">
          <ac:chgData name="Muchahary, Frankle" userId="0f2bf491-0617-4378-90b8-89af8fa381b9" providerId="ADAL" clId="{8E3D5D9D-CC05-4C7B-9A9C-2FFB7784C389}" dt="2024-02-08T01:01:26.906" v="47561"/>
          <ac:spMkLst>
            <pc:docMk/>
            <pc:sldMk cId="2850138378" sldId="470"/>
            <ac:spMk id="50" creationId="{F95A654B-B7B7-02A7-F785-27E2C1D39A62}"/>
          </ac:spMkLst>
        </pc:spChg>
        <pc:spChg chg="add del mod replST">
          <ac:chgData name="Muchahary, Frankle" userId="0f2bf491-0617-4378-90b8-89af8fa381b9" providerId="ADAL" clId="{8E3D5D9D-CC05-4C7B-9A9C-2FFB7784C389}" dt="2024-02-06T04:18:35.374" v="6798"/>
          <ac:spMkLst>
            <pc:docMk/>
            <pc:sldMk cId="2850138378" sldId="470"/>
            <ac:spMk id="51" creationId="{2AC29AA2-89AF-78EB-E72A-75174840D435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74" v="6797"/>
          <ac:spMkLst>
            <pc:docMk/>
            <pc:sldMk cId="2850138378" sldId="470"/>
            <ac:spMk id="52" creationId="{AC37B40F-2BFF-9C0C-8B41-C0E75977589E}"/>
          </ac:spMkLst>
        </pc:spChg>
        <pc:spChg chg="add del mod modVis">
          <ac:chgData name="Muchahary, Frankle" userId="0f2bf491-0617-4378-90b8-89af8fa381b9" providerId="ADAL" clId="{8E3D5D9D-CC05-4C7B-9A9C-2FFB7784C389}" dt="2024-02-08T01:00:08.563" v="45392"/>
          <ac:spMkLst>
            <pc:docMk/>
            <pc:sldMk cId="2850138378" sldId="470"/>
            <ac:spMk id="52" creationId="{DC830DC2-2D6A-C9D2-2070-0B032E198091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73" v="6795"/>
          <ac:spMkLst>
            <pc:docMk/>
            <pc:sldMk cId="2850138378" sldId="470"/>
            <ac:spMk id="54" creationId="{52EB70FF-2DFC-9908-BAEB-3D1180577152}"/>
          </ac:spMkLst>
        </pc:spChg>
        <pc:spChg chg="add del mod modVis">
          <ac:chgData name="Muchahary, Frankle" userId="0f2bf491-0617-4378-90b8-89af8fa381b9" providerId="ADAL" clId="{8E3D5D9D-CC05-4C7B-9A9C-2FFB7784C389}" dt="2024-02-08T01:00:15.223" v="45559"/>
          <ac:spMkLst>
            <pc:docMk/>
            <pc:sldMk cId="2850138378" sldId="470"/>
            <ac:spMk id="55" creationId="{5657F088-B750-9F70-4560-558B21AA6C24}"/>
          </ac:spMkLst>
        </pc:spChg>
        <pc:spChg chg="del mod">
          <ac:chgData name="Muchahary, Frankle" userId="0f2bf491-0617-4378-90b8-89af8fa381b9" providerId="ADAL" clId="{8E3D5D9D-CC05-4C7B-9A9C-2FFB7784C389}" dt="2024-02-06T04:18:35.260" v="6737"/>
          <ac:spMkLst>
            <pc:docMk/>
            <pc:sldMk cId="2850138378" sldId="470"/>
            <ac:spMk id="55" creationId="{7D803778-AB45-84C7-A798-BEA8E8CABB45}"/>
          </ac:spMkLst>
        </pc:spChg>
        <pc:spChg chg="add del mod replST">
          <ac:chgData name="Muchahary, Frankle" userId="0f2bf491-0617-4378-90b8-89af8fa381b9" providerId="ADAL" clId="{8E3D5D9D-CC05-4C7B-9A9C-2FFB7784C389}" dt="2024-02-06T04:18:35.372" v="6793"/>
          <ac:spMkLst>
            <pc:docMk/>
            <pc:sldMk cId="2850138378" sldId="470"/>
            <ac:spMk id="56" creationId="{E8B214FF-AA42-9AC6-82BB-F1C1A7A06260}"/>
          </ac:spMkLst>
        </pc:spChg>
        <pc:spChg chg="add del mod modVis">
          <ac:chgData name="Muchahary, Frankle" userId="0f2bf491-0617-4378-90b8-89af8fa381b9" providerId="ADAL" clId="{8E3D5D9D-CC05-4C7B-9A9C-2FFB7784C389}" dt="2024-02-08T01:00:20.530" v="45726"/>
          <ac:spMkLst>
            <pc:docMk/>
            <pc:sldMk cId="2850138378" sldId="470"/>
            <ac:spMk id="57" creationId="{A72DCBB2-3214-7B5D-0F19-689B1A329ECE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40" v="14285"/>
          <ac:spMkLst>
            <pc:docMk/>
            <pc:sldMk cId="2850138378" sldId="470"/>
            <ac:spMk id="57" creationId="{BACA8E6B-48E5-4D79-30ED-9A3AD9AD8880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51" v="14301"/>
          <ac:spMkLst>
            <pc:docMk/>
            <pc:sldMk cId="2850138378" sldId="470"/>
            <ac:spMk id="59" creationId="{23CC6611-2431-AE00-D7F2-440DB0577212}"/>
          </ac:spMkLst>
        </pc:spChg>
        <pc:spChg chg="add del mod modVis">
          <ac:chgData name="Muchahary, Frankle" userId="0f2bf491-0617-4378-90b8-89af8fa381b9" providerId="ADAL" clId="{8E3D5D9D-CC05-4C7B-9A9C-2FFB7784C389}" dt="2024-02-08T01:00:28.500" v="45911"/>
          <ac:spMkLst>
            <pc:docMk/>
            <pc:sldMk cId="2850138378" sldId="470"/>
            <ac:spMk id="59" creationId="{3D2140EC-4E42-1756-6EA3-A4E4162B58CB}"/>
          </ac:spMkLst>
        </pc:spChg>
        <pc:spChg chg="add del mod replST">
          <ac:chgData name="Muchahary, Frankle" userId="0f2bf491-0617-4378-90b8-89af8fa381b9" providerId="ADAL" clId="{8E3D5D9D-CC05-4C7B-9A9C-2FFB7784C389}" dt="2024-02-06T04:22:15.061" v="14316"/>
          <ac:spMkLst>
            <pc:docMk/>
            <pc:sldMk cId="2850138378" sldId="470"/>
            <ac:spMk id="60" creationId="{44A2E997-86A8-BB8B-FEA2-350ECF681EBE}"/>
          </ac:spMkLst>
        </pc:spChg>
        <pc:spChg chg="add del mod ord replST">
          <ac:chgData name="Muchahary, Frankle" userId="0f2bf491-0617-4378-90b8-89af8fa381b9" providerId="ADAL" clId="{8E3D5D9D-CC05-4C7B-9A9C-2FFB7784C389}" dt="2024-02-06T04:21:07.102" v="11979"/>
          <ac:spMkLst>
            <pc:docMk/>
            <pc:sldMk cId="2850138378" sldId="470"/>
            <ac:spMk id="61" creationId="{A26906AA-B5B9-74EF-7FD6-24A6B3BD1A1C}"/>
          </ac:spMkLst>
        </pc:spChg>
        <pc:spChg chg="add del mod modVis">
          <ac:chgData name="Muchahary, Frankle" userId="0f2bf491-0617-4378-90b8-89af8fa381b9" providerId="ADAL" clId="{8E3D5D9D-CC05-4C7B-9A9C-2FFB7784C389}" dt="2024-02-08T01:00:46.365" v="46078"/>
          <ac:spMkLst>
            <pc:docMk/>
            <pc:sldMk cId="2850138378" sldId="470"/>
            <ac:spMk id="61" creationId="{C8546476-B48D-BAA2-B7D2-D3F84BFB6017}"/>
          </ac:spMkLst>
        </pc:spChg>
        <pc:spChg chg="add del mod ord replST">
          <ac:chgData name="Muchahary, Frankle" userId="0f2bf491-0617-4378-90b8-89af8fa381b9" providerId="ADAL" clId="{8E3D5D9D-CC05-4C7B-9A9C-2FFB7784C389}" dt="2024-02-06T04:21:07.112" v="11995"/>
          <ac:spMkLst>
            <pc:docMk/>
            <pc:sldMk cId="2850138378" sldId="470"/>
            <ac:spMk id="62" creationId="{D213CD60-931B-5CBB-F47E-E49AB4DC3880}"/>
          </ac:spMkLst>
        </pc:spChg>
        <pc:spChg chg="add del mod modVis">
          <ac:chgData name="Muchahary, Frankle" userId="0f2bf491-0617-4378-90b8-89af8fa381b9" providerId="ADAL" clId="{8E3D5D9D-CC05-4C7B-9A9C-2FFB7784C389}" dt="2024-02-08T01:00:51.919" v="46243"/>
          <ac:spMkLst>
            <pc:docMk/>
            <pc:sldMk cId="2850138378" sldId="470"/>
            <ac:spMk id="63" creationId="{59AB8312-A285-D402-E2B5-8474EBC442C8}"/>
          </ac:spMkLst>
        </pc:spChg>
        <pc:spChg chg="add del mod replST">
          <ac:chgData name="Muchahary, Frankle" userId="0f2bf491-0617-4378-90b8-89af8fa381b9" providerId="ADAL" clId="{8E3D5D9D-CC05-4C7B-9A9C-2FFB7784C389}" dt="2024-02-06T04:21:07.124" v="12010"/>
          <ac:spMkLst>
            <pc:docMk/>
            <pc:sldMk cId="2850138378" sldId="470"/>
            <ac:spMk id="63" creationId="{A0415807-9194-E67A-05B6-6E0C6B8ACD2F}"/>
          </ac:spMkLst>
        </pc:spChg>
        <pc:spChg chg="mod">
          <ac:chgData name="Muchahary, Frankle" userId="0f2bf491-0617-4378-90b8-89af8fa381b9" providerId="ADAL" clId="{8E3D5D9D-CC05-4C7B-9A9C-2FFB7784C389}" dt="2024-02-08T01:01:26.906" v="47562"/>
          <ac:spMkLst>
            <pc:docMk/>
            <pc:sldMk cId="2850138378" sldId="470"/>
            <ac:spMk id="412" creationId="{EE0A18E8-925D-B4E3-D974-E7B18299607B}"/>
          </ac:spMkLst>
        </pc:spChg>
        <pc:spChg chg="del mod">
          <ac:chgData name="Muchahary, Frankle" userId="0f2bf491-0617-4378-90b8-89af8fa381b9" providerId="ADAL" clId="{8E3D5D9D-CC05-4C7B-9A9C-2FFB7784C389}" dt="2024-02-06T04:22:36.527" v="15237"/>
          <ac:spMkLst>
            <pc:docMk/>
            <pc:sldMk cId="2850138378" sldId="470"/>
            <ac:spMk id="434" creationId="{334CB5A5-1D8C-71C5-2DF8-AE7DD8C6B913}"/>
          </ac:spMkLst>
        </pc:spChg>
        <pc:spChg chg="mod">
          <ac:chgData name="Muchahary, Frankle" userId="0f2bf491-0617-4378-90b8-89af8fa381b9" providerId="ADAL" clId="{8E3D5D9D-CC05-4C7B-9A9C-2FFB7784C389}" dt="2024-02-08T01:01:26.897" v="47541"/>
          <ac:spMkLst>
            <pc:docMk/>
            <pc:sldMk cId="2850138378" sldId="470"/>
            <ac:spMk id="435" creationId="{C5855C9C-F815-763B-C9D0-06072041D475}"/>
          </ac:spMkLst>
        </pc:spChg>
        <pc:spChg chg="del mod">
          <ac:chgData name="Muchahary, Frankle" userId="0f2bf491-0617-4378-90b8-89af8fa381b9" providerId="ADAL" clId="{8E3D5D9D-CC05-4C7B-9A9C-2FFB7784C389}" dt="2024-02-06T04:20:56.416" v="10715"/>
          <ac:spMkLst>
            <pc:docMk/>
            <pc:sldMk cId="2850138378" sldId="470"/>
            <ac:spMk id="437" creationId="{BF742990-0569-9162-B204-F9CC5C176536}"/>
          </ac:spMkLst>
        </pc:spChg>
        <pc:spChg chg="del mod">
          <ac:chgData name="Muchahary, Frankle" userId="0f2bf491-0617-4378-90b8-89af8fa381b9" providerId="ADAL" clId="{8E3D5D9D-CC05-4C7B-9A9C-2FFB7784C389}" dt="2024-02-06T04:20:56.414" v="10709"/>
          <ac:spMkLst>
            <pc:docMk/>
            <pc:sldMk cId="2850138378" sldId="470"/>
            <ac:spMk id="439" creationId="{3824C7AC-59F4-336A-9969-5F19A5AE4B11}"/>
          </ac:spMkLst>
        </pc:spChg>
        <pc:spChg chg="del mod">
          <ac:chgData name="Muchahary, Frankle" userId="0f2bf491-0617-4378-90b8-89af8fa381b9" providerId="ADAL" clId="{8E3D5D9D-CC05-4C7B-9A9C-2FFB7784C389}" dt="2024-02-06T04:20:48.103" v="9903"/>
          <ac:spMkLst>
            <pc:docMk/>
            <pc:sldMk cId="2850138378" sldId="470"/>
            <ac:spMk id="441" creationId="{F9C1197F-7B89-A094-BB4F-EFD4FECA15DA}"/>
          </ac:spMkLst>
        </pc:spChg>
        <pc:spChg chg="del mod">
          <ac:chgData name="Muchahary, Frankle" userId="0f2bf491-0617-4378-90b8-89af8fa381b9" providerId="ADAL" clId="{8E3D5D9D-CC05-4C7B-9A9C-2FFB7784C389}" dt="2024-02-06T04:20:48.092" v="9885"/>
          <ac:spMkLst>
            <pc:docMk/>
            <pc:sldMk cId="2850138378" sldId="470"/>
            <ac:spMk id="446" creationId="{A19CD6DE-D715-20BC-EB62-84BAAEFF26B1}"/>
          </ac:spMkLst>
        </pc:spChg>
        <pc:spChg chg="del mod">
          <ac:chgData name="Muchahary, Frankle" userId="0f2bf491-0617-4378-90b8-89af8fa381b9" providerId="ADAL" clId="{8E3D5D9D-CC05-4C7B-9A9C-2FFB7784C389}" dt="2024-02-06T04:18:35.366" v="6784"/>
          <ac:spMkLst>
            <pc:docMk/>
            <pc:sldMk cId="2850138378" sldId="470"/>
            <ac:spMk id="447" creationId="{B3D6EDF8-99C3-3D2C-2A0F-04B9D1BB6924}"/>
          </ac:spMkLst>
        </pc:spChg>
        <pc:spChg chg="add del mod modVis">
          <ac:chgData name="Muchahary, Frankle" userId="0f2bf491-0617-4378-90b8-89af8fa381b9" providerId="ADAL" clId="{8E3D5D9D-CC05-4C7B-9A9C-2FFB7784C389}" dt="2024-02-06T04:21:58.231" v="13802"/>
          <ac:spMkLst>
            <pc:docMk/>
            <pc:sldMk cId="2850138378" sldId="470"/>
            <ac:spMk id="513" creationId="{C9B2E215-B5A5-E720-3781-6EE907338973}"/>
          </ac:spMkLst>
        </pc:spChg>
        <pc:spChg chg="add del mod modVis">
          <ac:chgData name="Muchahary, Frankle" userId="0f2bf491-0617-4378-90b8-89af8fa381b9" providerId="ADAL" clId="{8E3D5D9D-CC05-4C7B-9A9C-2FFB7784C389}" dt="2024-02-06T04:22:00.058" v="14146"/>
          <ac:spMkLst>
            <pc:docMk/>
            <pc:sldMk cId="2850138378" sldId="470"/>
            <ac:spMk id="515" creationId="{C066097D-7992-5B94-C910-DE2A8BAB4DD9}"/>
          </ac:spMkLst>
        </pc:spChg>
        <pc:spChg chg="add del mod modVis">
          <ac:chgData name="Muchahary, Frankle" userId="0f2bf491-0617-4378-90b8-89af8fa381b9" providerId="ADAL" clId="{8E3D5D9D-CC05-4C7B-9A9C-2FFB7784C389}" dt="2024-02-06T04:22:15.661" v="14826"/>
          <ac:spMkLst>
            <pc:docMk/>
            <pc:sldMk cId="2850138378" sldId="470"/>
            <ac:spMk id="517" creationId="{45F55AF7-F74D-FABA-7EF3-9835450B153C}"/>
          </ac:spMkLst>
        </pc:spChg>
        <pc:spChg chg="add del mod ord replST">
          <ac:chgData name="Muchahary, Frankle" userId="0f2bf491-0617-4378-90b8-89af8fa381b9" providerId="ADAL" clId="{8E3D5D9D-CC05-4C7B-9A9C-2FFB7784C389}" dt="2024-02-06T04:27:29.135" v="18524"/>
          <ac:spMkLst>
            <pc:docMk/>
            <pc:sldMk cId="2850138378" sldId="470"/>
            <ac:spMk id="518" creationId="{787CCA74-E2D1-9791-EDFD-94CAC50894D7}"/>
          </ac:spMkLst>
        </pc:spChg>
        <pc:spChg chg="add del mod ord replST">
          <ac:chgData name="Muchahary, Frankle" userId="0f2bf491-0617-4378-90b8-89af8fa381b9" providerId="ADAL" clId="{8E3D5D9D-CC05-4C7B-9A9C-2FFB7784C389}" dt="2024-02-06T04:27:29.145" v="18540"/>
          <ac:spMkLst>
            <pc:docMk/>
            <pc:sldMk cId="2850138378" sldId="470"/>
            <ac:spMk id="519" creationId="{4DFC7E07-7C7C-A133-2D05-D2D675E32D62}"/>
          </ac:spMkLst>
        </pc:spChg>
        <pc:spChg chg="add del mod replST">
          <ac:chgData name="Muchahary, Frankle" userId="0f2bf491-0617-4378-90b8-89af8fa381b9" providerId="ADAL" clId="{8E3D5D9D-CC05-4C7B-9A9C-2FFB7784C389}" dt="2024-02-06T04:27:29.155" v="18555"/>
          <ac:spMkLst>
            <pc:docMk/>
            <pc:sldMk cId="2850138378" sldId="470"/>
            <ac:spMk id="520" creationId="{14A33476-A5C7-A520-2945-BA2A12B9C3CA}"/>
          </ac:spMkLst>
        </pc:spChg>
        <pc:spChg chg="add del mod ord replST">
          <ac:chgData name="Muchahary, Frankle" userId="0f2bf491-0617-4378-90b8-89af8fa381b9" providerId="ADAL" clId="{8E3D5D9D-CC05-4C7B-9A9C-2FFB7784C389}" dt="2024-02-06T04:27:29.164" v="18568"/>
          <ac:spMkLst>
            <pc:docMk/>
            <pc:sldMk cId="2850138378" sldId="470"/>
            <ac:spMk id="521" creationId="{664858D2-8896-889F-EA56-9FAAEF1B00B5}"/>
          </ac:spMkLst>
        </pc:spChg>
        <pc:spChg chg="add del mod ord replST">
          <ac:chgData name="Muchahary, Frankle" userId="0f2bf491-0617-4378-90b8-89af8fa381b9" providerId="ADAL" clId="{8E3D5D9D-CC05-4C7B-9A9C-2FFB7784C389}" dt="2024-02-06T04:27:29.180" v="18584"/>
          <ac:spMkLst>
            <pc:docMk/>
            <pc:sldMk cId="2850138378" sldId="470"/>
            <ac:spMk id="522" creationId="{F1894CCE-6217-5444-4B11-7CBC6F1EE6ED}"/>
          </ac:spMkLst>
        </pc:spChg>
        <pc:spChg chg="add del mod replST">
          <ac:chgData name="Muchahary, Frankle" userId="0f2bf491-0617-4378-90b8-89af8fa381b9" providerId="ADAL" clId="{8E3D5D9D-CC05-4C7B-9A9C-2FFB7784C389}" dt="2024-02-06T04:27:29.193" v="18599"/>
          <ac:spMkLst>
            <pc:docMk/>
            <pc:sldMk cId="2850138378" sldId="470"/>
            <ac:spMk id="523" creationId="{44B67C64-83F7-FB22-07A1-5848037932DF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6" v="15079"/>
          <ac:spMkLst>
            <pc:docMk/>
            <pc:sldMk cId="2850138378" sldId="470"/>
            <ac:spMk id="524" creationId="{9976E57C-0239-9378-7683-D311829207D8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5" v="15077"/>
          <ac:spMkLst>
            <pc:docMk/>
            <pc:sldMk cId="2850138378" sldId="470"/>
            <ac:spMk id="525" creationId="{959F9406-4251-DE12-9C8E-65441BEFC124}"/>
          </ac:spMkLst>
        </pc:spChg>
        <pc:spChg chg="add del mod replST">
          <ac:chgData name="Muchahary, Frankle" userId="0f2bf491-0617-4378-90b8-89af8fa381b9" providerId="ADAL" clId="{8E3D5D9D-CC05-4C7B-9A9C-2FFB7784C389}" dt="2024-02-06T04:22:36.324" v="15075"/>
          <ac:spMkLst>
            <pc:docMk/>
            <pc:sldMk cId="2850138378" sldId="470"/>
            <ac:spMk id="526" creationId="{C166DFB7-D67C-4E2D-6054-6CBE7CB46D7A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4" v="15074"/>
          <ac:spMkLst>
            <pc:docMk/>
            <pc:sldMk cId="2850138378" sldId="470"/>
            <ac:spMk id="527" creationId="{635DF23C-DEF7-7AB1-5790-BF8A1F1C61D6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3" v="15072"/>
          <ac:spMkLst>
            <pc:docMk/>
            <pc:sldMk cId="2850138378" sldId="470"/>
            <ac:spMk id="528" creationId="{1F93D346-33B5-A977-75D1-FBF574DD4000}"/>
          </ac:spMkLst>
        </pc:spChg>
        <pc:spChg chg="add del mod replST">
          <ac:chgData name="Muchahary, Frankle" userId="0f2bf491-0617-4378-90b8-89af8fa381b9" providerId="ADAL" clId="{8E3D5D9D-CC05-4C7B-9A9C-2FFB7784C389}" dt="2024-02-06T04:22:36.322" v="15070"/>
          <ac:spMkLst>
            <pc:docMk/>
            <pc:sldMk cId="2850138378" sldId="470"/>
            <ac:spMk id="529" creationId="{706E9431-B306-6400-6859-E6F1A389D547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2" v="15069"/>
          <ac:spMkLst>
            <pc:docMk/>
            <pc:sldMk cId="2850138378" sldId="470"/>
            <ac:spMk id="530" creationId="{21DC042D-CFB6-EA22-CF69-1771AA685634}"/>
          </ac:spMkLst>
        </pc:spChg>
        <pc:spChg chg="add del mod ord replST">
          <ac:chgData name="Muchahary, Frankle" userId="0f2bf491-0617-4378-90b8-89af8fa381b9" providerId="ADAL" clId="{8E3D5D9D-CC05-4C7B-9A9C-2FFB7784C389}" dt="2024-02-06T04:22:36.320" v="15067"/>
          <ac:spMkLst>
            <pc:docMk/>
            <pc:sldMk cId="2850138378" sldId="470"/>
            <ac:spMk id="531" creationId="{AFCE5F63-7A69-6BE8-2463-858A8641AF05}"/>
          </ac:spMkLst>
        </pc:spChg>
        <pc:spChg chg="add del mod replST">
          <ac:chgData name="Muchahary, Frankle" userId="0f2bf491-0617-4378-90b8-89af8fa381b9" providerId="ADAL" clId="{8E3D5D9D-CC05-4C7B-9A9C-2FFB7784C389}" dt="2024-02-06T04:22:36.319" v="15065"/>
          <ac:spMkLst>
            <pc:docMk/>
            <pc:sldMk cId="2850138378" sldId="470"/>
            <ac:spMk id="532" creationId="{FEE62040-0C2D-A3AD-1071-82F728BE6B5C}"/>
          </ac:spMkLst>
        </pc:spChg>
        <pc:spChg chg="add del mod modVis">
          <ac:chgData name="Muchahary, Frankle" userId="0f2bf491-0617-4378-90b8-89af8fa381b9" providerId="ADAL" clId="{8E3D5D9D-CC05-4C7B-9A9C-2FFB7784C389}" dt="2024-02-06T04:22:21.935" v="14998"/>
          <ac:spMkLst>
            <pc:docMk/>
            <pc:sldMk cId="2850138378" sldId="470"/>
            <ac:spMk id="534" creationId="{F5869C09-FA34-C0A9-32F7-756E283797B0}"/>
          </ac:spMkLst>
        </pc:spChg>
        <pc:spChg chg="add del mod modVis">
          <ac:chgData name="Muchahary, Frankle" userId="0f2bf491-0617-4378-90b8-89af8fa381b9" providerId="ADAL" clId="{8E3D5D9D-CC05-4C7B-9A9C-2FFB7784C389}" dt="2024-02-06T04:22:36.608" v="15349"/>
          <ac:spMkLst>
            <pc:docMk/>
            <pc:sldMk cId="2850138378" sldId="470"/>
            <ac:spMk id="536" creationId="{F8B969AC-5F5F-DE04-B949-0066D4DF702A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36"/>
          <ac:spMkLst>
            <pc:docMk/>
            <pc:sldMk cId="2850138378" sldId="470"/>
            <ac:spMk id="537" creationId="{DC7B04C5-2103-A728-5B16-10C6104A2A17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64"/>
          <ac:spMkLst>
            <pc:docMk/>
            <pc:sldMk cId="2850138378" sldId="470"/>
            <ac:spMk id="540" creationId="{969B22BF-02D5-8B15-11B1-255217A63DD9}"/>
          </ac:spMkLst>
        </pc:spChg>
        <pc:spChg chg="add del mod modVis">
          <ac:chgData name="Muchahary, Frankle" userId="0f2bf491-0617-4378-90b8-89af8fa381b9" providerId="ADAL" clId="{8E3D5D9D-CC05-4C7B-9A9C-2FFB7784C389}" dt="2024-02-06T04:22:40.583" v="15561"/>
          <ac:spMkLst>
            <pc:docMk/>
            <pc:sldMk cId="2850138378" sldId="470"/>
            <ac:spMk id="541" creationId="{E59EEEFE-3DB2-42F6-A176-4B3CA850CC87}"/>
          </ac:spMkLst>
        </pc:spChg>
        <pc:spChg chg="add del mod ord replST">
          <ac:chgData name="Muchahary, Frankle" userId="0f2bf491-0617-4378-90b8-89af8fa381b9" providerId="ADAL" clId="{8E3D5D9D-CC05-4C7B-9A9C-2FFB7784C389}" dt="2024-02-06T04:23:05.288" v="16442"/>
          <ac:spMkLst>
            <pc:docMk/>
            <pc:sldMk cId="2850138378" sldId="470"/>
            <ac:spMk id="542" creationId="{71486730-A29A-9E30-8AAD-12578519C852}"/>
          </ac:spMkLst>
        </pc:spChg>
        <pc:spChg chg="add del mod modVis">
          <ac:chgData name="Muchahary, Frankle" userId="0f2bf491-0617-4378-90b8-89af8fa381b9" providerId="ADAL" clId="{8E3D5D9D-CC05-4C7B-9A9C-2FFB7784C389}" dt="2024-02-06T04:22:47.049" v="15748"/>
          <ac:spMkLst>
            <pc:docMk/>
            <pc:sldMk cId="2850138378" sldId="470"/>
            <ac:spMk id="545" creationId="{3FBC6378-48FA-4F84-46DD-540FCE9A982E}"/>
          </ac:spMkLst>
        </pc:spChg>
        <pc:spChg chg="add del mod modVis">
          <ac:chgData name="Muchahary, Frankle" userId="0f2bf491-0617-4378-90b8-89af8fa381b9" providerId="ADAL" clId="{8E3D5D9D-CC05-4C7B-9A9C-2FFB7784C389}" dt="2024-02-06T04:22:50.093" v="15930"/>
          <ac:spMkLst>
            <pc:docMk/>
            <pc:sldMk cId="2850138378" sldId="470"/>
            <ac:spMk id="547" creationId="{1D90703E-4FF2-EB54-D66A-B33D6DA05233}"/>
          </ac:spMkLst>
        </pc:spChg>
        <pc:spChg chg="add del mod modVis">
          <ac:chgData name="Muchahary, Frankle" userId="0f2bf491-0617-4378-90b8-89af8fa381b9" providerId="ADAL" clId="{8E3D5D9D-CC05-4C7B-9A9C-2FFB7784C389}" dt="2024-02-06T04:23:05.378" v="16577"/>
          <ac:spMkLst>
            <pc:docMk/>
            <pc:sldMk cId="2850138378" sldId="470"/>
            <ac:spMk id="549" creationId="{4F03FB50-D08A-A6BE-E751-AA27ECB42509}"/>
          </ac:spMkLst>
        </pc:spChg>
        <pc:spChg chg="add del mod ord replST">
          <ac:chgData name="Muchahary, Frankle" userId="0f2bf491-0617-4378-90b8-89af8fa381b9" providerId="ADAL" clId="{8E3D5D9D-CC05-4C7B-9A9C-2FFB7784C389}" dt="2024-02-06T04:24:08.965" v="16704"/>
          <ac:spMkLst>
            <pc:docMk/>
            <pc:sldMk cId="2850138378" sldId="470"/>
            <ac:spMk id="550" creationId="{12EDD692-6885-3447-C4A0-BAF8B263788A}"/>
          </ac:spMkLst>
        </pc:spChg>
        <pc:spChg chg="add del mod ord replST">
          <ac:chgData name="Muchahary, Frankle" userId="0f2bf491-0617-4378-90b8-89af8fa381b9" providerId="ADAL" clId="{8E3D5D9D-CC05-4C7B-9A9C-2FFB7784C389}" dt="2024-02-06T04:24:08.964" v="16702"/>
          <ac:spMkLst>
            <pc:docMk/>
            <pc:sldMk cId="2850138378" sldId="470"/>
            <ac:spMk id="551" creationId="{A411608B-CD87-CA5B-939D-1D5240FE75BF}"/>
          </ac:spMkLst>
        </pc:spChg>
        <pc:spChg chg="add del mod replST">
          <ac:chgData name="Muchahary, Frankle" userId="0f2bf491-0617-4378-90b8-89af8fa381b9" providerId="ADAL" clId="{8E3D5D9D-CC05-4C7B-9A9C-2FFB7784C389}" dt="2024-02-06T04:24:08.961" v="16700"/>
          <ac:spMkLst>
            <pc:docMk/>
            <pc:sldMk cId="2850138378" sldId="470"/>
            <ac:spMk id="552" creationId="{61A7D95C-84EF-0B70-FDB6-9EC7C40EE231}"/>
          </ac:spMkLst>
        </pc:spChg>
        <pc:spChg chg="add del mod ord replST">
          <ac:chgData name="Muchahary, Frankle" userId="0f2bf491-0617-4378-90b8-89af8fa381b9" providerId="ADAL" clId="{8E3D5D9D-CC05-4C7B-9A9C-2FFB7784C389}" dt="2024-02-06T04:24:08.961" v="16699"/>
          <ac:spMkLst>
            <pc:docMk/>
            <pc:sldMk cId="2850138378" sldId="470"/>
            <ac:spMk id="553" creationId="{B2F9B6C1-1B00-3403-989B-B83CBD0937AB}"/>
          </ac:spMkLst>
        </pc:spChg>
        <pc:spChg chg="add del mod ord replST">
          <ac:chgData name="Muchahary, Frankle" userId="0f2bf491-0617-4378-90b8-89af8fa381b9" providerId="ADAL" clId="{8E3D5D9D-CC05-4C7B-9A9C-2FFB7784C389}" dt="2024-02-06T04:24:08.959" v="16697"/>
          <ac:spMkLst>
            <pc:docMk/>
            <pc:sldMk cId="2850138378" sldId="470"/>
            <ac:spMk id="554" creationId="{FD7110E7-D05F-E3BB-F32F-C1D348104A7A}"/>
          </ac:spMkLst>
        </pc:spChg>
        <pc:spChg chg="add del mod replST">
          <ac:chgData name="Muchahary, Frankle" userId="0f2bf491-0617-4378-90b8-89af8fa381b9" providerId="ADAL" clId="{8E3D5D9D-CC05-4C7B-9A9C-2FFB7784C389}" dt="2024-02-06T04:24:08.958" v="16695"/>
          <ac:spMkLst>
            <pc:docMk/>
            <pc:sldMk cId="2850138378" sldId="470"/>
            <ac:spMk id="555" creationId="{D38B9539-950A-1286-C539-0B8E6A282D2B}"/>
          </ac:spMkLst>
        </pc:spChg>
        <pc:spChg chg="add mod ord replST">
          <ac:chgData name="Muchahary, Frankle" userId="0f2bf491-0617-4378-90b8-89af8fa381b9" providerId="ADAL" clId="{8E3D5D9D-CC05-4C7B-9A9C-2FFB7784C389}" dt="2024-02-08T01:01:26.906" v="47563"/>
          <ac:spMkLst>
            <pc:docMk/>
            <pc:sldMk cId="2850138378" sldId="470"/>
            <ac:spMk id="556" creationId="{3912193D-1A06-04B5-4148-4EBA846B10E3}"/>
          </ac:spMkLst>
        </pc:spChg>
        <pc:spChg chg="add del mod replST">
          <ac:chgData name="Muchahary, Frankle" userId="0f2bf491-0617-4378-90b8-89af8fa381b9" providerId="ADAL" clId="{8E3D5D9D-CC05-4C7B-9A9C-2FFB7784C389}" dt="2024-02-06T04:24:08.923" v="16653"/>
          <ac:spMkLst>
            <pc:docMk/>
            <pc:sldMk cId="2850138378" sldId="470"/>
            <ac:spMk id="557" creationId="{E1B27F93-0640-14EF-855A-0470CA6784F1}"/>
          </ac:spMkLst>
        </pc:spChg>
        <pc:spChg chg="add del mod replST">
          <ac:chgData name="Muchahary, Frankle" userId="0f2bf491-0617-4378-90b8-89af8fa381b9" providerId="ADAL" clId="{8E3D5D9D-CC05-4C7B-9A9C-2FFB7784C389}" dt="2024-02-06T04:24:08.922" v="16650"/>
          <ac:spMkLst>
            <pc:docMk/>
            <pc:sldMk cId="2850138378" sldId="470"/>
            <ac:spMk id="558" creationId="{BBBD88F1-DEA0-FE6F-E12C-49FCEF102F91}"/>
          </ac:spMkLst>
        </pc:spChg>
        <pc:spChg chg="add del mod replST">
          <ac:chgData name="Muchahary, Frankle" userId="0f2bf491-0617-4378-90b8-89af8fa381b9" providerId="ADAL" clId="{8E3D5D9D-CC05-4C7B-9A9C-2FFB7784C389}" dt="2024-02-06T04:24:08.919" v="16647"/>
          <ac:spMkLst>
            <pc:docMk/>
            <pc:sldMk cId="2850138378" sldId="470"/>
            <ac:spMk id="559" creationId="{D3F77207-FCB2-6CCD-9681-58BC5931123B}"/>
          </ac:spMkLst>
        </pc:spChg>
        <pc:spChg chg="del mod">
          <ac:chgData name="Muchahary, Frankle" userId="0f2bf491-0617-4378-90b8-89af8fa381b9" providerId="ADAL" clId="{8E3D5D9D-CC05-4C7B-9A9C-2FFB7784C389}" dt="2024-02-06T04:18:35.261" v="6739"/>
          <ac:spMkLst>
            <pc:docMk/>
            <pc:sldMk cId="2850138378" sldId="470"/>
            <ac:spMk id="562" creationId="{E44A9B3B-69F3-5A19-5DBC-3CB5C0EC3946}"/>
          </ac:spMkLst>
        </pc:spChg>
        <pc:spChg chg="add del mod ord replST">
          <ac:chgData name="Muchahary, Frankle" userId="0f2bf491-0617-4378-90b8-89af8fa381b9" providerId="ADAL" clId="{8E3D5D9D-CC05-4C7B-9A9C-2FFB7784C389}" dt="2024-02-08T01:01:26.828" v="47458"/>
          <ac:spMkLst>
            <pc:docMk/>
            <pc:sldMk cId="2850138378" sldId="470"/>
            <ac:spMk id="565" creationId="{EC2B4A58-7A2E-85C1-38D4-B51226DF7634}"/>
          </ac:spMkLst>
        </pc:spChg>
        <pc:spChg chg="add del mod modVis">
          <ac:chgData name="Muchahary, Frankle" userId="0f2bf491-0617-4378-90b8-89af8fa381b9" providerId="ADAL" clId="{8E3D5D9D-CC05-4C7B-9A9C-2FFB7784C389}" dt="2024-02-06T04:24:09.311" v="17013"/>
          <ac:spMkLst>
            <pc:docMk/>
            <pc:sldMk cId="2850138378" sldId="470"/>
            <ac:spMk id="566" creationId="{0628CE92-AB84-E1AB-A40F-34CC950A202F}"/>
          </ac:spMkLst>
        </pc:spChg>
        <pc:spChg chg="add del mod ord replST">
          <ac:chgData name="Muchahary, Frankle" userId="0f2bf491-0617-4378-90b8-89af8fa381b9" providerId="ADAL" clId="{8E3D5D9D-CC05-4C7B-9A9C-2FFB7784C389}" dt="2024-02-06T04:27:29.206" v="18612"/>
          <ac:spMkLst>
            <pc:docMk/>
            <pc:sldMk cId="2850138378" sldId="470"/>
            <ac:spMk id="567" creationId="{8DC16EA1-F313-A088-4FEC-2DBE659FF4A1}"/>
          </ac:spMkLst>
        </pc:spChg>
        <pc:spChg chg="add del mod ord replST">
          <ac:chgData name="Muchahary, Frankle" userId="0f2bf491-0617-4378-90b8-89af8fa381b9" providerId="ADAL" clId="{8E3D5D9D-CC05-4C7B-9A9C-2FFB7784C389}" dt="2024-02-06T04:27:29.220" v="18628"/>
          <ac:spMkLst>
            <pc:docMk/>
            <pc:sldMk cId="2850138378" sldId="470"/>
            <ac:spMk id="568" creationId="{B6B8E5A9-2928-B141-7621-2E60E0732D40}"/>
          </ac:spMkLst>
        </pc:spChg>
        <pc:spChg chg="add del mod replST">
          <ac:chgData name="Muchahary, Frankle" userId="0f2bf491-0617-4378-90b8-89af8fa381b9" providerId="ADAL" clId="{8E3D5D9D-CC05-4C7B-9A9C-2FFB7784C389}" dt="2024-02-06T04:27:29.233" v="18643"/>
          <ac:spMkLst>
            <pc:docMk/>
            <pc:sldMk cId="2850138378" sldId="470"/>
            <ac:spMk id="569" creationId="{0D5B443D-2A75-5F49-3642-8796E6CD644B}"/>
          </ac:spMkLst>
        </pc:spChg>
        <pc:spChg chg="add mod replST">
          <ac:chgData name="Muchahary, Frankle" userId="0f2bf491-0617-4378-90b8-89af8fa381b9" providerId="ADAL" clId="{8E3D5D9D-CC05-4C7B-9A9C-2FFB7784C389}" dt="2024-02-08T01:01:26.922" v="47572"/>
          <ac:spMkLst>
            <pc:docMk/>
            <pc:sldMk cId="2850138378" sldId="470"/>
            <ac:spMk id="570" creationId="{67B6023A-8F45-3A7F-3C98-41F53F084FAB}"/>
          </ac:spMkLst>
        </pc:spChg>
        <pc:spChg chg="add del mod modVis">
          <ac:chgData name="Muchahary, Frankle" userId="0f2bf491-0617-4378-90b8-89af8fa381b9" providerId="ADAL" clId="{8E3D5D9D-CC05-4C7B-9A9C-2FFB7784C389}" dt="2024-02-06T04:24:21.046" v="17180"/>
          <ac:spMkLst>
            <pc:docMk/>
            <pc:sldMk cId="2850138378" sldId="470"/>
            <ac:spMk id="572" creationId="{F8317453-DA23-E859-56D4-400B44238403}"/>
          </ac:spMkLst>
        </pc:spChg>
        <pc:spChg chg="add del mod modVis">
          <ac:chgData name="Muchahary, Frankle" userId="0f2bf491-0617-4378-90b8-89af8fa381b9" providerId="ADAL" clId="{8E3D5D9D-CC05-4C7B-9A9C-2FFB7784C389}" dt="2024-02-06T04:26:56.390" v="17652"/>
          <ac:spMkLst>
            <pc:docMk/>
            <pc:sldMk cId="2850138378" sldId="470"/>
            <ac:spMk id="574" creationId="{8A4DBFD7-829E-C818-3C46-00554DA1D73A}"/>
          </ac:spMkLst>
        </pc:spChg>
        <pc:spChg chg="del mod ord">
          <ac:chgData name="Muchahary, Frankle" userId="0f2bf491-0617-4378-90b8-89af8fa381b9" providerId="ADAL" clId="{8E3D5D9D-CC05-4C7B-9A9C-2FFB7784C389}" dt="2024-02-06T04:18:35.258" v="6733"/>
          <ac:spMkLst>
            <pc:docMk/>
            <pc:sldMk cId="2850138378" sldId="470"/>
            <ac:spMk id="705" creationId="{D59EF138-B3BD-5565-D406-32F5AEE98932}"/>
          </ac:spMkLst>
        </pc:spChg>
        <pc:spChg chg="mod">
          <ac:chgData name="Muchahary, Frankle" userId="0f2bf491-0617-4378-90b8-89af8fa381b9" providerId="ADAL" clId="{8E3D5D9D-CC05-4C7B-9A9C-2FFB7784C389}" dt="2024-02-08T01:01:26.906" v="47566"/>
          <ac:spMkLst>
            <pc:docMk/>
            <pc:sldMk cId="2850138378" sldId="470"/>
            <ac:spMk id="740" creationId="{5A41E926-A62D-A9EC-148F-F817BB54F5C9}"/>
          </ac:spMkLst>
        </pc:spChg>
        <pc:spChg chg="del mod ord">
          <ac:chgData name="Muchahary, Frankle" userId="0f2bf491-0617-4378-90b8-89af8fa381b9" providerId="ADAL" clId="{8E3D5D9D-CC05-4C7B-9A9C-2FFB7784C389}" dt="2024-02-06T04:20:51.945" v="10542"/>
          <ac:spMkLst>
            <pc:docMk/>
            <pc:sldMk cId="2850138378" sldId="470"/>
            <ac:spMk id="753" creationId="{B7D2347B-4260-3BC0-5E4B-0FE6F427BFD1}"/>
          </ac:spMkLst>
        </pc:spChg>
        <pc:spChg chg="mod">
          <ac:chgData name="Muchahary, Frankle" userId="0f2bf491-0617-4378-90b8-89af8fa381b9" providerId="ADAL" clId="{8E3D5D9D-CC05-4C7B-9A9C-2FFB7784C389}" dt="2024-02-08T01:01:26.906" v="47570"/>
          <ac:spMkLst>
            <pc:docMk/>
            <pc:sldMk cId="2850138378" sldId="470"/>
            <ac:spMk id="798" creationId="{5C0F430E-1A4B-E0D4-B172-4ABA0E341969}"/>
          </ac:spMkLst>
        </pc:spChg>
        <pc:spChg chg="mod">
          <ac:chgData name="Muchahary, Frankle" userId="0f2bf491-0617-4378-90b8-89af8fa381b9" providerId="ADAL" clId="{8E3D5D9D-CC05-4C7B-9A9C-2FFB7784C389}" dt="2024-02-08T01:01:26.922" v="47571"/>
          <ac:spMkLst>
            <pc:docMk/>
            <pc:sldMk cId="2850138378" sldId="470"/>
            <ac:spMk id="866" creationId="{269441F3-0791-1FED-01FD-A6081323FBD6}"/>
          </ac:spMkLst>
        </pc:spChg>
        <pc:spChg chg="del mod">
          <ac:chgData name="Muchahary, Frankle" userId="0f2bf491-0617-4378-90b8-89af8fa381b9" providerId="ADAL" clId="{8E3D5D9D-CC05-4C7B-9A9C-2FFB7784C389}" dt="2024-02-06T04:18:35.260" v="6736"/>
          <ac:spMkLst>
            <pc:docMk/>
            <pc:sldMk cId="2850138378" sldId="470"/>
            <ac:spMk id="867" creationId="{76288C2D-2E78-6280-4025-3160120A3F67}"/>
          </ac:spMkLst>
        </pc:spChg>
        <pc:spChg chg="del mod">
          <ac:chgData name="Muchahary, Frankle" userId="0f2bf491-0617-4378-90b8-89af8fa381b9" providerId="ADAL" clId="{8E3D5D9D-CC05-4C7B-9A9C-2FFB7784C389}" dt="2024-02-06T04:18:35.261" v="6738"/>
          <ac:spMkLst>
            <pc:docMk/>
            <pc:sldMk cId="2850138378" sldId="470"/>
            <ac:spMk id="868" creationId="{BB18F22F-C289-B907-6F9E-18835B5B05DF}"/>
          </ac:spMkLst>
        </pc:spChg>
        <pc:spChg chg="mod">
          <ac:chgData name="Muchahary, Frankle" userId="0f2bf491-0617-4378-90b8-89af8fa381b9" providerId="ADAL" clId="{8E3D5D9D-CC05-4C7B-9A9C-2FFB7784C389}" dt="2024-02-08T01:01:26.897" v="47535"/>
          <ac:spMkLst>
            <pc:docMk/>
            <pc:sldMk cId="2850138378" sldId="470"/>
            <ac:spMk id="869" creationId="{425A7501-567B-89DC-B874-00C59A4F1541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92" v="6832"/>
          <ac:spMkLst>
            <pc:docMk/>
            <pc:sldMk cId="2850138378" sldId="470"/>
            <ac:spMk id="896" creationId="{8F5AAE6C-3717-0CEF-9B81-E08D9C919F00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92" v="6830"/>
          <ac:spMkLst>
            <pc:docMk/>
            <pc:sldMk cId="2850138378" sldId="470"/>
            <ac:spMk id="897" creationId="{08AF006E-C4DB-3F34-DB91-76F2B8F6561D}"/>
          </ac:spMkLst>
        </pc:spChg>
        <pc:spChg chg="add del mod modVis">
          <ac:chgData name="Muchahary, Frankle" userId="0f2bf491-0617-4378-90b8-89af8fa381b9" providerId="ADAL" clId="{8E3D5D9D-CC05-4C7B-9A9C-2FFB7784C389}" dt="2024-02-08T01:00:59.133" v="46410"/>
          <ac:spMkLst>
            <pc:docMk/>
            <pc:sldMk cId="2850138378" sldId="470"/>
            <ac:spMk id="897" creationId="{9C0DBBC6-3F66-A84D-037B-FC15DA9E1C8F}"/>
          </ac:spMkLst>
        </pc:spChg>
        <pc:spChg chg="add del mod replST">
          <ac:chgData name="Muchahary, Frankle" userId="0f2bf491-0617-4378-90b8-89af8fa381b9" providerId="ADAL" clId="{8E3D5D9D-CC05-4C7B-9A9C-2FFB7784C389}" dt="2024-02-06T04:18:35.391" v="6828"/>
          <ac:spMkLst>
            <pc:docMk/>
            <pc:sldMk cId="2850138378" sldId="470"/>
            <ac:spMk id="898" creationId="{13E97ACD-6C61-49B6-A59A-ABEE97BED0C6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91" v="6827"/>
          <ac:spMkLst>
            <pc:docMk/>
            <pc:sldMk cId="2850138378" sldId="470"/>
            <ac:spMk id="899" creationId="{8538D5D6-3D1C-6065-75E7-690916A51F57}"/>
          </ac:spMkLst>
        </pc:spChg>
        <pc:spChg chg="add del mod modVis">
          <ac:chgData name="Muchahary, Frankle" userId="0f2bf491-0617-4378-90b8-89af8fa381b9" providerId="ADAL" clId="{8E3D5D9D-CC05-4C7B-9A9C-2FFB7784C389}" dt="2024-02-08T01:01:06.998" v="46575"/>
          <ac:spMkLst>
            <pc:docMk/>
            <pc:sldMk cId="2850138378" sldId="470"/>
            <ac:spMk id="899" creationId="{A610E861-9680-BCE2-2377-666AFB724CD1}"/>
          </ac:spMkLst>
        </pc:spChg>
        <pc:spChg chg="add del mod ord replST">
          <ac:chgData name="Muchahary, Frankle" userId="0f2bf491-0617-4378-90b8-89af8fa381b9" providerId="ADAL" clId="{8E3D5D9D-CC05-4C7B-9A9C-2FFB7784C389}" dt="2024-02-06T04:18:35.390" v="6825"/>
          <ac:spMkLst>
            <pc:docMk/>
            <pc:sldMk cId="2850138378" sldId="470"/>
            <ac:spMk id="900" creationId="{7FEDBF96-76CE-AC5F-A347-E89739C4A6B8}"/>
          </ac:spMkLst>
        </pc:spChg>
        <pc:spChg chg="add del mod modVis">
          <ac:chgData name="Muchahary, Frankle" userId="0f2bf491-0617-4378-90b8-89af8fa381b9" providerId="ADAL" clId="{8E3D5D9D-CC05-4C7B-9A9C-2FFB7784C389}" dt="2024-02-08T01:01:12.906" v="46740"/>
          <ac:spMkLst>
            <pc:docMk/>
            <pc:sldMk cId="2850138378" sldId="470"/>
            <ac:spMk id="901" creationId="{50FD69D6-922B-3A0C-EC46-AC506DFB595A}"/>
          </ac:spMkLst>
        </pc:spChg>
        <pc:spChg chg="add del mod replST">
          <ac:chgData name="Muchahary, Frankle" userId="0f2bf491-0617-4378-90b8-89af8fa381b9" providerId="ADAL" clId="{8E3D5D9D-CC05-4C7B-9A9C-2FFB7784C389}" dt="2024-02-06T04:18:35.388" v="6823"/>
          <ac:spMkLst>
            <pc:docMk/>
            <pc:sldMk cId="2850138378" sldId="470"/>
            <ac:spMk id="901" creationId="{6514E4F0-AAA7-70B4-2F37-5B6915DFE664}"/>
          </ac:spMkLst>
        </pc:spChg>
        <pc:spChg chg="add del mod modVis">
          <ac:chgData name="Muchahary, Frankle" userId="0f2bf491-0617-4378-90b8-89af8fa381b9" providerId="ADAL" clId="{8E3D5D9D-CC05-4C7B-9A9C-2FFB7784C389}" dt="2024-02-08T01:01:13.653" v="46903"/>
          <ac:spMkLst>
            <pc:docMk/>
            <pc:sldMk cId="2850138378" sldId="470"/>
            <ac:spMk id="903" creationId="{5AA9E402-001E-D9D0-BE6A-0353645E4CA1}"/>
          </ac:spMkLst>
        </pc:spChg>
        <pc:spChg chg="add del mod modVis">
          <ac:chgData name="Muchahary, Frankle" userId="0f2bf491-0617-4378-90b8-89af8fa381b9" providerId="ADAL" clId="{8E3D5D9D-CC05-4C7B-9A9C-2FFB7784C389}" dt="2024-02-06T04:18:05.403" v="5223"/>
          <ac:spMkLst>
            <pc:docMk/>
            <pc:sldMk cId="2850138378" sldId="470"/>
            <ac:spMk id="903" creationId="{9D049AED-02B7-1C74-2F7E-C8E2D4ACA0CB}"/>
          </ac:spMkLst>
        </pc:spChg>
        <pc:spChg chg="mod">
          <ac:chgData name="Muchahary, Frankle" userId="0f2bf491-0617-4378-90b8-89af8fa381b9" providerId="ADAL" clId="{8E3D5D9D-CC05-4C7B-9A9C-2FFB7784C389}" dt="2024-02-08T01:01:26.906" v="47568"/>
          <ac:spMkLst>
            <pc:docMk/>
            <pc:sldMk cId="2850138378" sldId="470"/>
            <ac:spMk id="906" creationId="{882673F3-0F2F-5006-B6F9-9DAAF48138F9}"/>
          </ac:spMkLst>
        </pc:spChg>
        <pc:spChg chg="add del mod modVis">
          <ac:chgData name="Muchahary, Frankle" userId="0f2bf491-0617-4378-90b8-89af8fa381b9" providerId="ADAL" clId="{8E3D5D9D-CC05-4C7B-9A9C-2FFB7784C389}" dt="2024-02-06T04:18:06.508" v="5431"/>
          <ac:spMkLst>
            <pc:docMk/>
            <pc:sldMk cId="2850138378" sldId="470"/>
            <ac:spMk id="907" creationId="{3951DD21-38BD-A01F-E1BA-B2C790E0B582}"/>
          </ac:spMkLst>
        </pc:spChg>
        <pc:spChg chg="add del mod modVis">
          <ac:chgData name="Muchahary, Frankle" userId="0f2bf491-0617-4378-90b8-89af8fa381b9" providerId="ADAL" clId="{8E3D5D9D-CC05-4C7B-9A9C-2FFB7784C389}" dt="2024-02-08T01:01:17.218" v="47066"/>
          <ac:spMkLst>
            <pc:docMk/>
            <pc:sldMk cId="2850138378" sldId="470"/>
            <ac:spMk id="907" creationId="{46F25A4C-7D5F-428C-85F0-083EB05EBBA0}"/>
          </ac:spMkLst>
        </pc:spChg>
        <pc:spChg chg="add del mod modVis">
          <ac:chgData name="Muchahary, Frankle" userId="0f2bf491-0617-4378-90b8-89af8fa381b9" providerId="ADAL" clId="{8E3D5D9D-CC05-4C7B-9A9C-2FFB7784C389}" dt="2024-02-06T04:18:15.928" v="5671"/>
          <ac:spMkLst>
            <pc:docMk/>
            <pc:sldMk cId="2850138378" sldId="470"/>
            <ac:spMk id="909" creationId="{D075FEAB-1A99-EFB5-AE95-507F5DB234CB}"/>
          </ac:spMkLst>
        </pc:spChg>
        <pc:spChg chg="add del mod modVis">
          <ac:chgData name="Muchahary, Frankle" userId="0f2bf491-0617-4378-90b8-89af8fa381b9" providerId="ADAL" clId="{8E3D5D9D-CC05-4C7B-9A9C-2FFB7784C389}" dt="2024-02-08T01:01:22.188" v="47233"/>
          <ac:spMkLst>
            <pc:docMk/>
            <pc:sldMk cId="2850138378" sldId="470"/>
            <ac:spMk id="909" creationId="{D7EE09B2-0599-94CC-FE9F-4CF9E225B407}"/>
          </ac:spMkLst>
        </pc:spChg>
        <pc:spChg chg="add del mod modVis">
          <ac:chgData name="Muchahary, Frankle" userId="0f2bf491-0617-4378-90b8-89af8fa381b9" providerId="ADAL" clId="{8E3D5D9D-CC05-4C7B-9A9C-2FFB7784C389}" dt="2024-02-08T01:01:25.629" v="47401"/>
          <ac:spMkLst>
            <pc:docMk/>
            <pc:sldMk cId="2850138378" sldId="470"/>
            <ac:spMk id="911" creationId="{35988A41-E873-7725-87E9-38ED216CCDCB}"/>
          </ac:spMkLst>
        </pc:spChg>
        <pc:spChg chg="del mod">
          <ac:chgData name="Muchahary, Frankle" userId="0f2bf491-0617-4378-90b8-89af8fa381b9" providerId="ADAL" clId="{8E3D5D9D-CC05-4C7B-9A9C-2FFB7784C389}" dt="2024-02-06T04:20:48.097" v="9891"/>
          <ac:spMkLst>
            <pc:docMk/>
            <pc:sldMk cId="2850138378" sldId="470"/>
            <ac:spMk id="911" creationId="{83BBB460-56DD-2994-5990-0AD00B6B60E3}"/>
          </ac:spMkLst>
        </pc:spChg>
        <pc:spChg chg="add del mod modVis">
          <ac:chgData name="Muchahary, Frankle" userId="0f2bf491-0617-4378-90b8-89af8fa381b9" providerId="ADAL" clId="{8E3D5D9D-CC05-4C7B-9A9C-2FFB7784C389}" dt="2024-02-08T01:01:26.922" v="47582"/>
          <ac:spMkLst>
            <pc:docMk/>
            <pc:sldMk cId="2850138378" sldId="470"/>
            <ac:spMk id="913" creationId="{5B84E00D-9CCE-8C39-7001-B10AD8324FD7}"/>
          </ac:spMkLst>
        </pc:spChg>
        <pc:spChg chg="add del mod modVis">
          <ac:chgData name="Muchahary, Frankle" userId="0f2bf491-0617-4378-90b8-89af8fa381b9" providerId="ADAL" clId="{8E3D5D9D-CC05-4C7B-9A9C-2FFB7784C389}" dt="2024-02-06T04:18:23.854" v="5912"/>
          <ac:spMkLst>
            <pc:docMk/>
            <pc:sldMk cId="2850138378" sldId="470"/>
            <ac:spMk id="913" creationId="{F7E665BE-74DF-BE14-2D94-BD99EDB25AB1}"/>
          </ac:spMkLst>
        </pc:spChg>
        <pc:spChg chg="add del mod modVis">
          <ac:chgData name="Muchahary, Frankle" userId="0f2bf491-0617-4378-90b8-89af8fa381b9" providerId="ADAL" clId="{8E3D5D9D-CC05-4C7B-9A9C-2FFB7784C389}" dt="2024-02-06T04:18:26.658" v="6180"/>
          <ac:spMkLst>
            <pc:docMk/>
            <pc:sldMk cId="2850138378" sldId="470"/>
            <ac:spMk id="915" creationId="{0A6D53A8-6AE6-75E0-09E1-DF07ED95D2D8}"/>
          </ac:spMkLst>
        </pc:spChg>
        <pc:spChg chg="add del mod modVis">
          <ac:chgData name="Muchahary, Frankle" userId="0f2bf491-0617-4378-90b8-89af8fa381b9" providerId="ADAL" clId="{8E3D5D9D-CC05-4C7B-9A9C-2FFB7784C389}" dt="2024-02-06T04:18:28.170" v="6448"/>
          <ac:spMkLst>
            <pc:docMk/>
            <pc:sldMk cId="2850138378" sldId="470"/>
            <ac:spMk id="917" creationId="{47D4511A-E959-349B-E729-14B480F2DEE3}"/>
          </ac:spMkLst>
        </pc:spChg>
        <pc:spChg chg="add del mod modVis">
          <ac:chgData name="Muchahary, Frankle" userId="0f2bf491-0617-4378-90b8-89af8fa381b9" providerId="ADAL" clId="{8E3D5D9D-CC05-4C7B-9A9C-2FFB7784C389}" dt="2024-02-06T04:18:29.348" v="6723"/>
          <ac:spMkLst>
            <pc:docMk/>
            <pc:sldMk cId="2850138378" sldId="470"/>
            <ac:spMk id="919" creationId="{765F63FA-DF71-2624-BC12-257302C8286B}"/>
          </ac:spMkLst>
        </pc:spChg>
        <pc:spChg chg="add del mod modVis">
          <ac:chgData name="Muchahary, Frankle" userId="0f2bf491-0617-4378-90b8-89af8fa381b9" providerId="ADAL" clId="{8E3D5D9D-CC05-4C7B-9A9C-2FFB7784C389}" dt="2024-02-06T04:18:36.546" v="7668"/>
          <ac:spMkLst>
            <pc:docMk/>
            <pc:sldMk cId="2850138378" sldId="470"/>
            <ac:spMk id="921" creationId="{6E4167A0-CB3E-9BE9-C996-389EC1F6BA37}"/>
          </ac:spMkLst>
        </pc:spChg>
        <pc:spChg chg="add del mod replST">
          <ac:chgData name="Muchahary, Frankle" userId="0f2bf491-0617-4378-90b8-89af8fa381b9" providerId="ADAL" clId="{8E3D5D9D-CC05-4C7B-9A9C-2FFB7784C389}" dt="2024-02-06T04:20:56.418" v="10718"/>
          <ac:spMkLst>
            <pc:docMk/>
            <pc:sldMk cId="2850138378" sldId="470"/>
            <ac:spMk id="922" creationId="{745D8F62-831A-6C89-AFAA-F0B3837C4F36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39"/>
          <ac:spMkLst>
            <pc:docMk/>
            <pc:sldMk cId="2850138378" sldId="470"/>
            <ac:spMk id="923" creationId="{47ABBEEE-2393-CC4A-7F0D-8EBCEF7C3696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42"/>
          <ac:spMkLst>
            <pc:docMk/>
            <pc:sldMk cId="2850138378" sldId="470"/>
            <ac:spMk id="924" creationId="{96087570-5A49-CED7-EB40-C1435461F3FC}"/>
          </ac:spMkLst>
        </pc:spChg>
        <pc:spChg chg="add del mod replST">
          <ac:chgData name="Muchahary, Frankle" userId="0f2bf491-0617-4378-90b8-89af8fa381b9" providerId="ADAL" clId="{8E3D5D9D-CC05-4C7B-9A9C-2FFB7784C389}" dt="2024-02-06T04:20:56.415" v="10712"/>
          <ac:spMkLst>
            <pc:docMk/>
            <pc:sldMk cId="2850138378" sldId="470"/>
            <ac:spMk id="925" creationId="{39713428-7BF0-2169-33CA-1E7C03E44C0F}"/>
          </ac:spMkLst>
        </pc:spChg>
        <pc:spChg chg="add del mod replST">
          <ac:chgData name="Muchahary, Frankle" userId="0f2bf491-0617-4378-90b8-89af8fa381b9" providerId="ADAL" clId="{8E3D5D9D-CC05-4C7B-9A9C-2FFB7784C389}" dt="2024-02-06T04:20:51.758" v="10414"/>
          <ac:spMkLst>
            <pc:docMk/>
            <pc:sldMk cId="2850138378" sldId="470"/>
            <ac:spMk id="926" creationId="{5396B7A4-C8DD-8CE9-8DA8-A05F837CF019}"/>
          </ac:spMkLst>
        </pc:spChg>
        <pc:spChg chg="add del mod replST">
          <ac:chgData name="Muchahary, Frankle" userId="0f2bf491-0617-4378-90b8-89af8fa381b9" providerId="ADAL" clId="{8E3D5D9D-CC05-4C7B-9A9C-2FFB7784C389}" dt="2024-02-06T04:20:48.102" v="9900"/>
          <ac:spMkLst>
            <pc:docMk/>
            <pc:sldMk cId="2850138378" sldId="470"/>
            <ac:spMk id="927" creationId="{12911818-83BB-524C-3CA2-0C8ADFCFC1E7}"/>
          </ac:spMkLst>
        </pc:spChg>
        <pc:spChg chg="add del mod replST">
          <ac:chgData name="Muchahary, Frankle" userId="0f2bf491-0617-4378-90b8-89af8fa381b9" providerId="ADAL" clId="{8E3D5D9D-CC05-4C7B-9A9C-2FFB7784C389}" dt="2024-02-06T04:20:48.098" v="9894"/>
          <ac:spMkLst>
            <pc:docMk/>
            <pc:sldMk cId="2850138378" sldId="470"/>
            <ac:spMk id="928" creationId="{71FBEE0C-7EAE-739F-C002-AB13E4F8C5E4}"/>
          </ac:spMkLst>
        </pc:spChg>
        <pc:spChg chg="add del mod replST">
          <ac:chgData name="Muchahary, Frankle" userId="0f2bf491-0617-4378-90b8-89af8fa381b9" providerId="ADAL" clId="{8E3D5D9D-CC05-4C7B-9A9C-2FFB7784C389}" dt="2024-02-06T04:20:48.094" v="9888"/>
          <ac:spMkLst>
            <pc:docMk/>
            <pc:sldMk cId="2850138378" sldId="470"/>
            <ac:spMk id="929" creationId="{1B67533C-C42D-4650-E972-A6663EE8A5F3}"/>
          </ac:spMkLst>
        </pc:spChg>
        <pc:spChg chg="add del mod modVis">
          <ac:chgData name="Muchahary, Frankle" userId="0f2bf491-0617-4378-90b8-89af8fa381b9" providerId="ADAL" clId="{8E3D5D9D-CC05-4C7B-9A9C-2FFB7784C389}" dt="2024-02-06T04:18:45.221" v="7885"/>
          <ac:spMkLst>
            <pc:docMk/>
            <pc:sldMk cId="2850138378" sldId="470"/>
            <ac:spMk id="939" creationId="{C2686B01-8C42-2BD7-85D9-8BC20ECA78AF}"/>
          </ac:spMkLst>
        </pc:spChg>
        <pc:spChg chg="add del mod modVis">
          <ac:chgData name="Muchahary, Frankle" userId="0f2bf491-0617-4378-90b8-89af8fa381b9" providerId="ADAL" clId="{8E3D5D9D-CC05-4C7B-9A9C-2FFB7784C389}" dt="2024-02-06T04:18:56.317" v="8102"/>
          <ac:spMkLst>
            <pc:docMk/>
            <pc:sldMk cId="2850138378" sldId="470"/>
            <ac:spMk id="941" creationId="{99DE0E2C-EB03-8797-4519-DA0671977C64}"/>
          </ac:spMkLst>
        </pc:spChg>
        <pc:spChg chg="add del mod modVis">
          <ac:chgData name="Muchahary, Frankle" userId="0f2bf491-0617-4378-90b8-89af8fa381b9" providerId="ADAL" clId="{8E3D5D9D-CC05-4C7B-9A9C-2FFB7784C389}" dt="2024-02-06T04:19:01.916" v="8319"/>
          <ac:spMkLst>
            <pc:docMk/>
            <pc:sldMk cId="2850138378" sldId="470"/>
            <ac:spMk id="943" creationId="{022E74D9-2957-780C-0D3A-06A1BE094FC8}"/>
          </ac:spMkLst>
        </pc:spChg>
        <pc:spChg chg="add del mod modVis">
          <ac:chgData name="Muchahary, Frankle" userId="0f2bf491-0617-4378-90b8-89af8fa381b9" providerId="ADAL" clId="{8E3D5D9D-CC05-4C7B-9A9C-2FFB7784C389}" dt="2024-02-06T04:19:09.196" v="8536"/>
          <ac:spMkLst>
            <pc:docMk/>
            <pc:sldMk cId="2850138378" sldId="470"/>
            <ac:spMk id="945" creationId="{5D095AEA-C53F-A2F8-614B-53FE53B4A93B}"/>
          </ac:spMkLst>
        </pc:spChg>
        <pc:spChg chg="add del mod modVis">
          <ac:chgData name="Muchahary, Frankle" userId="0f2bf491-0617-4378-90b8-89af8fa381b9" providerId="ADAL" clId="{8E3D5D9D-CC05-4C7B-9A9C-2FFB7784C389}" dt="2024-02-06T04:19:35.322" v="8753"/>
          <ac:spMkLst>
            <pc:docMk/>
            <pc:sldMk cId="2850138378" sldId="470"/>
            <ac:spMk id="947" creationId="{9AC0DE06-0538-079B-0AF5-611F3F16CC38}"/>
          </ac:spMkLst>
        </pc:spChg>
        <pc:spChg chg="add del mod modVis">
          <ac:chgData name="Muchahary, Frankle" userId="0f2bf491-0617-4378-90b8-89af8fa381b9" providerId="ADAL" clId="{8E3D5D9D-CC05-4C7B-9A9C-2FFB7784C389}" dt="2024-02-06T04:19:40.576" v="8970"/>
          <ac:spMkLst>
            <pc:docMk/>
            <pc:sldMk cId="2850138378" sldId="470"/>
            <ac:spMk id="949" creationId="{AE8079C3-1573-CD5B-B989-C746F31B391A}"/>
          </ac:spMkLst>
        </pc:spChg>
        <pc:spChg chg="add del mod modVis">
          <ac:chgData name="Muchahary, Frankle" userId="0f2bf491-0617-4378-90b8-89af8fa381b9" providerId="ADAL" clId="{8E3D5D9D-CC05-4C7B-9A9C-2FFB7784C389}" dt="2024-02-06T04:20:08.845" v="9187"/>
          <ac:spMkLst>
            <pc:docMk/>
            <pc:sldMk cId="2850138378" sldId="470"/>
            <ac:spMk id="951" creationId="{6C41F5D5-5E53-49D3-E860-FA3B92C30451}"/>
          </ac:spMkLst>
        </pc:spChg>
        <pc:spChg chg="add del mod modVis">
          <ac:chgData name="Muchahary, Frankle" userId="0f2bf491-0617-4378-90b8-89af8fa381b9" providerId="ADAL" clId="{8E3D5D9D-CC05-4C7B-9A9C-2FFB7784C389}" dt="2024-02-06T04:20:26.929" v="9409"/>
          <ac:spMkLst>
            <pc:docMk/>
            <pc:sldMk cId="2850138378" sldId="470"/>
            <ac:spMk id="953" creationId="{6EF58537-B84E-C07A-11CA-8BCC760F9420}"/>
          </ac:spMkLst>
        </pc:spChg>
        <pc:spChg chg="add del mod modVis">
          <ac:chgData name="Muchahary, Frankle" userId="0f2bf491-0617-4378-90b8-89af8fa381b9" providerId="ADAL" clId="{8E3D5D9D-CC05-4C7B-9A9C-2FFB7784C389}" dt="2024-02-06T04:20:38.493" v="9626"/>
          <ac:spMkLst>
            <pc:docMk/>
            <pc:sldMk cId="2850138378" sldId="470"/>
            <ac:spMk id="955" creationId="{59738D58-5957-B15D-029F-035690C5A785}"/>
          </ac:spMkLst>
        </pc:spChg>
        <pc:spChg chg="add del mod modVis">
          <ac:chgData name="Muchahary, Frankle" userId="0f2bf491-0617-4378-90b8-89af8fa381b9" providerId="ADAL" clId="{8E3D5D9D-CC05-4C7B-9A9C-2FFB7784C389}" dt="2024-02-06T04:20:42.598" v="9841"/>
          <ac:spMkLst>
            <pc:docMk/>
            <pc:sldMk cId="2850138378" sldId="470"/>
            <ac:spMk id="957" creationId="{C0DE564B-CC81-F958-8B00-7F9F07EEA371}"/>
          </ac:spMkLst>
        </pc:spChg>
        <pc:spChg chg="add del mod modVis">
          <ac:chgData name="Muchahary, Frankle" userId="0f2bf491-0617-4378-90b8-89af8fa381b9" providerId="ADAL" clId="{8E3D5D9D-CC05-4C7B-9A9C-2FFB7784C389}" dt="2024-02-06T04:20:48.648" v="10370"/>
          <ac:spMkLst>
            <pc:docMk/>
            <pc:sldMk cId="2850138378" sldId="470"/>
            <ac:spMk id="959" creationId="{1FDD357F-F734-B6D8-56E0-196AD4ACB964}"/>
          </ac:spMkLst>
        </pc:spChg>
        <pc:spChg chg="add del mod replST">
          <ac:chgData name="Muchahary, Frankle" userId="0f2bf491-0617-4378-90b8-89af8fa381b9" providerId="ADAL" clId="{8E3D5D9D-CC05-4C7B-9A9C-2FFB7784C389}" dt="2024-02-06T04:21:02.498" v="11427"/>
          <ac:spMkLst>
            <pc:docMk/>
            <pc:sldMk cId="2850138378" sldId="470"/>
            <ac:spMk id="960" creationId="{FDA084A3-23EC-5682-B335-77488BD045FD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44"/>
          <ac:spMkLst>
            <pc:docMk/>
            <pc:sldMk cId="2850138378" sldId="470"/>
            <ac:spMk id="962" creationId="{06FF0287-B1AF-CC22-7A99-FD4F7D41B6FE}"/>
          </ac:spMkLst>
        </pc:spChg>
        <pc:spChg chg="add del mod replST">
          <ac:chgData name="Muchahary, Frankle" userId="0f2bf491-0617-4378-90b8-89af8fa381b9" providerId="ADAL" clId="{8E3D5D9D-CC05-4C7B-9A9C-2FFB7784C389}" dt="2024-02-06T04:20:56.411" v="10703"/>
          <ac:spMkLst>
            <pc:docMk/>
            <pc:sldMk cId="2850138378" sldId="470"/>
            <ac:spMk id="965" creationId="{2C272620-99D5-F4A9-6600-272E167FB020}"/>
          </ac:spMkLst>
        </pc:spChg>
        <pc:spChg chg="add del mod modVis">
          <ac:chgData name="Muchahary, Frankle" userId="0f2bf491-0617-4378-90b8-89af8fa381b9" providerId="ADAL" clId="{8E3D5D9D-CC05-4C7B-9A9C-2FFB7784C389}" dt="2024-02-06T04:20:52.032" v="10661"/>
          <ac:spMkLst>
            <pc:docMk/>
            <pc:sldMk cId="2850138378" sldId="470"/>
            <ac:spMk id="973" creationId="{82F0E5F0-29C0-9A24-5FCC-6D53AB2C7856}"/>
          </ac:spMkLst>
        </pc:spChg>
        <pc:spChg chg="add del mod replST">
          <ac:chgData name="Muchahary, Frankle" userId="0f2bf491-0617-4378-90b8-89af8fa381b9" providerId="ADAL" clId="{8E3D5D9D-CC05-4C7B-9A9C-2FFB7784C389}" dt="2024-02-06T04:20:56.412" v="10706"/>
          <ac:spMkLst>
            <pc:docMk/>
            <pc:sldMk cId="2850138378" sldId="470"/>
            <ac:spMk id="974" creationId="{7DD84E22-CE31-6F27-302B-05D6A42DE710}"/>
          </ac:spMkLst>
        </pc:spChg>
        <pc:spChg chg="mod ord">
          <ac:chgData name="Muchahary, Frankle" userId="0f2bf491-0617-4378-90b8-89af8fa381b9" providerId="ADAL" clId="{8E3D5D9D-CC05-4C7B-9A9C-2FFB7784C389}" dt="2024-02-08T01:01:26.922" v="47578"/>
          <ac:spMkLst>
            <pc:docMk/>
            <pc:sldMk cId="2850138378" sldId="470"/>
            <ac:spMk id="977" creationId="{F239AAF2-C1E8-79CD-1D5D-99255B874854}"/>
          </ac:spMkLst>
        </pc:spChg>
        <pc:spChg chg="add del mod modVis">
          <ac:chgData name="Muchahary, Frankle" userId="0f2bf491-0617-4378-90b8-89af8fa381b9" providerId="ADAL" clId="{8E3D5D9D-CC05-4C7B-9A9C-2FFB7784C389}" dt="2024-02-06T04:20:57.626" v="11380"/>
          <ac:spMkLst>
            <pc:docMk/>
            <pc:sldMk cId="2850138378" sldId="470"/>
            <ac:spMk id="978" creationId="{45DEAA1B-8070-F75F-A200-D14E692A7B2F}"/>
          </ac:spMkLst>
        </pc:spChg>
        <pc:spChg chg="add del mod replST">
          <ac:chgData name="Muchahary, Frankle" userId="0f2bf491-0617-4378-90b8-89af8fa381b9" providerId="ADAL" clId="{8E3D5D9D-CC05-4C7B-9A9C-2FFB7784C389}" dt="2024-02-06T04:22:36.317" v="15062"/>
          <ac:spMkLst>
            <pc:docMk/>
            <pc:sldMk cId="2850138378" sldId="470"/>
            <ac:spMk id="979" creationId="{077887CF-F583-7A1D-A5D5-48F20AC75594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37"/>
          <ac:spMkLst>
            <pc:docMk/>
            <pc:sldMk cId="2850138378" sldId="470"/>
            <ac:spMk id="980" creationId="{EC2998DD-2194-64B0-F48B-975EE21EB7C6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38"/>
          <ac:spMkLst>
            <pc:docMk/>
            <pc:sldMk cId="2850138378" sldId="470"/>
            <ac:spMk id="981" creationId="{D615F218-5BCA-E00F-A188-BA0BEE4EB8FA}"/>
          </ac:spMkLst>
        </pc:spChg>
        <pc:spChg chg="add mod replST">
          <ac:chgData name="Muchahary, Frankle" userId="0f2bf491-0617-4378-90b8-89af8fa381b9" providerId="ADAL" clId="{8E3D5D9D-CC05-4C7B-9A9C-2FFB7784C389}" dt="2024-02-08T01:01:26.897" v="47540"/>
          <ac:spMkLst>
            <pc:docMk/>
            <pc:sldMk cId="2850138378" sldId="470"/>
            <ac:spMk id="982" creationId="{199C10AD-98E7-F4C8-4FAA-F98854A841CD}"/>
          </ac:spMkLst>
        </pc:spChg>
        <pc:spChg chg="add mod replST">
          <ac:chgData name="Muchahary, Frankle" userId="0f2bf491-0617-4378-90b8-89af8fa381b9" providerId="ADAL" clId="{8E3D5D9D-CC05-4C7B-9A9C-2FFB7784C389}" dt="2024-02-08T01:01:26.906" v="47543"/>
          <ac:spMkLst>
            <pc:docMk/>
            <pc:sldMk cId="2850138378" sldId="470"/>
            <ac:spMk id="983" creationId="{387C6FCF-DC2B-5DB5-8C36-D7DEBA58C9FE}"/>
          </ac:spMkLst>
        </pc:spChg>
        <pc:spChg chg="add del mod replST">
          <ac:chgData name="Muchahary, Frankle" userId="0f2bf491-0617-4378-90b8-89af8fa381b9" providerId="ADAL" clId="{8E3D5D9D-CC05-4C7B-9A9C-2FFB7784C389}" dt="2024-02-06T04:21:02.496" v="11424"/>
          <ac:spMkLst>
            <pc:docMk/>
            <pc:sldMk cId="2850138378" sldId="470"/>
            <ac:spMk id="984" creationId="{D8208FD8-C861-890C-3DB1-BAD835DE0F69}"/>
          </ac:spMkLst>
        </pc:spChg>
        <pc:spChg chg="add del mod modVis">
          <ac:chgData name="Muchahary, Frankle" userId="0f2bf491-0617-4378-90b8-89af8fa381b9" providerId="ADAL" clId="{8E3D5D9D-CC05-4C7B-9A9C-2FFB7784C389}" dt="2024-02-06T04:21:02.993" v="11869"/>
          <ac:spMkLst>
            <pc:docMk/>
            <pc:sldMk cId="2850138378" sldId="470"/>
            <ac:spMk id="992" creationId="{70338837-F0C9-BB14-05DE-2B8AAA1DE5CC}"/>
          </ac:spMkLst>
        </pc:spChg>
        <pc:spChg chg="add del mod ord replST">
          <ac:chgData name="Muchahary, Frankle" userId="0f2bf491-0617-4378-90b8-89af8fa381b9" providerId="ADAL" clId="{8E3D5D9D-CC05-4C7B-9A9C-2FFB7784C389}" dt="2024-02-06T04:21:07.132" v="12023"/>
          <ac:spMkLst>
            <pc:docMk/>
            <pc:sldMk cId="2850138378" sldId="470"/>
            <ac:spMk id="993" creationId="{3E6DFA18-D9CE-084C-DDF7-35A30B651285}"/>
          </ac:spMkLst>
        </pc:spChg>
        <pc:spChg chg="add del mod ord replST">
          <ac:chgData name="Muchahary, Frankle" userId="0f2bf491-0617-4378-90b8-89af8fa381b9" providerId="ADAL" clId="{8E3D5D9D-CC05-4C7B-9A9C-2FFB7784C389}" dt="2024-02-06T04:21:07.143" v="12039"/>
          <ac:spMkLst>
            <pc:docMk/>
            <pc:sldMk cId="2850138378" sldId="470"/>
            <ac:spMk id="994" creationId="{DC02F3AA-5D58-A120-C138-17E51BC80B57}"/>
          </ac:spMkLst>
        </pc:spChg>
        <pc:spChg chg="add del mod replST">
          <ac:chgData name="Muchahary, Frankle" userId="0f2bf491-0617-4378-90b8-89af8fa381b9" providerId="ADAL" clId="{8E3D5D9D-CC05-4C7B-9A9C-2FFB7784C389}" dt="2024-02-06T04:21:07.155" v="12054"/>
          <ac:spMkLst>
            <pc:docMk/>
            <pc:sldMk cId="2850138378" sldId="470"/>
            <ac:spMk id="995" creationId="{FC93B878-7C40-F295-BF8D-E693E9005F99}"/>
          </ac:spMkLst>
        </pc:spChg>
        <pc:spChg chg="add del mod replST">
          <ac:chgData name="Muchahary, Frankle" userId="0f2bf491-0617-4378-90b8-89af8fa381b9" providerId="ADAL" clId="{8E3D5D9D-CC05-4C7B-9A9C-2FFB7784C389}" dt="2024-02-06T04:22:36.314" v="15059"/>
          <ac:spMkLst>
            <pc:docMk/>
            <pc:sldMk cId="2850138378" sldId="470"/>
            <ac:spMk id="996" creationId="{91E23C6C-85F5-56AD-8A94-71B5E4E48EDA}"/>
          </ac:spMkLst>
        </pc:spChg>
        <pc:spChg chg="add del mod replST">
          <ac:chgData name="Muchahary, Frankle" userId="0f2bf491-0617-4378-90b8-89af8fa381b9" providerId="ADAL" clId="{8E3D5D9D-CC05-4C7B-9A9C-2FFB7784C389}" dt="2024-02-06T04:22:36.312" v="15056"/>
          <ac:spMkLst>
            <pc:docMk/>
            <pc:sldMk cId="2850138378" sldId="470"/>
            <ac:spMk id="997" creationId="{7CD41697-3F52-DC85-8B0F-00FCB18D18F7}"/>
          </ac:spMkLst>
        </pc:spChg>
        <pc:spChg chg="add del mod modVis">
          <ac:chgData name="Muchahary, Frankle" userId="0f2bf491-0617-4378-90b8-89af8fa381b9" providerId="ADAL" clId="{8E3D5D9D-CC05-4C7B-9A9C-2FFB7784C389}" dt="2024-02-06T04:21:07.347" v="12357"/>
          <ac:spMkLst>
            <pc:docMk/>
            <pc:sldMk cId="2850138378" sldId="470"/>
            <ac:spMk id="1001" creationId="{CD01A0B2-56E5-F179-CF72-8B613AF32569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10" v="14241"/>
          <ac:spMkLst>
            <pc:docMk/>
            <pc:sldMk cId="2850138378" sldId="470"/>
            <ac:spMk id="1002" creationId="{02C25505-5FF0-257A-9C1D-CD2C417EACD9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22" v="14257"/>
          <ac:spMkLst>
            <pc:docMk/>
            <pc:sldMk cId="2850138378" sldId="470"/>
            <ac:spMk id="1003" creationId="{18D5AA2C-6DE3-2D1B-D844-73BD7029F7B5}"/>
          </ac:spMkLst>
        </pc:spChg>
        <pc:spChg chg="add del mod replST">
          <ac:chgData name="Muchahary, Frankle" userId="0f2bf491-0617-4378-90b8-89af8fa381b9" providerId="ADAL" clId="{8E3D5D9D-CC05-4C7B-9A9C-2FFB7784C389}" dt="2024-02-06T04:22:15.031" v="14272"/>
          <ac:spMkLst>
            <pc:docMk/>
            <pc:sldMk cId="2850138378" sldId="470"/>
            <ac:spMk id="1004" creationId="{4AC9246A-CB0D-CE14-BD2E-54B05874C5B6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70" v="14329"/>
          <ac:spMkLst>
            <pc:docMk/>
            <pc:sldMk cId="2850138378" sldId="470"/>
            <ac:spMk id="1005" creationId="{B3C2B760-BD9E-6FBA-50CA-E995FDA84658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80" v="14345"/>
          <ac:spMkLst>
            <pc:docMk/>
            <pc:sldMk cId="2850138378" sldId="470"/>
            <ac:spMk id="1006" creationId="{CCD571A5-96C2-716D-E0CA-8883735ED803}"/>
          </ac:spMkLst>
        </pc:spChg>
        <pc:spChg chg="add del mod replST">
          <ac:chgData name="Muchahary, Frankle" userId="0f2bf491-0617-4378-90b8-89af8fa381b9" providerId="ADAL" clId="{8E3D5D9D-CC05-4C7B-9A9C-2FFB7784C389}" dt="2024-02-06T04:22:15.091" v="14360"/>
          <ac:spMkLst>
            <pc:docMk/>
            <pc:sldMk cId="2850138378" sldId="470"/>
            <ac:spMk id="1007" creationId="{30340076-E996-C0A9-14FE-59B266B6000D}"/>
          </ac:spMkLst>
        </pc:spChg>
        <pc:spChg chg="add del mod ord replST">
          <ac:chgData name="Muchahary, Frankle" userId="0f2bf491-0617-4378-90b8-89af8fa381b9" providerId="ADAL" clId="{8E3D5D9D-CC05-4C7B-9A9C-2FFB7784C389}" dt="2024-02-06T04:22:15.099" v="14373"/>
          <ac:spMkLst>
            <pc:docMk/>
            <pc:sldMk cId="2850138378" sldId="470"/>
            <ac:spMk id="1008" creationId="{6C2D5A01-0277-E520-B23C-E9113404AA37}"/>
          </ac:spMkLst>
        </pc:spChg>
        <pc:spChg chg="add del mod ord replST">
          <ac:chgData name="Muchahary, Frankle" userId="0f2bf491-0617-4378-90b8-89af8fa381b9" providerId="ADAL" clId="{8E3D5D9D-CC05-4C7B-9A9C-2FFB7784C389}" dt="2024-02-06T04:22:15.111" v="14389"/>
          <ac:spMkLst>
            <pc:docMk/>
            <pc:sldMk cId="2850138378" sldId="470"/>
            <ac:spMk id="1009" creationId="{0E34894B-92AD-BD33-3A97-98D95C71B8C9}"/>
          </ac:spMkLst>
        </pc:spChg>
        <pc:spChg chg="add del mod replST">
          <ac:chgData name="Muchahary, Frankle" userId="0f2bf491-0617-4378-90b8-89af8fa381b9" providerId="ADAL" clId="{8E3D5D9D-CC05-4C7B-9A9C-2FFB7784C389}" dt="2024-02-06T04:22:15.123" v="14404"/>
          <ac:spMkLst>
            <pc:docMk/>
            <pc:sldMk cId="2850138378" sldId="470"/>
            <ac:spMk id="1010" creationId="{26F4B415-A6F9-21CA-0B05-03D53FCACCED}"/>
          </ac:spMkLst>
        </pc:spChg>
        <pc:spChg chg="add del mod modVis">
          <ac:chgData name="Muchahary, Frankle" userId="0f2bf491-0617-4378-90b8-89af8fa381b9" providerId="ADAL" clId="{8E3D5D9D-CC05-4C7B-9A9C-2FFB7784C389}" dt="2024-02-06T04:21:14.942" v="12529"/>
          <ac:spMkLst>
            <pc:docMk/>
            <pc:sldMk cId="2850138378" sldId="470"/>
            <ac:spMk id="1012" creationId="{CA632B82-6B83-0047-9110-9FB2D828F43A}"/>
          </ac:spMkLst>
        </pc:spChg>
        <pc:spChg chg="add del mod modVis">
          <ac:chgData name="Muchahary, Frankle" userId="0f2bf491-0617-4378-90b8-89af8fa381b9" providerId="ADAL" clId="{8E3D5D9D-CC05-4C7B-9A9C-2FFB7784C389}" dt="2024-02-06T04:21:16.106" v="12768"/>
          <ac:spMkLst>
            <pc:docMk/>
            <pc:sldMk cId="2850138378" sldId="470"/>
            <ac:spMk id="1014" creationId="{C67889AE-E5EE-DA15-BF91-9C8A2CA62341}"/>
          </ac:spMkLst>
        </pc:spChg>
        <pc:spChg chg="add del mod replST">
          <ac:chgData name="Muchahary, Frankle" userId="0f2bf491-0617-4378-90b8-89af8fa381b9" providerId="ADAL" clId="{8E3D5D9D-CC05-4C7B-9A9C-2FFB7784C389}" dt="2024-02-06T04:21:18.257" v="12836"/>
          <ac:spMkLst>
            <pc:docMk/>
            <pc:sldMk cId="2850138378" sldId="470"/>
            <ac:spMk id="1015" creationId="{E13173B6-C9D4-7A88-F7B5-96AF181432FD}"/>
          </ac:spMkLst>
        </pc:spChg>
        <pc:spChg chg="add del mod modVis">
          <ac:chgData name="Muchahary, Frankle" userId="0f2bf491-0617-4378-90b8-89af8fa381b9" providerId="ADAL" clId="{8E3D5D9D-CC05-4C7B-9A9C-2FFB7784C389}" dt="2024-02-06T04:21:18.340" v="12942"/>
          <ac:spMkLst>
            <pc:docMk/>
            <pc:sldMk cId="2850138378" sldId="470"/>
            <ac:spMk id="1017" creationId="{A92C23B2-7E55-CCFB-CADA-9EE0C7DC5DDD}"/>
          </ac:spMkLst>
        </pc:spChg>
        <pc:spChg chg="add del mod modVis">
          <ac:chgData name="Muchahary, Frankle" userId="0f2bf491-0617-4378-90b8-89af8fa381b9" providerId="ADAL" clId="{8E3D5D9D-CC05-4C7B-9A9C-2FFB7784C389}" dt="2024-02-06T04:21:25.821" v="13114"/>
          <ac:spMkLst>
            <pc:docMk/>
            <pc:sldMk cId="2850138378" sldId="470"/>
            <ac:spMk id="1019" creationId="{88F97151-7575-2D82-1FC2-AC6B1C362C33}"/>
          </ac:spMkLst>
        </pc:spChg>
        <pc:spChg chg="add del mod modVis">
          <ac:chgData name="Muchahary, Frankle" userId="0f2bf491-0617-4378-90b8-89af8fa381b9" providerId="ADAL" clId="{8E3D5D9D-CC05-4C7B-9A9C-2FFB7784C389}" dt="2024-02-06T04:21:40.507" v="13286"/>
          <ac:spMkLst>
            <pc:docMk/>
            <pc:sldMk cId="2850138378" sldId="470"/>
            <ac:spMk id="1021" creationId="{91B83BA4-25E5-F584-DC0F-AF3B3DA97E16}"/>
          </ac:spMkLst>
        </pc:spChg>
        <pc:spChg chg="add del mod modVis">
          <ac:chgData name="Muchahary, Frankle" userId="0f2bf491-0617-4378-90b8-89af8fa381b9" providerId="ADAL" clId="{8E3D5D9D-CC05-4C7B-9A9C-2FFB7784C389}" dt="2024-02-06T04:21:51.470" v="13458"/>
          <ac:spMkLst>
            <pc:docMk/>
            <pc:sldMk cId="2850138378" sldId="470"/>
            <ac:spMk id="1023" creationId="{C01C6BEA-6E63-71F8-8C5B-83F54415A3FC}"/>
          </ac:spMkLst>
        </pc:spChg>
        <pc:spChg chg="add del mod modVis">
          <ac:chgData name="Muchahary, Frankle" userId="0f2bf491-0617-4378-90b8-89af8fa381b9" providerId="ADAL" clId="{8E3D5D9D-CC05-4C7B-9A9C-2FFB7784C389}" dt="2024-02-06T04:27:18.894" v="17816"/>
          <ac:spMkLst>
            <pc:docMk/>
            <pc:sldMk cId="2850138378" sldId="470"/>
            <ac:spMk id="1600" creationId="{07DE1AEE-7558-8FCF-AAE0-97BADBEE5249}"/>
          </ac:spMkLst>
        </pc:spChg>
        <pc:spChg chg="add del mod modVis">
          <ac:chgData name="Muchahary, Frankle" userId="0f2bf491-0617-4378-90b8-89af8fa381b9" providerId="ADAL" clId="{8E3D5D9D-CC05-4C7B-9A9C-2FFB7784C389}" dt="2024-02-06T04:27:22.280" v="18473"/>
          <ac:spMkLst>
            <pc:docMk/>
            <pc:sldMk cId="2850138378" sldId="470"/>
            <ac:spMk id="1602" creationId="{A12C9F6A-B5CC-1030-5CA4-4F25336619C5}"/>
          </ac:spMkLst>
        </pc:spChg>
        <pc:spChg chg="add del mod modVis">
          <ac:chgData name="Muchahary, Frankle" userId="0f2bf491-0617-4378-90b8-89af8fa381b9" providerId="ADAL" clId="{8E3D5D9D-CC05-4C7B-9A9C-2FFB7784C389}" dt="2024-02-06T04:27:29.769" v="19069"/>
          <ac:spMkLst>
            <pc:docMk/>
            <pc:sldMk cId="2850138378" sldId="470"/>
            <ac:spMk id="1604" creationId="{6606AC48-B239-F220-0C69-ED8B6133E938}"/>
          </ac:spMkLst>
        </pc:spChg>
        <pc:spChg chg="add del mod ord replST">
          <ac:chgData name="Muchahary, Frankle" userId="0f2bf491-0617-4378-90b8-89af8fa381b9" providerId="ADAL" clId="{8E3D5D9D-CC05-4C7B-9A9C-2FFB7784C389}" dt="2024-02-08T00:02:35.084" v="40707"/>
          <ac:spMkLst>
            <pc:docMk/>
            <pc:sldMk cId="2850138378" sldId="470"/>
            <ac:spMk id="1605" creationId="{B236F9E6-62B0-58DD-40B5-2A82268F2D12}"/>
          </ac:spMkLst>
        </pc:spChg>
        <pc:spChg chg="add del mod ord replST">
          <ac:chgData name="Muchahary, Frankle" userId="0f2bf491-0617-4378-90b8-89af8fa381b9" providerId="ADAL" clId="{8E3D5D9D-CC05-4C7B-9A9C-2FFB7784C389}" dt="2024-02-08T00:02:35.100" v="40723"/>
          <ac:spMkLst>
            <pc:docMk/>
            <pc:sldMk cId="2850138378" sldId="470"/>
            <ac:spMk id="1606" creationId="{BB55D828-33FB-1272-A426-11F24C8A5893}"/>
          </ac:spMkLst>
        </pc:spChg>
        <pc:spChg chg="add del mod replST">
          <ac:chgData name="Muchahary, Frankle" userId="0f2bf491-0617-4378-90b8-89af8fa381b9" providerId="ADAL" clId="{8E3D5D9D-CC05-4C7B-9A9C-2FFB7784C389}" dt="2024-02-08T00:02:35.119" v="40738"/>
          <ac:spMkLst>
            <pc:docMk/>
            <pc:sldMk cId="2850138378" sldId="470"/>
            <ac:spMk id="1607" creationId="{7563588E-ACB3-2DCE-E004-4050913B23D2}"/>
          </ac:spMkLst>
        </pc:spChg>
        <pc:spChg chg="add del mod ord replST">
          <ac:chgData name="Muchahary, Frankle" userId="0f2bf491-0617-4378-90b8-89af8fa381b9" providerId="ADAL" clId="{8E3D5D9D-CC05-4C7B-9A9C-2FFB7784C389}" dt="2024-02-08T00:02:35.119" v="40751"/>
          <ac:spMkLst>
            <pc:docMk/>
            <pc:sldMk cId="2850138378" sldId="470"/>
            <ac:spMk id="1608" creationId="{A98FAB19-0AE1-D4DA-3B2D-ABCBDC9B78FC}"/>
          </ac:spMkLst>
        </pc:spChg>
        <pc:spChg chg="add del mod ord replST">
          <ac:chgData name="Muchahary, Frankle" userId="0f2bf491-0617-4378-90b8-89af8fa381b9" providerId="ADAL" clId="{8E3D5D9D-CC05-4C7B-9A9C-2FFB7784C389}" dt="2024-02-08T00:02:35.132" v="40767"/>
          <ac:spMkLst>
            <pc:docMk/>
            <pc:sldMk cId="2850138378" sldId="470"/>
            <ac:spMk id="1609" creationId="{1C241FEA-B547-6577-30FA-084EA458A93B}"/>
          </ac:spMkLst>
        </pc:spChg>
        <pc:spChg chg="add del mod replST">
          <ac:chgData name="Muchahary, Frankle" userId="0f2bf491-0617-4378-90b8-89af8fa381b9" providerId="ADAL" clId="{8E3D5D9D-CC05-4C7B-9A9C-2FFB7784C389}" dt="2024-02-08T00:02:35.132" v="40782"/>
          <ac:spMkLst>
            <pc:docMk/>
            <pc:sldMk cId="2850138378" sldId="470"/>
            <ac:spMk id="1610" creationId="{4C55226A-BC79-1F0D-C1FF-66261B8D1CEB}"/>
          </ac:spMkLst>
        </pc:spChg>
        <pc:spChg chg="add del mod ord replST">
          <ac:chgData name="Muchahary, Frankle" userId="0f2bf491-0617-4378-90b8-89af8fa381b9" providerId="ADAL" clId="{8E3D5D9D-CC05-4C7B-9A9C-2FFB7784C389}" dt="2024-02-08T00:02:35.151" v="40795"/>
          <ac:spMkLst>
            <pc:docMk/>
            <pc:sldMk cId="2850138378" sldId="470"/>
            <ac:spMk id="1611" creationId="{7EAEBFEA-F3D5-68E6-3DB3-E6D36FA427C4}"/>
          </ac:spMkLst>
        </pc:spChg>
        <pc:spChg chg="add del mod ord replST">
          <ac:chgData name="Muchahary, Frankle" userId="0f2bf491-0617-4378-90b8-89af8fa381b9" providerId="ADAL" clId="{8E3D5D9D-CC05-4C7B-9A9C-2FFB7784C389}" dt="2024-02-08T00:02:35.165" v="40811"/>
          <ac:spMkLst>
            <pc:docMk/>
            <pc:sldMk cId="2850138378" sldId="470"/>
            <ac:spMk id="1612" creationId="{0B252599-55E4-A5FF-7F0C-E2EB9617D167}"/>
          </ac:spMkLst>
        </pc:spChg>
        <pc:spChg chg="add del mod replST">
          <ac:chgData name="Muchahary, Frankle" userId="0f2bf491-0617-4378-90b8-89af8fa381b9" providerId="ADAL" clId="{8E3D5D9D-CC05-4C7B-9A9C-2FFB7784C389}" dt="2024-02-08T00:02:35.174" v="40826"/>
          <ac:spMkLst>
            <pc:docMk/>
            <pc:sldMk cId="2850138378" sldId="470"/>
            <ac:spMk id="1613" creationId="{9D7B1434-AF25-436D-CDDD-B2F3D040E90A}"/>
          </ac:spMkLst>
        </pc:spChg>
        <pc:spChg chg="add del mod modVis">
          <ac:chgData name="Muchahary, Frankle" userId="0f2bf491-0617-4378-90b8-89af8fa381b9" providerId="ADAL" clId="{8E3D5D9D-CC05-4C7B-9A9C-2FFB7784C389}" dt="2024-02-06T04:27:46.671" v="19541"/>
          <ac:spMkLst>
            <pc:docMk/>
            <pc:sldMk cId="2850138378" sldId="470"/>
            <ac:spMk id="1615" creationId="{D248016C-9F62-1E23-A100-E831D22D1597}"/>
          </ac:spMkLst>
        </pc:spChg>
        <pc:spChg chg="add del mod modVis">
          <ac:chgData name="Muchahary, Frankle" userId="0f2bf491-0617-4378-90b8-89af8fa381b9" providerId="ADAL" clId="{8E3D5D9D-CC05-4C7B-9A9C-2FFB7784C389}" dt="2024-02-06T04:27:52.004" v="19859"/>
          <ac:spMkLst>
            <pc:docMk/>
            <pc:sldMk cId="2850138378" sldId="470"/>
            <ac:spMk id="1617" creationId="{67C99CF1-4882-4E60-81B2-3FD369C86B19}"/>
          </ac:spMkLst>
        </pc:spChg>
        <pc:spChg chg="del mod">
          <ac:chgData name="Muchahary, Frankle" userId="0f2bf491-0617-4378-90b8-89af8fa381b9" providerId="ADAL" clId="{8E3D5D9D-CC05-4C7B-9A9C-2FFB7784C389}" dt="2024-02-06T04:20:48.099" v="9897"/>
          <ac:spMkLst>
            <pc:docMk/>
            <pc:sldMk cId="2850138378" sldId="470"/>
            <ac:spMk id="1662" creationId="{9B240820-8727-FB9D-831E-B5DBDD4282E3}"/>
          </ac:spMkLst>
        </pc:spChg>
        <pc:spChg chg="del mod ord">
          <ac:chgData name="Muchahary, Frankle" userId="0f2bf491-0617-4378-90b8-89af8fa381b9" providerId="ADAL" clId="{8E3D5D9D-CC05-4C7B-9A9C-2FFB7784C389}" dt="2024-02-06T04:18:36.436" v="7511"/>
          <ac:spMkLst>
            <pc:docMk/>
            <pc:sldMk cId="2850138378" sldId="470"/>
            <ac:spMk id="1668" creationId="{B9A0BD67-7988-9AB2-2D97-FB35226108E7}"/>
          </ac:spMkLst>
        </pc:spChg>
        <pc:spChg chg="del mod">
          <ac:chgData name="Muchahary, Frankle" userId="0f2bf491-0617-4378-90b8-89af8fa381b9" providerId="ADAL" clId="{8E3D5D9D-CC05-4C7B-9A9C-2FFB7784C389}" dt="2024-02-06T04:18:35.363" v="6781"/>
          <ac:spMkLst>
            <pc:docMk/>
            <pc:sldMk cId="2850138378" sldId="470"/>
            <ac:spMk id="1669" creationId="{AE6ACED2-9366-CB02-50EE-276790935677}"/>
          </ac:spMkLst>
        </pc:spChg>
        <pc:spChg chg="del mod">
          <ac:chgData name="Muchahary, Frankle" userId="0f2bf491-0617-4378-90b8-89af8fa381b9" providerId="ADAL" clId="{8E3D5D9D-CC05-4C7B-9A9C-2FFB7784C389}" dt="2024-02-06T04:18:35.368" v="6790"/>
          <ac:spMkLst>
            <pc:docMk/>
            <pc:sldMk cId="2850138378" sldId="470"/>
            <ac:spMk id="1673" creationId="{BED74232-FF17-D225-69B6-E11852F12534}"/>
          </ac:spMkLst>
        </pc:spChg>
        <pc:spChg chg="del mod">
          <ac:chgData name="Muchahary, Frankle" userId="0f2bf491-0617-4378-90b8-89af8fa381b9" providerId="ADAL" clId="{8E3D5D9D-CC05-4C7B-9A9C-2FFB7784C389}" dt="2024-02-06T04:18:35.367" v="6787"/>
          <ac:spMkLst>
            <pc:docMk/>
            <pc:sldMk cId="2850138378" sldId="470"/>
            <ac:spMk id="1674" creationId="{3A970D50-630A-8E28-508A-1B18F355AA3F}"/>
          </ac:spMkLst>
        </pc:spChg>
        <pc:spChg chg="del">
          <ac:chgData name="Muchahary, Frankle" userId="0f2bf491-0617-4378-90b8-89af8fa381b9" providerId="ADAL" clId="{8E3D5D9D-CC05-4C7B-9A9C-2FFB7784C389}" dt="2024-02-06T04:16:52.965" v="4113" actId="478"/>
          <ac:spMkLst>
            <pc:docMk/>
            <pc:sldMk cId="2850138378" sldId="470"/>
            <ac:spMk id="1693" creationId="{1E845A31-7E7E-B42C-521F-2A3D983F6C43}"/>
          </ac:spMkLst>
        </pc:spChg>
        <pc:graphicFrameChg chg="mod">
          <ac:chgData name="Muchahary, Frankle" userId="0f2bf491-0617-4378-90b8-89af8fa381b9" providerId="ADAL" clId="{8E3D5D9D-CC05-4C7B-9A9C-2FFB7784C389}" dt="2024-02-08T01:01:26.922" v="47584"/>
          <ac:graphicFrameMkLst>
            <pc:docMk/>
            <pc:sldMk cId="2850138378" sldId="470"/>
            <ac:graphicFrameMk id="4" creationId="{AD666F38-51B8-0103-8161-630DF68FA33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18.845" v="42741"/>
          <ac:graphicFrameMkLst>
            <pc:docMk/>
            <pc:sldMk cId="2850138378" sldId="470"/>
            <ac:graphicFrameMk id="15" creationId="{67E9EC60-DAB3-6ED9-E183-C5D51CB3684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24.548" v="42936"/>
          <ac:graphicFrameMkLst>
            <pc:docMk/>
            <pc:sldMk cId="2850138378" sldId="470"/>
            <ac:graphicFrameMk id="17" creationId="{AC82769D-C488-703F-E076-A2825C02301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41.528" v="43133"/>
          <ac:graphicFrameMkLst>
            <pc:docMk/>
            <pc:sldMk cId="2850138378" sldId="470"/>
            <ac:graphicFrameMk id="19" creationId="{6C1CAB09-20B1-EBA5-CBA2-F0A371292FB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44.937" v="43332"/>
          <ac:graphicFrameMkLst>
            <pc:docMk/>
            <pc:sldMk cId="2850138378" sldId="470"/>
            <ac:graphicFrameMk id="21" creationId="{FFCA2487-66C8-FC14-237F-3644C33F39B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48.996" v="43529"/>
          <ac:graphicFrameMkLst>
            <pc:docMk/>
            <pc:sldMk cId="2850138378" sldId="470"/>
            <ac:graphicFrameMk id="23" creationId="{137A02FC-8123-FE76-F888-CDC1FFCA0CE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8:54.710" v="43728"/>
          <ac:graphicFrameMkLst>
            <pc:docMk/>
            <pc:sldMk cId="2850138378" sldId="470"/>
            <ac:graphicFrameMk id="26" creationId="{C255B8D6-E421-18F4-2DE5-F3FA7D8F26F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01.662" v="43925"/>
          <ac:graphicFrameMkLst>
            <pc:docMk/>
            <pc:sldMk cId="2850138378" sldId="470"/>
            <ac:graphicFrameMk id="32" creationId="{68EB56F1-38CD-83EA-B2AA-EDE5E4A21B9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07.238" v="44120"/>
          <ac:graphicFrameMkLst>
            <pc:docMk/>
            <pc:sldMk cId="2850138378" sldId="470"/>
            <ac:graphicFrameMk id="34" creationId="{3F0CE369-C9F1-04FD-4E44-2581AB4CD1E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19.463" v="44286"/>
          <ac:graphicFrameMkLst>
            <pc:docMk/>
            <pc:sldMk cId="2850138378" sldId="470"/>
            <ac:graphicFrameMk id="36" creationId="{4B909701-8BC7-4E92-F596-AB3CEF3BF135}"/>
          </ac:graphicFrameMkLst>
        </pc:graphicFrameChg>
        <pc:graphicFrameChg chg="del">
          <ac:chgData name="Muchahary, Frankle" userId="0f2bf491-0617-4378-90b8-89af8fa381b9" providerId="ADAL" clId="{8E3D5D9D-CC05-4C7B-9A9C-2FFB7784C389}" dt="2024-02-06T04:17:51.760" v="4878"/>
          <ac:graphicFrameMkLst>
            <pc:docMk/>
            <pc:sldMk cId="2850138378" sldId="470"/>
            <ac:graphicFrameMk id="36" creationId="{53333231-8FA8-B222-94FB-91FC15CC8EB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26.137" v="44451"/>
          <ac:graphicFrameMkLst>
            <pc:docMk/>
            <pc:sldMk cId="2850138378" sldId="470"/>
            <ac:graphicFrameMk id="38" creationId="{F6D3A82C-0750-D743-439F-64706718B69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28.783" v="44634"/>
          <ac:graphicFrameMkLst>
            <pc:docMk/>
            <pc:sldMk cId="2850138378" sldId="470"/>
            <ac:graphicFrameMk id="40" creationId="{F7A05083-9949-7A86-3E42-F0A3172008B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51.840" v="44797"/>
          <ac:graphicFrameMkLst>
            <pc:docMk/>
            <pc:sldMk cId="2850138378" sldId="470"/>
            <ac:graphicFrameMk id="42" creationId="{ECA8B135-5EE6-ABBA-D15F-E2919C223AF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59:59.887" v="44964"/>
          <ac:graphicFrameMkLst>
            <pc:docMk/>
            <pc:sldMk cId="2850138378" sldId="470"/>
            <ac:graphicFrameMk id="44" creationId="{AEA3F491-C03C-E659-65BF-E6B1F22872D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03.297" v="45131"/>
          <ac:graphicFrameMkLst>
            <pc:docMk/>
            <pc:sldMk cId="2850138378" sldId="470"/>
            <ac:graphicFrameMk id="47" creationId="{33ADCE84-0034-CFC1-CB25-BA78D3B0910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08.491" v="45298"/>
          <ac:graphicFrameMkLst>
            <pc:docMk/>
            <pc:sldMk cId="2850138378" sldId="470"/>
            <ac:graphicFrameMk id="51" creationId="{44BB8A8C-225A-C547-EACD-80E86203FEA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15.151" v="45465"/>
          <ac:graphicFrameMkLst>
            <pc:docMk/>
            <pc:sldMk cId="2850138378" sldId="470"/>
            <ac:graphicFrameMk id="54" creationId="{EC06B01F-6AA3-49CB-6C70-1C5B7D3BB89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20.467" v="45632"/>
          <ac:graphicFrameMkLst>
            <pc:docMk/>
            <pc:sldMk cId="2850138378" sldId="470"/>
            <ac:graphicFrameMk id="56" creationId="{5E72BFD9-2796-53BC-69BC-6C28A43524B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28.417" v="45817"/>
          <ac:graphicFrameMkLst>
            <pc:docMk/>
            <pc:sldMk cId="2850138378" sldId="470"/>
            <ac:graphicFrameMk id="58" creationId="{D56003F7-DAD1-3A94-9E96-1F493A1BAE3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46.307" v="45983"/>
          <ac:graphicFrameMkLst>
            <pc:docMk/>
            <pc:sldMk cId="2850138378" sldId="470"/>
            <ac:graphicFrameMk id="60" creationId="{6A265834-A5A5-FB84-AA71-170D9286811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51.852" v="46149"/>
          <ac:graphicFrameMkLst>
            <pc:docMk/>
            <pc:sldMk cId="2850138378" sldId="470"/>
            <ac:graphicFrameMk id="62" creationId="{902DAB94-F37C-A0DC-C342-A2FA44AEB20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58.152" v="13698"/>
          <ac:graphicFrameMkLst>
            <pc:docMk/>
            <pc:sldMk cId="2850138378" sldId="470"/>
            <ac:graphicFrameMk id="512" creationId="{CF0FE6C2-E91B-ABCE-A61F-B56AE179B5F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59.968" v="14042"/>
          <ac:graphicFrameMkLst>
            <pc:docMk/>
            <pc:sldMk cId="2850138378" sldId="470"/>
            <ac:graphicFrameMk id="514" creationId="{48667058-308D-C7F5-2867-7C06D2CF4462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6T04:22:00.002" v="14064"/>
          <ac:graphicFrameMkLst>
            <pc:docMk/>
            <pc:sldMk cId="2850138378" sldId="470"/>
            <ac:graphicFrameMk id="516" creationId="{6214420E-37EF-D578-2445-22171D52D59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21.865" v="14894"/>
          <ac:graphicFrameMkLst>
            <pc:docMk/>
            <pc:sldMk cId="2850138378" sldId="470"/>
            <ac:graphicFrameMk id="533" creationId="{F8DBEACB-F5BD-359D-5D3B-BB6A400ED24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36.545" v="15267"/>
          <ac:graphicFrameMkLst>
            <pc:docMk/>
            <pc:sldMk cId="2850138378" sldId="470"/>
            <ac:graphicFrameMk id="535" creationId="{8613354C-F602-FC4B-98EA-7AC0A5722FF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40.519" v="15474"/>
          <ac:graphicFrameMkLst>
            <pc:docMk/>
            <pc:sldMk cId="2850138378" sldId="470"/>
            <ac:graphicFrameMk id="539" creationId="{4F4A1783-330B-4BFD-9CF9-B196A403836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46.987" v="15661"/>
          <ac:graphicFrameMkLst>
            <pc:docMk/>
            <pc:sldMk cId="2850138378" sldId="470"/>
            <ac:graphicFrameMk id="544" creationId="{C1506AFC-3E5B-DC05-8A90-FE0284FE792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50.026" v="15843"/>
          <ac:graphicFrameMkLst>
            <pc:docMk/>
            <pc:sldMk cId="2850138378" sldId="470"/>
            <ac:graphicFrameMk id="546" creationId="{8C7C5C08-0024-BD3B-EE5E-917465F1F80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3:05.304" v="16472"/>
          <ac:graphicFrameMkLst>
            <pc:docMk/>
            <pc:sldMk cId="2850138378" sldId="470"/>
            <ac:graphicFrameMk id="548" creationId="{28B2D9E3-8208-7141-BC16-C64A32FD76E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4:09.242" v="16919"/>
          <ac:graphicFrameMkLst>
            <pc:docMk/>
            <pc:sldMk cId="2850138378" sldId="470"/>
            <ac:graphicFrameMk id="564" creationId="{E05AE6CE-4711-69A3-6965-F1A0E1B3069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4:20.969" v="17085"/>
          <ac:graphicFrameMkLst>
            <pc:docMk/>
            <pc:sldMk cId="2850138378" sldId="470"/>
            <ac:graphicFrameMk id="571" creationId="{0B75D733-9499-E4F6-ABF3-A0CE600E0C6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6:56.315" v="17557"/>
          <ac:graphicFrameMkLst>
            <pc:docMk/>
            <pc:sldMk cId="2850138378" sldId="470"/>
            <ac:graphicFrameMk id="573" creationId="{0614D04B-AF76-2FF3-91AB-C1F3B99F6D9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7:18.823" v="17721"/>
          <ac:graphicFrameMkLst>
            <pc:docMk/>
            <pc:sldMk cId="2850138378" sldId="470"/>
            <ac:graphicFrameMk id="575" creationId="{4CFCD858-CEDD-D002-3B7C-C1107E0CAF4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0:59.069" v="46315"/>
          <ac:graphicFrameMkLst>
            <pc:docMk/>
            <pc:sldMk cId="2850138378" sldId="470"/>
            <ac:graphicFrameMk id="896" creationId="{E4DCB793-BD7C-9D41-ADDC-0A166AA01B2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06.937" v="46481"/>
          <ac:graphicFrameMkLst>
            <pc:docMk/>
            <pc:sldMk cId="2850138378" sldId="470"/>
            <ac:graphicFrameMk id="898" creationId="{857A9548-0D0E-566D-4C0B-BCF2691B92E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12.842" v="46646"/>
          <ac:graphicFrameMkLst>
            <pc:docMk/>
            <pc:sldMk cId="2850138378" sldId="470"/>
            <ac:graphicFrameMk id="900" creationId="{A1911428-5677-D77D-D7F6-BD4F076C71E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13.582" v="46809"/>
          <ac:graphicFrameMkLst>
            <pc:docMk/>
            <pc:sldMk cId="2850138378" sldId="470"/>
            <ac:graphicFrameMk id="902" creationId="{415CBA6E-97E8-7084-2D10-E72D3DFB0FF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05.304" v="5086"/>
          <ac:graphicFrameMkLst>
            <pc:docMk/>
            <pc:sldMk cId="2850138378" sldId="470"/>
            <ac:graphicFrameMk id="902" creationId="{F78A51B9-41EF-F123-031C-911E438C659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06.417" v="5294"/>
          <ac:graphicFrameMkLst>
            <pc:docMk/>
            <pc:sldMk cId="2850138378" sldId="470"/>
            <ac:graphicFrameMk id="905" creationId="{CD6FA22B-C8B3-6F26-B181-A8F6B988F14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17.154" v="46972"/>
          <ac:graphicFrameMkLst>
            <pc:docMk/>
            <pc:sldMk cId="2850138378" sldId="470"/>
            <ac:graphicFrameMk id="905" creationId="{F5EC5F43-3131-EEDB-2DE8-F156396B5AA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15.834" v="5534"/>
          <ac:graphicFrameMkLst>
            <pc:docMk/>
            <pc:sldMk cId="2850138378" sldId="470"/>
            <ac:graphicFrameMk id="908" creationId="{2423A52D-4A4B-0907-9330-C090E764C6D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22.125" v="47139"/>
          <ac:graphicFrameMkLst>
            <pc:docMk/>
            <pc:sldMk cId="2850138378" sldId="470"/>
            <ac:graphicFrameMk id="908" creationId="{510C2D4A-7223-5DA2-AFFE-5FD68D95DB5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25.566" v="47307"/>
          <ac:graphicFrameMkLst>
            <pc:docMk/>
            <pc:sldMk cId="2850138378" sldId="470"/>
            <ac:graphicFrameMk id="910" creationId="{009317D5-9875-95A7-348E-C79E46E0FA8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23.752" v="5775"/>
          <ac:graphicFrameMkLst>
            <pc:docMk/>
            <pc:sldMk cId="2850138378" sldId="470"/>
            <ac:graphicFrameMk id="910" creationId="{F20E9B0D-63CC-FB81-F840-E6C8A6C9CC2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01:26.859" v="47490"/>
          <ac:graphicFrameMkLst>
            <pc:docMk/>
            <pc:sldMk cId="2850138378" sldId="470"/>
            <ac:graphicFrameMk id="912" creationId="{1E678E7C-B7D3-FD93-17B1-47CA4E07721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26.563" v="6043"/>
          <ac:graphicFrameMkLst>
            <pc:docMk/>
            <pc:sldMk cId="2850138378" sldId="470"/>
            <ac:graphicFrameMk id="914" creationId="{B4436927-20B2-6D54-EF85-EB5CCA1CBCFB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1:01:26.890" v="47514"/>
          <ac:graphicFrameMkLst>
            <pc:docMk/>
            <pc:sldMk cId="2850138378" sldId="470"/>
            <ac:graphicFrameMk id="914" creationId="{F7AECCF9-E3DF-4520-99A9-0CDDF195FA1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28.080" v="6311"/>
          <ac:graphicFrameMkLst>
            <pc:docMk/>
            <pc:sldMk cId="2850138378" sldId="470"/>
            <ac:graphicFrameMk id="916" creationId="{2BFD6F16-4C5E-520E-E4C4-241B6A8A505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29.251" v="6586"/>
          <ac:graphicFrameMkLst>
            <pc:docMk/>
            <pc:sldMk cId="2850138378" sldId="470"/>
            <ac:graphicFrameMk id="918" creationId="{27675CC7-8344-5040-FEE3-2BEDE6E2F9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36.460" v="7555"/>
          <ac:graphicFrameMkLst>
            <pc:docMk/>
            <pc:sldMk cId="2850138378" sldId="470"/>
            <ac:graphicFrameMk id="920" creationId="{523F2CA7-1920-05EF-8F54-ED79DB6D6D8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45.138" v="7772"/>
          <ac:graphicFrameMkLst>
            <pc:docMk/>
            <pc:sldMk cId="2850138378" sldId="470"/>
            <ac:graphicFrameMk id="938" creationId="{310A8D83-7B3C-C4D3-7E46-2EF38616673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8:56.237" v="7989"/>
          <ac:graphicFrameMkLst>
            <pc:docMk/>
            <pc:sldMk cId="2850138378" sldId="470"/>
            <ac:graphicFrameMk id="940" creationId="{330D7823-5B2F-C189-FEFF-2C4E6058615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9:01.802" v="8206"/>
          <ac:graphicFrameMkLst>
            <pc:docMk/>
            <pc:sldMk cId="2850138378" sldId="470"/>
            <ac:graphicFrameMk id="942" creationId="{5ADBA977-FD4E-EBD3-A4A6-C072CD9B9BE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9:09.092" v="8423"/>
          <ac:graphicFrameMkLst>
            <pc:docMk/>
            <pc:sldMk cId="2850138378" sldId="470"/>
            <ac:graphicFrameMk id="944" creationId="{B15EDF63-D58E-7640-6A0A-0E34E0225BC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9:35.238" v="8640"/>
          <ac:graphicFrameMkLst>
            <pc:docMk/>
            <pc:sldMk cId="2850138378" sldId="470"/>
            <ac:graphicFrameMk id="946" creationId="{91E47544-51F1-C099-C424-EDB7E6C631E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19:40.496" v="8857"/>
          <ac:graphicFrameMkLst>
            <pc:docMk/>
            <pc:sldMk cId="2850138378" sldId="470"/>
            <ac:graphicFrameMk id="948" creationId="{238F5DDC-3FB0-0223-1909-AE027309877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08.767" v="9074"/>
          <ac:graphicFrameMkLst>
            <pc:docMk/>
            <pc:sldMk cId="2850138378" sldId="470"/>
            <ac:graphicFrameMk id="950" creationId="{CEBFC152-54F0-DC79-AE22-E8C1F38368E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26.833" v="9296"/>
          <ac:graphicFrameMkLst>
            <pc:docMk/>
            <pc:sldMk cId="2850138378" sldId="470"/>
            <ac:graphicFrameMk id="952" creationId="{FFA5673A-7163-1C0A-53D4-E00335F2F8F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38.414" v="9513"/>
          <ac:graphicFrameMkLst>
            <pc:docMk/>
            <pc:sldMk cId="2850138378" sldId="470"/>
            <ac:graphicFrameMk id="954" creationId="{F041934D-2607-810D-1B47-0A5A57F4908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42.508" v="9728"/>
          <ac:graphicFrameMkLst>
            <pc:docMk/>
            <pc:sldMk cId="2850138378" sldId="470"/>
            <ac:graphicFrameMk id="956" creationId="{81507DBB-95E7-6E7C-2577-9C41A55806D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48.570" v="10269"/>
          <ac:graphicFrameMkLst>
            <pc:docMk/>
            <pc:sldMk cId="2850138378" sldId="470"/>
            <ac:graphicFrameMk id="958" creationId="{E72AA3E7-BF1A-E5EE-5EE2-E48C32FB6EA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51.958" v="10562"/>
          <ac:graphicFrameMkLst>
            <pc:docMk/>
            <pc:sldMk cId="2850138378" sldId="470"/>
            <ac:graphicFrameMk id="970" creationId="{E0B9D45F-C0B8-839F-101D-A703B88D731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0:57.553" v="11281"/>
          <ac:graphicFrameMkLst>
            <pc:docMk/>
            <pc:sldMk cId="2850138378" sldId="470"/>
            <ac:graphicFrameMk id="976" creationId="{C1659E0B-9474-F1BF-A452-23E5B2B3E43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02.908" v="11765"/>
          <ac:graphicFrameMkLst>
            <pc:docMk/>
            <pc:sldMk cId="2850138378" sldId="470"/>
            <ac:graphicFrameMk id="991" creationId="{B87857CE-DC0E-FEBA-EE97-B5F375B9FD8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07.276" v="12253"/>
          <ac:graphicFrameMkLst>
            <pc:docMk/>
            <pc:sldMk cId="2850138378" sldId="470"/>
            <ac:graphicFrameMk id="1000" creationId="{2C348398-9A48-64FA-6F09-87CFE185851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14.863" v="12425"/>
          <ac:graphicFrameMkLst>
            <pc:docMk/>
            <pc:sldMk cId="2850138378" sldId="470"/>
            <ac:graphicFrameMk id="1011" creationId="{11C552AF-65B4-1FBE-EEAF-11830399D9E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16.035" v="12663"/>
          <ac:graphicFrameMkLst>
            <pc:docMk/>
            <pc:sldMk cId="2850138378" sldId="470"/>
            <ac:graphicFrameMk id="1013" creationId="{7BE2458B-1902-B5F1-B640-2A6B66A8025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18.264" v="12838"/>
          <ac:graphicFrameMkLst>
            <pc:docMk/>
            <pc:sldMk cId="2850138378" sldId="470"/>
            <ac:graphicFrameMk id="1016" creationId="{7D9FEBCD-ABD6-48AC-BC91-834C47F0CFE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25.753" v="13010"/>
          <ac:graphicFrameMkLst>
            <pc:docMk/>
            <pc:sldMk cId="2850138378" sldId="470"/>
            <ac:graphicFrameMk id="1018" creationId="{1E9E8FD3-489A-3C0E-BB46-4933ED23022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1:40.426" v="13182"/>
          <ac:graphicFrameMkLst>
            <pc:docMk/>
            <pc:sldMk cId="2850138378" sldId="470"/>
            <ac:graphicFrameMk id="1020" creationId="{7275D56D-3887-5EC3-DE63-CD7C83764AD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2:15.583" v="14722"/>
          <ac:graphicFrameMkLst>
            <pc:docMk/>
            <pc:sldMk cId="2850138378" sldId="470"/>
            <ac:graphicFrameMk id="1022" creationId="{84900D31-7E6B-E732-6591-7D9F1985CB0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7:29.705" v="18974"/>
          <ac:graphicFrameMkLst>
            <pc:docMk/>
            <pc:sldMk cId="2850138378" sldId="470"/>
            <ac:graphicFrameMk id="1601" creationId="{ABA96CF4-DA03-BFCD-DAF6-8118CDCD3A22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6T04:27:22.280" v="18473"/>
          <ac:graphicFrameMkLst>
            <pc:docMk/>
            <pc:sldMk cId="2850138378" sldId="470"/>
            <ac:graphicFrameMk id="1603" creationId="{E1A2E7C8-CE4F-0AD2-1793-EA318A0C0D8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7:46.606" v="19446"/>
          <ac:graphicFrameMkLst>
            <pc:docMk/>
            <pc:sldMk cId="2850138378" sldId="470"/>
            <ac:graphicFrameMk id="1614" creationId="{7CCC075D-5FBC-049A-FC85-4672A22D9C7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6T04:27:51.940" v="19764"/>
          <ac:graphicFrameMkLst>
            <pc:docMk/>
            <pc:sldMk cId="2850138378" sldId="470"/>
            <ac:graphicFrameMk id="1616" creationId="{50E103C9-1A62-28EB-C6B0-523273EEF37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0:02:35.644" v="41281"/>
          <ac:graphicFrameMkLst>
            <pc:docMk/>
            <pc:sldMk cId="2850138378" sldId="470"/>
            <ac:graphicFrameMk id="1618" creationId="{46CCC71A-4235-FC59-45D2-562DC61F2321}"/>
          </ac:graphicFrameMkLst>
        </pc:graphicFrameChg>
        <pc:cxnChg chg="mod ord">
          <ac:chgData name="Muchahary, Frankle" userId="0f2bf491-0617-4378-90b8-89af8fa381b9" providerId="ADAL" clId="{8E3D5D9D-CC05-4C7B-9A9C-2FFB7784C389}" dt="2024-02-08T01:01:26.875" v="47498"/>
          <ac:cxnSpMkLst>
            <pc:docMk/>
            <pc:sldMk cId="2850138378" sldId="470"/>
            <ac:cxnSpMk id="29" creationId="{8C2BCF11-D242-D17C-FB19-6307639C224D}"/>
          </ac:cxnSpMkLst>
        </pc:cxnChg>
        <pc:cxnChg chg="mod ord">
          <ac:chgData name="Muchahary, Frankle" userId="0f2bf491-0617-4378-90b8-89af8fa381b9" providerId="ADAL" clId="{8E3D5D9D-CC05-4C7B-9A9C-2FFB7784C389}" dt="2024-02-08T01:01:26.890" v="47508"/>
          <ac:cxnSpMkLst>
            <pc:docMk/>
            <pc:sldMk cId="2850138378" sldId="470"/>
            <ac:cxnSpMk id="30" creationId="{D1388170-A338-D753-A614-7EF6D1A794B0}"/>
          </ac:cxnSpMkLst>
        </pc:cxnChg>
        <pc:cxnChg chg="mod ord">
          <ac:chgData name="Muchahary, Frankle" userId="0f2bf491-0617-4378-90b8-89af8fa381b9" providerId="ADAL" clId="{8E3D5D9D-CC05-4C7B-9A9C-2FFB7784C389}" dt="2024-02-08T01:01:26.875" v="47506"/>
          <ac:cxnSpMkLst>
            <pc:docMk/>
            <pc:sldMk cId="2850138378" sldId="470"/>
            <ac:cxnSpMk id="48" creationId="{40D6DF54-500E-88E5-3114-4F819242EF34}"/>
          </ac:cxnSpMkLst>
        </pc:cxnChg>
        <pc:cxnChg chg="mod ord">
          <ac:chgData name="Muchahary, Frankle" userId="0f2bf491-0617-4378-90b8-89af8fa381b9" providerId="ADAL" clId="{8E3D5D9D-CC05-4C7B-9A9C-2FFB7784C389}" dt="2024-02-08T01:01:26.875" v="47504"/>
          <ac:cxnSpMkLst>
            <pc:docMk/>
            <pc:sldMk cId="2850138378" sldId="470"/>
            <ac:cxnSpMk id="53" creationId="{E42B1AD4-3A5F-3E7B-8DE6-24E57A05C273}"/>
          </ac:cxnSpMkLst>
        </pc:cxnChg>
        <pc:cxnChg chg="del mod ord">
          <ac:chgData name="Muchahary, Frankle" userId="0f2bf491-0617-4378-90b8-89af8fa381b9" providerId="ADAL" clId="{8E3D5D9D-CC05-4C7B-9A9C-2FFB7784C389}" dt="2024-02-06T04:18:35.260" v="6735"/>
          <ac:cxnSpMkLst>
            <pc:docMk/>
            <pc:sldMk cId="2850138378" sldId="470"/>
            <ac:cxnSpMk id="58" creationId="{31E1BD6E-E86E-7F3F-A19F-FCAE9A3604FA}"/>
          </ac:cxnSpMkLst>
        </pc:cxnChg>
        <pc:cxnChg chg="mod ord">
          <ac:chgData name="Muchahary, Frankle" userId="0f2bf491-0617-4378-90b8-89af8fa381b9" providerId="ADAL" clId="{8E3D5D9D-CC05-4C7B-9A9C-2FFB7784C389}" dt="2024-02-08T01:01:26.890" v="47510"/>
          <ac:cxnSpMkLst>
            <pc:docMk/>
            <pc:sldMk cId="2850138378" sldId="470"/>
            <ac:cxnSpMk id="388" creationId="{08E9E9B9-492C-D772-24B4-099D3F570CAD}"/>
          </ac:cxnSpMkLst>
        </pc:cxnChg>
        <pc:cxnChg chg="mod ord">
          <ac:chgData name="Muchahary, Frankle" userId="0f2bf491-0617-4378-90b8-89af8fa381b9" providerId="ADAL" clId="{8E3D5D9D-CC05-4C7B-9A9C-2FFB7784C389}" dt="2024-02-08T01:01:26.875" v="47500"/>
          <ac:cxnSpMkLst>
            <pc:docMk/>
            <pc:sldMk cId="2850138378" sldId="470"/>
            <ac:cxnSpMk id="409" creationId="{28FCD5F8-DF1E-F919-7B64-71922110F075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22"/>
          <ac:cxnSpMkLst>
            <pc:docMk/>
            <pc:sldMk cId="2850138378" sldId="470"/>
            <ac:cxnSpMk id="538" creationId="{C7D1E103-477C-AB64-1C3C-A58EF8BB000B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0" v="47512"/>
          <ac:cxnSpMkLst>
            <pc:docMk/>
            <pc:sldMk cId="2850138378" sldId="470"/>
            <ac:cxnSpMk id="543" creationId="{2808A4B3-A00A-31F7-6A8C-EA544B262EB8}"/>
          </ac:cxnSpMkLst>
        </pc:cxnChg>
        <pc:cxnChg chg="add del mod ord replST">
          <ac:chgData name="Muchahary, Frankle" userId="0f2bf491-0617-4378-90b8-89af8fa381b9" providerId="ADAL" clId="{8E3D5D9D-CC05-4C7B-9A9C-2FFB7784C389}" dt="2024-02-06T04:24:08.925" v="16655"/>
          <ac:cxnSpMkLst>
            <pc:docMk/>
            <pc:sldMk cId="2850138378" sldId="470"/>
            <ac:cxnSpMk id="560" creationId="{C20690EA-5899-9665-32F1-BA6F866958BC}"/>
          </ac:cxnSpMkLst>
        </pc:cxnChg>
        <pc:cxnChg chg="add del mod ord replST">
          <ac:chgData name="Muchahary, Frankle" userId="0f2bf491-0617-4378-90b8-89af8fa381b9" providerId="ADAL" clId="{8E3D5D9D-CC05-4C7B-9A9C-2FFB7784C389}" dt="2024-02-06T04:24:08.923" v="16652"/>
          <ac:cxnSpMkLst>
            <pc:docMk/>
            <pc:sldMk cId="2850138378" sldId="470"/>
            <ac:cxnSpMk id="561" creationId="{4519CCD5-1508-2514-6BAE-1D7D5E01DBA2}"/>
          </ac:cxnSpMkLst>
        </pc:cxnChg>
        <pc:cxnChg chg="add del mod ord replST">
          <ac:chgData name="Muchahary, Frankle" userId="0f2bf491-0617-4378-90b8-89af8fa381b9" providerId="ADAL" clId="{8E3D5D9D-CC05-4C7B-9A9C-2FFB7784C389}" dt="2024-02-06T04:24:08.921" v="16649"/>
          <ac:cxnSpMkLst>
            <pc:docMk/>
            <pc:sldMk cId="2850138378" sldId="470"/>
            <ac:cxnSpMk id="563" creationId="{12D698D1-C48C-25CF-88BB-8BF763FD510B}"/>
          </ac:cxnSpMkLst>
        </pc:cxnChg>
        <pc:cxnChg chg="del mod ord">
          <ac:chgData name="Muchahary, Frankle" userId="0f2bf491-0617-4378-90b8-89af8fa381b9" providerId="ADAL" clId="{8E3D5D9D-CC05-4C7B-9A9C-2FFB7784C389}" dt="2024-02-06T04:18:35.257" v="6731"/>
          <ac:cxnSpMkLst>
            <pc:docMk/>
            <pc:sldMk cId="2850138378" sldId="470"/>
            <ac:cxnSpMk id="707" creationId="{7A387472-8D6E-1520-BB02-2344E2F1BE65}"/>
          </ac:cxnSpMkLst>
        </pc:cxnChg>
        <pc:cxnChg chg="del mod ord">
          <ac:chgData name="Muchahary, Frankle" userId="0f2bf491-0617-4378-90b8-89af8fa381b9" providerId="ADAL" clId="{8E3D5D9D-CC05-4C7B-9A9C-2FFB7784C389}" dt="2024-02-06T04:18:35.257" v="6729"/>
          <ac:cxnSpMkLst>
            <pc:docMk/>
            <pc:sldMk cId="2850138378" sldId="470"/>
            <ac:cxnSpMk id="708" creationId="{F179AC10-ECAD-5D44-3A2A-352CB462CFCC}"/>
          </ac:cxnSpMkLst>
        </pc:cxnChg>
        <pc:cxnChg chg="del mod ord">
          <ac:chgData name="Muchahary, Frankle" userId="0f2bf491-0617-4378-90b8-89af8fa381b9" providerId="ADAL" clId="{8E3D5D9D-CC05-4C7B-9A9C-2FFB7784C389}" dt="2024-02-06T04:18:35.255" v="6727"/>
          <ac:cxnSpMkLst>
            <pc:docMk/>
            <pc:sldMk cId="2850138378" sldId="470"/>
            <ac:cxnSpMk id="709" creationId="{BC646A9B-479A-3486-4239-C5EA931471F8}"/>
          </ac:cxnSpMkLst>
        </pc:cxnChg>
        <pc:cxnChg chg="mod ord">
          <ac:chgData name="Muchahary, Frankle" userId="0f2bf491-0617-4378-90b8-89af8fa381b9" providerId="ADAL" clId="{8E3D5D9D-CC05-4C7B-9A9C-2FFB7784C389}" dt="2024-02-08T01:01:26.890" v="47518"/>
          <ac:cxnSpMkLst>
            <pc:docMk/>
            <pc:sldMk cId="2850138378" sldId="470"/>
            <ac:cxnSpMk id="879" creationId="{CFD5AB67-2E02-A502-3C8D-C701F6340A52}"/>
          </ac:cxnSpMkLst>
        </pc:cxnChg>
        <pc:cxnChg chg="mod ord">
          <ac:chgData name="Muchahary, Frankle" userId="0f2bf491-0617-4378-90b8-89af8fa381b9" providerId="ADAL" clId="{8E3D5D9D-CC05-4C7B-9A9C-2FFB7784C389}" dt="2024-02-08T01:01:26.875" v="47502"/>
          <ac:cxnSpMkLst>
            <pc:docMk/>
            <pc:sldMk cId="2850138378" sldId="470"/>
            <ac:cxnSpMk id="904" creationId="{7A8BE08F-AA53-D245-D5C9-1EC9D14CAE66}"/>
          </ac:cxnSpMkLst>
        </pc:cxnChg>
        <pc:cxnChg chg="del mod ord">
          <ac:chgData name="Muchahary, Frankle" userId="0f2bf491-0617-4378-90b8-89af8fa381b9" providerId="ADAL" clId="{8E3D5D9D-CC05-4C7B-9A9C-2FFB7784C389}" dt="2024-02-06T04:20:48.098" v="9893"/>
          <ac:cxnSpMkLst>
            <pc:docMk/>
            <pc:sldMk cId="2850138378" sldId="470"/>
            <ac:cxnSpMk id="912" creationId="{DC40977E-DDD9-F127-4219-A99BC7D1A399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56.419" v="10720"/>
          <ac:cxnSpMkLst>
            <pc:docMk/>
            <pc:sldMk cId="2850138378" sldId="470"/>
            <ac:cxnSpMk id="930" creationId="{76B0F434-4131-4E72-AF89-CD94DADFAA69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0" v="47516"/>
          <ac:cxnSpMkLst>
            <pc:docMk/>
            <pc:sldMk cId="2850138378" sldId="470"/>
            <ac:cxnSpMk id="931" creationId="{50278EA1-95FA-0195-393A-AD8349A3089F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30"/>
          <ac:cxnSpMkLst>
            <pc:docMk/>
            <pc:sldMk cId="2850138378" sldId="470"/>
            <ac:cxnSpMk id="932" creationId="{049E0CB3-1541-8B72-291A-CC5E15DD1D29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56.416" v="10714"/>
          <ac:cxnSpMkLst>
            <pc:docMk/>
            <pc:sldMk cId="2850138378" sldId="470"/>
            <ac:cxnSpMk id="933" creationId="{4411D357-17C3-76B1-2975-39BE12700733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51.759" v="10416"/>
          <ac:cxnSpMkLst>
            <pc:docMk/>
            <pc:sldMk cId="2850138378" sldId="470"/>
            <ac:cxnSpMk id="934" creationId="{AD96CA2B-C8AA-877C-8597-27F81AAD6C3C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48.102" v="9902"/>
          <ac:cxnSpMkLst>
            <pc:docMk/>
            <pc:sldMk cId="2850138378" sldId="470"/>
            <ac:cxnSpMk id="935" creationId="{75C27647-A8A3-87E6-BA87-F6BE7916EAB2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48.099" v="9896"/>
          <ac:cxnSpMkLst>
            <pc:docMk/>
            <pc:sldMk cId="2850138378" sldId="470"/>
            <ac:cxnSpMk id="936" creationId="{8288D672-CCAD-F4DB-58D0-542CBB3DFC05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48.096" v="9890"/>
          <ac:cxnSpMkLst>
            <pc:docMk/>
            <pc:sldMk cId="2850138378" sldId="470"/>
            <ac:cxnSpMk id="937" creationId="{978B6C7E-F7F8-8A60-5ABA-05ED6A180A92}"/>
          </ac:cxnSpMkLst>
        </pc:cxnChg>
        <pc:cxnChg chg="mod ord">
          <ac:chgData name="Muchahary, Frankle" userId="0f2bf491-0617-4378-90b8-89af8fa381b9" providerId="ADAL" clId="{8E3D5D9D-CC05-4C7B-9A9C-2FFB7784C389}" dt="2024-02-08T01:01:26.897" v="47534"/>
          <ac:cxnSpMkLst>
            <pc:docMk/>
            <pc:sldMk cId="2850138378" sldId="470"/>
            <ac:cxnSpMk id="961" creationId="{E28E1CAC-6B95-1D0F-1592-2BD9C82674DF}"/>
          </ac:cxnSpMkLst>
        </pc:cxnChg>
        <pc:cxnChg chg="del mod ord">
          <ac:chgData name="Muchahary, Frankle" userId="0f2bf491-0617-4378-90b8-89af8fa381b9" providerId="ADAL" clId="{8E3D5D9D-CC05-4C7B-9A9C-2FFB7784C389}" dt="2024-02-06T04:20:56.418" v="10717"/>
          <ac:cxnSpMkLst>
            <pc:docMk/>
            <pc:sldMk cId="2850138378" sldId="470"/>
            <ac:cxnSpMk id="963" creationId="{0A4ED173-FDB6-B3EB-AD08-4C2AAB005CDE}"/>
          </ac:cxnSpMkLst>
        </pc:cxnChg>
        <pc:cxnChg chg="del mod ord">
          <ac:chgData name="Muchahary, Frankle" userId="0f2bf491-0617-4378-90b8-89af8fa381b9" providerId="ADAL" clId="{8E3D5D9D-CC05-4C7B-9A9C-2FFB7784C389}" dt="2024-02-06T04:20:56.415" v="10711"/>
          <ac:cxnSpMkLst>
            <pc:docMk/>
            <pc:sldMk cId="2850138378" sldId="470"/>
            <ac:cxnSpMk id="964" creationId="{058252DC-32FB-6732-61FA-3A2AAC862E03}"/>
          </ac:cxnSpMkLst>
        </pc:cxnChg>
        <pc:cxnChg chg="del mod ord">
          <ac:chgData name="Muchahary, Frankle" userId="0f2bf491-0617-4378-90b8-89af8fa381b9" providerId="ADAL" clId="{8E3D5D9D-CC05-4C7B-9A9C-2FFB7784C389}" dt="2024-02-06T04:20:48.103" v="9905"/>
          <ac:cxnSpMkLst>
            <pc:docMk/>
            <pc:sldMk cId="2850138378" sldId="470"/>
            <ac:cxnSpMk id="966" creationId="{0F498479-E1CB-F1A8-AE19-C92022B98D30}"/>
          </ac:cxnSpMkLst>
        </pc:cxnChg>
        <pc:cxnChg chg="add del mod ord replST">
          <ac:chgData name="Muchahary, Frankle" userId="0f2bf491-0617-4378-90b8-89af8fa381b9" providerId="ADAL" clId="{8E3D5D9D-CC05-4C7B-9A9C-2FFB7784C389}" dt="2024-02-06T04:21:02.500" v="11429"/>
          <ac:cxnSpMkLst>
            <pc:docMk/>
            <pc:sldMk cId="2850138378" sldId="470"/>
            <ac:cxnSpMk id="967" creationId="{D625E706-F7E4-F6D5-162D-11801596B298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28"/>
          <ac:cxnSpMkLst>
            <pc:docMk/>
            <pc:sldMk cId="2850138378" sldId="470"/>
            <ac:cxnSpMk id="968" creationId="{2C00C94C-794D-4830-AE53-0B498C7FA423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56.412" v="10705"/>
          <ac:cxnSpMkLst>
            <pc:docMk/>
            <pc:sldMk cId="2850138378" sldId="470"/>
            <ac:cxnSpMk id="969" creationId="{5440D489-E7A9-5228-F123-85DBF9C898FB}"/>
          </ac:cxnSpMkLst>
        </pc:cxnChg>
        <pc:cxnChg chg="del mod ord">
          <ac:chgData name="Muchahary, Frankle" userId="0f2bf491-0617-4378-90b8-89af8fa381b9" providerId="ADAL" clId="{8E3D5D9D-CC05-4C7B-9A9C-2FFB7784C389}" dt="2024-02-06T04:20:48.094" v="9887"/>
          <ac:cxnSpMkLst>
            <pc:docMk/>
            <pc:sldMk cId="2850138378" sldId="470"/>
            <ac:cxnSpMk id="971" creationId="{18AC197D-25C9-315E-57CB-BD9B3EBB1A82}"/>
          </ac:cxnSpMkLst>
        </pc:cxnChg>
        <pc:cxnChg chg="del mod ord">
          <ac:chgData name="Muchahary, Frankle" userId="0f2bf491-0617-4378-90b8-89af8fa381b9" providerId="ADAL" clId="{8E3D5D9D-CC05-4C7B-9A9C-2FFB7784C389}" dt="2024-02-06T04:18:35.367" v="6786"/>
          <ac:cxnSpMkLst>
            <pc:docMk/>
            <pc:sldMk cId="2850138378" sldId="470"/>
            <ac:cxnSpMk id="972" creationId="{55BC65F6-0C34-FB50-FFAC-E94BED844569}"/>
          </ac:cxnSpMkLst>
        </pc:cxnChg>
        <pc:cxnChg chg="add del mod ord replST">
          <ac:chgData name="Muchahary, Frankle" userId="0f2bf491-0617-4378-90b8-89af8fa381b9" providerId="ADAL" clId="{8E3D5D9D-CC05-4C7B-9A9C-2FFB7784C389}" dt="2024-02-06T04:20:56.414" v="10708"/>
          <ac:cxnSpMkLst>
            <pc:docMk/>
            <pc:sldMk cId="2850138378" sldId="470"/>
            <ac:cxnSpMk id="975" creationId="{3762AF23-275F-E03C-943D-146E767EDDCB}"/>
          </ac:cxnSpMkLst>
        </pc:cxnChg>
        <pc:cxnChg chg="add del mod ord replST">
          <ac:chgData name="Muchahary, Frankle" userId="0f2bf491-0617-4378-90b8-89af8fa381b9" providerId="ADAL" clId="{8E3D5D9D-CC05-4C7B-9A9C-2FFB7784C389}" dt="2024-02-06T04:22:36.317" v="15064"/>
          <ac:cxnSpMkLst>
            <pc:docMk/>
            <pc:sldMk cId="2850138378" sldId="470"/>
            <ac:cxnSpMk id="985" creationId="{A6CC5ECD-24CE-A706-76D7-1835282ABAEF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26"/>
          <ac:cxnSpMkLst>
            <pc:docMk/>
            <pc:sldMk cId="2850138378" sldId="470"/>
            <ac:cxnSpMk id="986" creationId="{39C43D41-8F41-74D3-99AA-9752C6D4F77C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32"/>
          <ac:cxnSpMkLst>
            <pc:docMk/>
            <pc:sldMk cId="2850138378" sldId="470"/>
            <ac:cxnSpMk id="987" creationId="{A84A01AC-335C-A2F3-F1C4-6BEB084A52AF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24"/>
          <ac:cxnSpMkLst>
            <pc:docMk/>
            <pc:sldMk cId="2850138378" sldId="470"/>
            <ac:cxnSpMk id="988" creationId="{E47655C8-5E85-0B43-FA7D-FB06228D69C0}"/>
          </ac:cxnSpMkLst>
        </pc:cxnChg>
        <pc:cxnChg chg="add mod ord replST">
          <ac:chgData name="Muchahary, Frankle" userId="0f2bf491-0617-4378-90b8-89af8fa381b9" providerId="ADAL" clId="{8E3D5D9D-CC05-4C7B-9A9C-2FFB7784C389}" dt="2024-02-08T01:01:26.897" v="47520"/>
          <ac:cxnSpMkLst>
            <pc:docMk/>
            <pc:sldMk cId="2850138378" sldId="470"/>
            <ac:cxnSpMk id="989" creationId="{E6467BE7-4D40-E18A-1B14-BB96EF21479C}"/>
          </ac:cxnSpMkLst>
        </pc:cxnChg>
        <pc:cxnChg chg="add del mod ord replST">
          <ac:chgData name="Muchahary, Frankle" userId="0f2bf491-0617-4378-90b8-89af8fa381b9" providerId="ADAL" clId="{8E3D5D9D-CC05-4C7B-9A9C-2FFB7784C389}" dt="2024-02-06T04:21:02.498" v="11426"/>
          <ac:cxnSpMkLst>
            <pc:docMk/>
            <pc:sldMk cId="2850138378" sldId="470"/>
            <ac:cxnSpMk id="990" creationId="{1FC15912-1557-DED3-D034-2633C4BBB9F4}"/>
          </ac:cxnSpMkLst>
        </pc:cxnChg>
        <pc:cxnChg chg="add del mod ord replST">
          <ac:chgData name="Muchahary, Frankle" userId="0f2bf491-0617-4378-90b8-89af8fa381b9" providerId="ADAL" clId="{8E3D5D9D-CC05-4C7B-9A9C-2FFB7784C389}" dt="2024-02-06T04:22:36.316" v="15061"/>
          <ac:cxnSpMkLst>
            <pc:docMk/>
            <pc:sldMk cId="2850138378" sldId="470"/>
            <ac:cxnSpMk id="998" creationId="{26B971C7-5CC8-2370-1CDA-FE5C903DDF84}"/>
          </ac:cxnSpMkLst>
        </pc:cxnChg>
        <pc:cxnChg chg="add del mod ord replST">
          <ac:chgData name="Muchahary, Frankle" userId="0f2bf491-0617-4378-90b8-89af8fa381b9" providerId="ADAL" clId="{8E3D5D9D-CC05-4C7B-9A9C-2FFB7784C389}" dt="2024-02-06T04:22:36.314" v="15058"/>
          <ac:cxnSpMkLst>
            <pc:docMk/>
            <pc:sldMk cId="2850138378" sldId="470"/>
            <ac:cxnSpMk id="999" creationId="{A172E735-658E-AF40-70A3-C0BFA305A477}"/>
          </ac:cxnSpMkLst>
        </pc:cxnChg>
        <pc:cxnChg chg="del mod ord">
          <ac:chgData name="Muchahary, Frankle" userId="0f2bf491-0617-4378-90b8-89af8fa381b9" providerId="ADAL" clId="{8E3D5D9D-CC05-4C7B-9A9C-2FFB7784C389}" dt="2024-02-06T04:20:48.101" v="9899"/>
          <ac:cxnSpMkLst>
            <pc:docMk/>
            <pc:sldMk cId="2850138378" sldId="470"/>
            <ac:cxnSpMk id="1664" creationId="{6EF47A6C-96E4-B118-E6F0-4E7FFDBD1134}"/>
          </ac:cxnSpMkLst>
        </pc:cxnChg>
        <pc:cxnChg chg="del mod ord">
          <ac:chgData name="Muchahary, Frankle" userId="0f2bf491-0617-4378-90b8-89af8fa381b9" providerId="ADAL" clId="{8E3D5D9D-CC05-4C7B-9A9C-2FFB7784C389}" dt="2024-02-06T04:18:35.365" v="6783"/>
          <ac:cxnSpMkLst>
            <pc:docMk/>
            <pc:sldMk cId="2850138378" sldId="470"/>
            <ac:cxnSpMk id="1670" creationId="{B0D2FECF-F345-0B31-6652-B0478E157AEF}"/>
          </ac:cxnSpMkLst>
        </pc:cxnChg>
        <pc:cxnChg chg="del mod ord">
          <ac:chgData name="Muchahary, Frankle" userId="0f2bf491-0617-4378-90b8-89af8fa381b9" providerId="ADAL" clId="{8E3D5D9D-CC05-4C7B-9A9C-2FFB7784C389}" dt="2024-02-06T04:18:35.369" v="6792"/>
          <ac:cxnSpMkLst>
            <pc:docMk/>
            <pc:sldMk cId="2850138378" sldId="470"/>
            <ac:cxnSpMk id="1675" creationId="{DDE2E8F4-E07C-77F5-19AE-5BAA393C8002}"/>
          </ac:cxnSpMkLst>
        </pc:cxnChg>
        <pc:cxnChg chg="del mod ord">
          <ac:chgData name="Muchahary, Frankle" userId="0f2bf491-0617-4378-90b8-89af8fa381b9" providerId="ADAL" clId="{8E3D5D9D-CC05-4C7B-9A9C-2FFB7784C389}" dt="2024-02-06T04:18:35.368" v="6789"/>
          <ac:cxnSpMkLst>
            <pc:docMk/>
            <pc:sldMk cId="2850138378" sldId="470"/>
            <ac:cxnSpMk id="1676" creationId="{741D4B59-859A-0E5D-A694-6C2E26C4BFBA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899210753" sldId="470"/>
        </pc:sldMkLst>
      </pc:sldChg>
      <pc:sldChg chg="add">
        <pc:chgData name="Muchahary, Frankle" userId="0f2bf491-0617-4378-90b8-89af8fa381b9" providerId="ADAL" clId="{8E3D5D9D-CC05-4C7B-9A9C-2FFB7784C389}" dt="2024-02-06T05:41:29.390" v="21266"/>
        <pc:sldMkLst>
          <pc:docMk/>
          <pc:sldMk cId="3174536960" sldId="471"/>
        </pc:sldMkLst>
      </pc:sldChg>
      <pc:sldChg chg="delSp modSp add mod ord">
        <pc:chgData name="Muchahary, Frankle" userId="0f2bf491-0617-4378-90b8-89af8fa381b9" providerId="ADAL" clId="{8E3D5D9D-CC05-4C7B-9A9C-2FFB7784C389}" dt="2024-02-08T04:21:35.289" v="62398" actId="20577"/>
        <pc:sldMkLst>
          <pc:docMk/>
          <pc:sldMk cId="3300591734" sldId="472"/>
        </pc:sldMkLst>
        <pc:spChg chg="mod">
          <ac:chgData name="Muchahary, Frankle" userId="0f2bf491-0617-4378-90b8-89af8fa381b9" providerId="ADAL" clId="{8E3D5D9D-CC05-4C7B-9A9C-2FFB7784C389}" dt="2024-02-08T04:21:35.289" v="62398" actId="20577"/>
          <ac:spMkLst>
            <pc:docMk/>
            <pc:sldMk cId="3300591734" sldId="472"/>
            <ac:spMk id="2" creationId="{D1FE8D14-E471-41C2-6D3E-CE8ACDA18FE6}"/>
          </ac:spMkLst>
        </pc:spChg>
        <pc:spChg chg="del">
          <ac:chgData name="Muchahary, Frankle" userId="0f2bf491-0617-4378-90b8-89af8fa381b9" providerId="ADAL" clId="{8E3D5D9D-CC05-4C7B-9A9C-2FFB7784C389}" dt="2024-02-07T02:26:11.917" v="21417" actId="478"/>
          <ac:spMkLst>
            <pc:docMk/>
            <pc:sldMk cId="3300591734" sldId="472"/>
            <ac:spMk id="54" creationId="{C6232961-3416-6293-6384-4AFF8DF4022B}"/>
          </ac:spMkLst>
        </pc:spChg>
        <pc:spChg chg="del">
          <ac:chgData name="Muchahary, Frankle" userId="0f2bf491-0617-4378-90b8-89af8fa381b9" providerId="ADAL" clId="{8E3D5D9D-CC05-4C7B-9A9C-2FFB7784C389}" dt="2024-02-07T02:26:11.917" v="21417" actId="478"/>
          <ac:spMkLst>
            <pc:docMk/>
            <pc:sldMk cId="3300591734" sldId="472"/>
            <ac:spMk id="55" creationId="{ED65ADFF-6861-8DEC-AF2F-C22B29912721}"/>
          </ac:spMkLst>
        </pc:spChg>
        <pc:spChg chg="del">
          <ac:chgData name="Muchahary, Frankle" userId="0f2bf491-0617-4378-90b8-89af8fa381b9" providerId="ADAL" clId="{8E3D5D9D-CC05-4C7B-9A9C-2FFB7784C389}" dt="2024-02-07T02:26:11.917" v="21417" actId="478"/>
          <ac:spMkLst>
            <pc:docMk/>
            <pc:sldMk cId="3300591734" sldId="472"/>
            <ac:spMk id="56" creationId="{79CEE6C5-AFDB-1AD6-C322-B13FDEA4E395}"/>
          </ac:spMkLst>
        </pc:spChg>
        <pc:spChg chg="del">
          <ac:chgData name="Muchahary, Frankle" userId="0f2bf491-0617-4378-90b8-89af8fa381b9" providerId="ADAL" clId="{8E3D5D9D-CC05-4C7B-9A9C-2FFB7784C389}" dt="2024-02-07T02:26:11.917" v="21417" actId="478"/>
          <ac:spMkLst>
            <pc:docMk/>
            <pc:sldMk cId="3300591734" sldId="472"/>
            <ac:spMk id="57" creationId="{2087800F-4391-812F-6AB8-78E63CC55BDF}"/>
          </ac:spMkLst>
        </pc:spChg>
        <pc:grpChg chg="del">
          <ac:chgData name="Muchahary, Frankle" userId="0f2bf491-0617-4378-90b8-89af8fa381b9" providerId="ADAL" clId="{8E3D5D9D-CC05-4C7B-9A9C-2FFB7784C389}" dt="2024-02-07T02:26:08.966" v="21416" actId="478"/>
          <ac:grpSpMkLst>
            <pc:docMk/>
            <pc:sldMk cId="3300591734" sldId="472"/>
            <ac:grpSpMk id="51" creationId="{1B3B8040-DFCA-F0DE-C8DA-B1C5DBB1DB42}"/>
          </ac:grpSpMkLst>
        </pc:grp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496700648" sldId="473"/>
        </pc:sldMkLst>
      </pc:sldChg>
      <pc:sldChg chg="addSp modSp add mod">
        <pc:chgData name="Muchahary, Frankle" userId="0f2bf491-0617-4378-90b8-89af8fa381b9" providerId="ADAL" clId="{8E3D5D9D-CC05-4C7B-9A9C-2FFB7784C389}" dt="2024-02-07T04:38:28.506" v="38724" actId="20577"/>
        <pc:sldMkLst>
          <pc:docMk/>
          <pc:sldMk cId="4265490173" sldId="473"/>
        </pc:sldMkLst>
        <pc:spChg chg="mod">
          <ac:chgData name="Muchahary, Frankle" userId="0f2bf491-0617-4378-90b8-89af8fa381b9" providerId="ADAL" clId="{8E3D5D9D-CC05-4C7B-9A9C-2FFB7784C389}" dt="2024-02-07T02:53:57.698" v="21568" actId="20577"/>
          <ac:spMkLst>
            <pc:docMk/>
            <pc:sldMk cId="4265490173" sldId="473"/>
            <ac:spMk id="2" creationId="{59AD72FD-D34B-7F51-B7AA-5F0F7829EB37}"/>
          </ac:spMkLst>
        </pc:spChg>
        <pc:spChg chg="mod">
          <ac:chgData name="Muchahary, Frankle" userId="0f2bf491-0617-4378-90b8-89af8fa381b9" providerId="ADAL" clId="{8E3D5D9D-CC05-4C7B-9A9C-2FFB7784C389}" dt="2024-02-07T02:26:33.173" v="21419"/>
          <ac:spMkLst>
            <pc:docMk/>
            <pc:sldMk cId="4265490173" sldId="473"/>
            <ac:spMk id="4" creationId="{EE6B6ED8-19CA-2636-D1D1-8C7BC8EAB6E2}"/>
          </ac:spMkLst>
        </pc:spChg>
        <pc:spChg chg="mod">
          <ac:chgData name="Muchahary, Frankle" userId="0f2bf491-0617-4378-90b8-89af8fa381b9" providerId="ADAL" clId="{8E3D5D9D-CC05-4C7B-9A9C-2FFB7784C389}" dt="2024-02-07T02:26:33.173" v="21419"/>
          <ac:spMkLst>
            <pc:docMk/>
            <pc:sldMk cId="4265490173" sldId="473"/>
            <ac:spMk id="5" creationId="{365F9796-0A6A-F398-0F0F-8DE06566717E}"/>
          </ac:spMkLst>
        </pc:spChg>
        <pc:spChg chg="mod">
          <ac:chgData name="Muchahary, Frankle" userId="0f2bf491-0617-4378-90b8-89af8fa381b9" providerId="ADAL" clId="{8E3D5D9D-CC05-4C7B-9A9C-2FFB7784C389}" dt="2024-02-07T02:26:33.173" v="21419"/>
          <ac:spMkLst>
            <pc:docMk/>
            <pc:sldMk cId="4265490173" sldId="473"/>
            <ac:spMk id="6" creationId="{1727C5D5-4000-173D-F43E-2F64ECA4B698}"/>
          </ac:spMkLst>
        </pc:spChg>
        <pc:spChg chg="mod">
          <ac:chgData name="Muchahary, Frankle" userId="0f2bf491-0617-4378-90b8-89af8fa381b9" providerId="ADAL" clId="{8E3D5D9D-CC05-4C7B-9A9C-2FFB7784C389}" dt="2024-02-07T02:26:33.173" v="21419"/>
          <ac:spMkLst>
            <pc:docMk/>
            <pc:sldMk cId="4265490173" sldId="473"/>
            <ac:spMk id="8" creationId="{C3BFF164-F2C3-D592-AC99-8DE4BD2A3824}"/>
          </ac:spMkLst>
        </pc:spChg>
        <pc:spChg chg="mod">
          <ac:chgData name="Muchahary, Frankle" userId="0f2bf491-0617-4378-90b8-89af8fa381b9" providerId="ADAL" clId="{8E3D5D9D-CC05-4C7B-9A9C-2FFB7784C389}" dt="2024-02-07T03:08:40.197" v="21954" actId="20577"/>
          <ac:spMkLst>
            <pc:docMk/>
            <pc:sldMk cId="4265490173" sldId="473"/>
            <ac:spMk id="9" creationId="{13CA3662-39F2-0CA3-1512-ACE951AB801C}"/>
          </ac:spMkLst>
        </pc:spChg>
        <pc:spChg chg="mod">
          <ac:chgData name="Muchahary, Frankle" userId="0f2bf491-0617-4378-90b8-89af8fa381b9" providerId="ADAL" clId="{8E3D5D9D-CC05-4C7B-9A9C-2FFB7784C389}" dt="2024-02-07T03:16:01.518" v="22211" actId="20577"/>
          <ac:spMkLst>
            <pc:docMk/>
            <pc:sldMk cId="4265490173" sldId="473"/>
            <ac:spMk id="10" creationId="{80D7F7B9-F198-CB2A-F448-8C48C450BB78}"/>
          </ac:spMkLst>
        </pc:spChg>
        <pc:spChg chg="mod">
          <ac:chgData name="Muchahary, Frankle" userId="0f2bf491-0617-4378-90b8-89af8fa381b9" providerId="ADAL" clId="{8E3D5D9D-CC05-4C7B-9A9C-2FFB7784C389}" dt="2024-02-07T03:08:56.898" v="21956" actId="1076"/>
          <ac:spMkLst>
            <pc:docMk/>
            <pc:sldMk cId="4265490173" sldId="473"/>
            <ac:spMk id="11" creationId="{751E858B-C299-FCAD-7D9F-0227309B2371}"/>
          </ac:spMkLst>
        </pc:spChg>
        <pc:spChg chg="mod">
          <ac:chgData name="Muchahary, Frankle" userId="0f2bf491-0617-4378-90b8-89af8fa381b9" providerId="ADAL" clId="{8E3D5D9D-CC05-4C7B-9A9C-2FFB7784C389}" dt="2024-02-07T03:17:00.769" v="22222" actId="1076"/>
          <ac:spMkLst>
            <pc:docMk/>
            <pc:sldMk cId="4265490173" sldId="473"/>
            <ac:spMk id="12" creationId="{211CA363-6170-8B02-1062-0D5A58CC74AC}"/>
          </ac:spMkLst>
        </pc:spChg>
        <pc:spChg chg="mod">
          <ac:chgData name="Muchahary, Frankle" userId="0f2bf491-0617-4378-90b8-89af8fa381b9" providerId="ADAL" clId="{8E3D5D9D-CC05-4C7B-9A9C-2FFB7784C389}" dt="2024-02-07T03:06:06.036" v="21888" actId="14100"/>
          <ac:spMkLst>
            <pc:docMk/>
            <pc:sldMk cId="4265490173" sldId="473"/>
            <ac:spMk id="13" creationId="{2DF4BA04-3572-618F-E080-7F023FF586A5}"/>
          </ac:spMkLst>
        </pc:spChg>
        <pc:spChg chg="mod">
          <ac:chgData name="Muchahary, Frankle" userId="0f2bf491-0617-4378-90b8-89af8fa381b9" providerId="ADAL" clId="{8E3D5D9D-CC05-4C7B-9A9C-2FFB7784C389}" dt="2024-02-07T03:16:28.292" v="22217" actId="14100"/>
          <ac:spMkLst>
            <pc:docMk/>
            <pc:sldMk cId="4265490173" sldId="473"/>
            <ac:spMk id="15" creationId="{51DACBF4-0EAF-A40B-F8A6-64CB2AD30240}"/>
          </ac:spMkLst>
        </pc:spChg>
        <pc:spChg chg="mod">
          <ac:chgData name="Muchahary, Frankle" userId="0f2bf491-0617-4378-90b8-89af8fa381b9" providerId="ADAL" clId="{8E3D5D9D-CC05-4C7B-9A9C-2FFB7784C389}" dt="2024-02-07T03:06:34.269" v="21915" actId="20577"/>
          <ac:spMkLst>
            <pc:docMk/>
            <pc:sldMk cId="4265490173" sldId="473"/>
            <ac:spMk id="18" creationId="{9BFF3405-2518-24F5-B746-F6A3F9B5CB33}"/>
          </ac:spMkLst>
        </pc:spChg>
        <pc:spChg chg="mod">
          <ac:chgData name="Muchahary, Frankle" userId="0f2bf491-0617-4378-90b8-89af8fa381b9" providerId="ADAL" clId="{8E3D5D9D-CC05-4C7B-9A9C-2FFB7784C389}" dt="2024-02-07T04:38:28.506" v="38724" actId="20577"/>
          <ac:spMkLst>
            <pc:docMk/>
            <pc:sldMk cId="4265490173" sldId="473"/>
            <ac:spMk id="19" creationId="{8F774983-2287-F592-0164-93768D484ECB}"/>
          </ac:spMkLst>
        </pc:spChg>
        <pc:spChg chg="mod">
          <ac:chgData name="Muchahary, Frankle" userId="0f2bf491-0617-4378-90b8-89af8fa381b9" providerId="ADAL" clId="{8E3D5D9D-CC05-4C7B-9A9C-2FFB7784C389}" dt="2024-02-07T03:16:46.537" v="22220" actId="1076"/>
          <ac:spMkLst>
            <pc:docMk/>
            <pc:sldMk cId="4265490173" sldId="473"/>
            <ac:spMk id="20" creationId="{73D4E10A-9849-28E2-106F-728AC10B55BB}"/>
          </ac:spMkLst>
        </pc:spChg>
        <pc:spChg chg="mod">
          <ac:chgData name="Muchahary, Frankle" userId="0f2bf491-0617-4378-90b8-89af8fa381b9" providerId="ADAL" clId="{8E3D5D9D-CC05-4C7B-9A9C-2FFB7784C389}" dt="2024-02-07T04:22:32.970" v="33867" actId="20577"/>
          <ac:spMkLst>
            <pc:docMk/>
            <pc:sldMk cId="4265490173" sldId="473"/>
            <ac:spMk id="21" creationId="{C0422C23-F02C-6ED7-B9C5-1EB764406FB8}"/>
          </ac:spMkLst>
        </pc:spChg>
        <pc:spChg chg="mod">
          <ac:chgData name="Muchahary, Frankle" userId="0f2bf491-0617-4378-90b8-89af8fa381b9" providerId="ADAL" clId="{8E3D5D9D-CC05-4C7B-9A9C-2FFB7784C389}" dt="2024-02-07T02:26:33.173" v="21419"/>
          <ac:spMkLst>
            <pc:docMk/>
            <pc:sldMk cId="4265490173" sldId="473"/>
            <ac:spMk id="22" creationId="{1CF5794E-85F2-A7E5-FAAC-6FB83C3F5CCD}"/>
          </ac:spMkLst>
        </pc:spChg>
        <pc:grpChg chg="add mod">
          <ac:chgData name="Muchahary, Frankle" userId="0f2bf491-0617-4378-90b8-89af8fa381b9" providerId="ADAL" clId="{8E3D5D9D-CC05-4C7B-9A9C-2FFB7784C389}" dt="2024-02-07T02:34:56.848" v="21452" actId="164"/>
          <ac:grpSpMkLst>
            <pc:docMk/>
            <pc:sldMk cId="4265490173" sldId="473"/>
            <ac:grpSpMk id="3" creationId="{684A2248-A5C3-C6EF-5DD4-E6F3A3C98570}"/>
          </ac:grpSpMkLst>
        </pc:grpChg>
        <pc:grpChg chg="add mod">
          <ac:chgData name="Muchahary, Frankle" userId="0f2bf491-0617-4378-90b8-89af8fa381b9" providerId="ADAL" clId="{8E3D5D9D-CC05-4C7B-9A9C-2FFB7784C389}" dt="2024-02-07T02:34:56.848" v="21452" actId="164"/>
          <ac:grpSpMkLst>
            <pc:docMk/>
            <pc:sldMk cId="4265490173" sldId="473"/>
            <ac:grpSpMk id="32" creationId="{A90F3778-9459-E04D-2D2E-08332BDCEE65}"/>
          </ac:grpSpMkLst>
        </pc:grpChg>
        <pc:picChg chg="add mod">
          <ac:chgData name="Muchahary, Frankle" userId="0f2bf491-0617-4378-90b8-89af8fa381b9" providerId="ADAL" clId="{8E3D5D9D-CC05-4C7B-9A9C-2FFB7784C389}" dt="2024-02-07T02:34:56.848" v="21452" actId="164"/>
          <ac:picMkLst>
            <pc:docMk/>
            <pc:sldMk cId="4265490173" sldId="473"/>
            <ac:picMk id="27" creationId="{658543FF-2418-9CE6-41B1-51810768FFA5}"/>
          </ac:picMkLst>
        </pc:picChg>
        <pc:picChg chg="add mod">
          <ac:chgData name="Muchahary, Frankle" userId="0f2bf491-0617-4378-90b8-89af8fa381b9" providerId="ADAL" clId="{8E3D5D9D-CC05-4C7B-9A9C-2FFB7784C389}" dt="2024-02-07T02:34:56.848" v="21452" actId="164"/>
          <ac:picMkLst>
            <pc:docMk/>
            <pc:sldMk cId="4265490173" sldId="473"/>
            <ac:picMk id="28" creationId="{A976BBF5-3140-0FF8-0CA4-DC3BCBB6245F}"/>
          </ac:picMkLst>
        </pc:picChg>
        <pc:picChg chg="add mod">
          <ac:chgData name="Muchahary, Frankle" userId="0f2bf491-0617-4378-90b8-89af8fa381b9" providerId="ADAL" clId="{8E3D5D9D-CC05-4C7B-9A9C-2FFB7784C389}" dt="2024-02-07T02:34:56.848" v="21452" actId="164"/>
          <ac:picMkLst>
            <pc:docMk/>
            <pc:sldMk cId="4265490173" sldId="473"/>
            <ac:picMk id="29" creationId="{1EAC8EF4-637B-57AC-EC06-6E3C8340718D}"/>
          </ac:picMkLst>
        </pc:picChg>
        <pc:picChg chg="add mod">
          <ac:chgData name="Muchahary, Frankle" userId="0f2bf491-0617-4378-90b8-89af8fa381b9" providerId="ADAL" clId="{8E3D5D9D-CC05-4C7B-9A9C-2FFB7784C389}" dt="2024-02-07T02:34:56.848" v="21452" actId="164"/>
          <ac:picMkLst>
            <pc:docMk/>
            <pc:sldMk cId="4265490173" sldId="473"/>
            <ac:picMk id="30" creationId="{70A5BFE6-DD85-061B-8317-DD864A4429B2}"/>
          </ac:picMkLst>
        </pc:picChg>
        <pc:picChg chg="add mod">
          <ac:chgData name="Muchahary, Frankle" userId="0f2bf491-0617-4378-90b8-89af8fa381b9" providerId="ADAL" clId="{8E3D5D9D-CC05-4C7B-9A9C-2FFB7784C389}" dt="2024-02-07T02:34:56.848" v="21452" actId="164"/>
          <ac:picMkLst>
            <pc:docMk/>
            <pc:sldMk cId="4265490173" sldId="473"/>
            <ac:picMk id="31" creationId="{766BE44B-61AB-4C8C-286D-31CCC4DC35FB}"/>
          </ac:picMkLst>
        </pc:pic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16" creationId="{C82D54D3-BBCD-3591-2A60-7335D212CBBF}"/>
          </ac:cxnSpMkLst>
        </pc:cxn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17" creationId="{E16D4D8E-21C7-0066-7286-449250A3C794}"/>
          </ac:cxnSpMkLst>
        </pc:cxn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23" creationId="{E19FDFBF-E525-56A4-221F-F38C97A211EA}"/>
          </ac:cxnSpMkLst>
        </pc:cxn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24" creationId="{D9CCB549-0F88-1D89-A4A7-20ABB58A21FD}"/>
          </ac:cxnSpMkLst>
        </pc:cxn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25" creationId="{E2F46FE2-B2F6-AA79-F5AA-463015D26313}"/>
          </ac:cxnSpMkLst>
        </pc:cxnChg>
        <pc:cxnChg chg="mod">
          <ac:chgData name="Muchahary, Frankle" userId="0f2bf491-0617-4378-90b8-89af8fa381b9" providerId="ADAL" clId="{8E3D5D9D-CC05-4C7B-9A9C-2FFB7784C389}" dt="2024-02-07T02:26:33.173" v="21419"/>
          <ac:cxnSpMkLst>
            <pc:docMk/>
            <pc:sldMk cId="4265490173" sldId="473"/>
            <ac:cxnSpMk id="26" creationId="{213D6113-5BDA-7AF8-CD9B-C00D580B6413}"/>
          </ac:cxnSpMkLst>
        </pc:cxnChg>
      </pc:sldChg>
      <pc:sldChg chg="del">
        <pc:chgData name="Muchahary, Frankle" userId="0f2bf491-0617-4378-90b8-89af8fa381b9" providerId="ADAL" clId="{8E3D5D9D-CC05-4C7B-9A9C-2FFB7784C389}" dt="2024-02-04T23:29:51.661" v="183" actId="47"/>
        <pc:sldMkLst>
          <pc:docMk/>
          <pc:sldMk cId="1844015214" sldId="474"/>
        </pc:sldMkLst>
      </pc:sldChg>
      <pc:sldChg chg="add del">
        <pc:chgData name="Muchahary, Frankle" userId="0f2bf491-0617-4378-90b8-89af8fa381b9" providerId="ADAL" clId="{8E3D5D9D-CC05-4C7B-9A9C-2FFB7784C389}" dt="2024-02-07T02:30:55.652" v="21451" actId="47"/>
        <pc:sldMkLst>
          <pc:docMk/>
          <pc:sldMk cId="4236095054" sldId="474"/>
        </pc:sldMkLst>
      </pc:sldChg>
      <pc:sldChg chg="modSp add del mod">
        <pc:chgData name="Muchahary, Frankle" userId="0f2bf491-0617-4378-90b8-89af8fa381b9" providerId="ADAL" clId="{8E3D5D9D-CC05-4C7B-9A9C-2FFB7784C389}" dt="2024-02-07T03:24:05.484" v="22323" actId="47"/>
        <pc:sldMkLst>
          <pc:docMk/>
          <pc:sldMk cId="1598368685" sldId="475"/>
        </pc:sldMkLst>
        <pc:spChg chg="mod">
          <ac:chgData name="Muchahary, Frankle" userId="0f2bf491-0617-4378-90b8-89af8fa381b9" providerId="ADAL" clId="{8E3D5D9D-CC05-4C7B-9A9C-2FFB7784C389}" dt="2024-02-07T02:54:10.059" v="21613" actId="20577"/>
          <ac:spMkLst>
            <pc:docMk/>
            <pc:sldMk cId="1598368685" sldId="475"/>
            <ac:spMk id="2" creationId="{E1691E13-C8EF-66AC-3E6E-7AF76A4CB663}"/>
          </ac:spMkLst>
        </pc:spChg>
        <pc:spChg chg="mod">
          <ac:chgData name="Muchahary, Frankle" userId="0f2bf491-0617-4378-90b8-89af8fa381b9" providerId="ADAL" clId="{8E3D5D9D-CC05-4C7B-9A9C-2FFB7784C389}" dt="2024-02-07T02:47:38.455" v="21503" actId="20577"/>
          <ac:spMkLst>
            <pc:docMk/>
            <pc:sldMk cId="1598368685" sldId="475"/>
            <ac:spMk id="9" creationId="{9EA70E67-E761-5C21-B995-930D8635249A}"/>
          </ac:spMkLst>
        </pc:sp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61374360" sldId="476"/>
        </pc:sldMkLst>
      </pc:sldChg>
      <pc:sldChg chg="modSp add mod">
        <pc:chgData name="Muchahary, Frankle" userId="0f2bf491-0617-4378-90b8-89af8fa381b9" providerId="ADAL" clId="{8E3D5D9D-CC05-4C7B-9A9C-2FFB7784C389}" dt="2024-02-07T04:38:22.260" v="38709" actId="20577"/>
        <pc:sldMkLst>
          <pc:docMk/>
          <pc:sldMk cId="1847215615" sldId="476"/>
        </pc:sldMkLst>
        <pc:spChg chg="mod">
          <ac:chgData name="Muchahary, Frankle" userId="0f2bf491-0617-4378-90b8-89af8fa381b9" providerId="ADAL" clId="{8E3D5D9D-CC05-4C7B-9A9C-2FFB7784C389}" dt="2024-02-07T04:25:41.695" v="33881" actId="20577"/>
          <ac:spMkLst>
            <pc:docMk/>
            <pc:sldMk cId="1847215615" sldId="476"/>
            <ac:spMk id="10" creationId="{872E584D-B5E7-738D-34E1-778010F190F0}"/>
          </ac:spMkLst>
        </pc:spChg>
        <pc:spChg chg="mod">
          <ac:chgData name="Muchahary, Frankle" userId="0f2bf491-0617-4378-90b8-89af8fa381b9" providerId="ADAL" clId="{8E3D5D9D-CC05-4C7B-9A9C-2FFB7784C389}" dt="2024-02-07T04:24:59.579" v="33875" actId="20577"/>
          <ac:spMkLst>
            <pc:docMk/>
            <pc:sldMk cId="1847215615" sldId="476"/>
            <ac:spMk id="15" creationId="{7139C6B7-85CC-66D4-B5AC-59A2BE27B4B4}"/>
          </ac:spMkLst>
        </pc:spChg>
        <pc:spChg chg="mod">
          <ac:chgData name="Muchahary, Frankle" userId="0f2bf491-0617-4378-90b8-89af8fa381b9" providerId="ADAL" clId="{8E3D5D9D-CC05-4C7B-9A9C-2FFB7784C389}" dt="2024-02-07T04:38:22.260" v="38709" actId="20577"/>
          <ac:spMkLst>
            <pc:docMk/>
            <pc:sldMk cId="1847215615" sldId="476"/>
            <ac:spMk id="19" creationId="{37945EFB-C30F-1E66-DADA-A74473725629}"/>
          </ac:spMkLst>
        </pc:spChg>
        <pc:spChg chg="mod">
          <ac:chgData name="Muchahary, Frankle" userId="0f2bf491-0617-4378-90b8-89af8fa381b9" providerId="ADAL" clId="{8E3D5D9D-CC05-4C7B-9A9C-2FFB7784C389}" dt="2024-02-07T04:21:55.634" v="33846" actId="20577"/>
          <ac:spMkLst>
            <pc:docMk/>
            <pc:sldMk cId="1847215615" sldId="476"/>
            <ac:spMk id="20" creationId="{B93246D8-8CF3-3A51-A041-308D9BC5111A}"/>
          </ac:spMkLst>
        </pc:spChg>
        <pc:spChg chg="mod">
          <ac:chgData name="Muchahary, Frankle" userId="0f2bf491-0617-4378-90b8-89af8fa381b9" providerId="ADAL" clId="{8E3D5D9D-CC05-4C7B-9A9C-2FFB7784C389}" dt="2024-02-07T04:22:12.687" v="33852" actId="20577"/>
          <ac:spMkLst>
            <pc:docMk/>
            <pc:sldMk cId="1847215615" sldId="476"/>
            <ac:spMk id="21" creationId="{9667384A-3D7B-DBA3-9028-381A6AC3A16F}"/>
          </ac:spMkLst>
        </pc:spChg>
        <pc:grpChg chg="mod">
          <ac:chgData name="Muchahary, Frankle" userId="0f2bf491-0617-4378-90b8-89af8fa381b9" providerId="ADAL" clId="{8E3D5D9D-CC05-4C7B-9A9C-2FFB7784C389}" dt="2024-02-07T04:25:27.882" v="33876" actId="1076"/>
          <ac:grpSpMkLst>
            <pc:docMk/>
            <pc:sldMk cId="1847215615" sldId="476"/>
            <ac:grpSpMk id="32" creationId="{3F2C2395-A3B9-4D38-56D8-3F7157959CE4}"/>
          </ac:grpSpMkLst>
        </pc:grp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11284301" sldId="477"/>
        </pc:sldMkLst>
      </pc:sldChg>
      <pc:sldChg chg="addSp delSp modSp add mod modAnim">
        <pc:chgData name="Muchahary, Frankle" userId="0f2bf491-0617-4378-90b8-89af8fa381b9" providerId="ADAL" clId="{8E3D5D9D-CC05-4C7B-9A9C-2FFB7784C389}" dt="2024-02-08T02:11:15.598" v="51857" actId="1076"/>
        <pc:sldMkLst>
          <pc:docMk/>
          <pc:sldMk cId="3674934328" sldId="477"/>
        </pc:sldMkLst>
        <pc:spChg chg="mod">
          <ac:chgData name="Muchahary, Frankle" userId="0f2bf491-0617-4378-90b8-89af8fa381b9" providerId="ADAL" clId="{8E3D5D9D-CC05-4C7B-9A9C-2FFB7784C389}" dt="2024-02-07T03:40:46.226" v="24979" actId="20577"/>
          <ac:spMkLst>
            <pc:docMk/>
            <pc:sldMk cId="3674934328" sldId="477"/>
            <ac:spMk id="2" creationId="{7192D6D3-83CC-9A91-69EC-0F0A10C2529A}"/>
          </ac:spMkLst>
        </pc:spChg>
        <pc:spChg chg="add mod">
          <ac:chgData name="Muchahary, Frankle" userId="0f2bf491-0617-4378-90b8-89af8fa381b9" providerId="ADAL" clId="{8E3D5D9D-CC05-4C7B-9A9C-2FFB7784C389}" dt="2024-02-08T02:11:15.598" v="51857" actId="1076"/>
          <ac:spMkLst>
            <pc:docMk/>
            <pc:sldMk cId="3674934328" sldId="477"/>
            <ac:spMk id="37" creationId="{00C3E22E-8414-784F-4567-49797B84A4A2}"/>
          </ac:spMkLst>
        </pc:spChg>
        <pc:spChg chg="add mod">
          <ac:chgData name="Muchahary, Frankle" userId="0f2bf491-0617-4378-90b8-89af8fa381b9" providerId="ADAL" clId="{8E3D5D9D-CC05-4C7B-9A9C-2FFB7784C389}" dt="2024-02-08T01:23:34.638" v="48723" actId="1076"/>
          <ac:spMkLst>
            <pc:docMk/>
            <pc:sldMk cId="3674934328" sldId="477"/>
            <ac:spMk id="38" creationId="{1DA464C8-F311-0C96-19CF-C56BF7E32F88}"/>
          </ac:spMkLst>
        </pc:spChg>
        <pc:spChg chg="add mod">
          <ac:chgData name="Muchahary, Frankle" userId="0f2bf491-0617-4378-90b8-89af8fa381b9" providerId="ADAL" clId="{8E3D5D9D-CC05-4C7B-9A9C-2FFB7784C389}" dt="2024-02-08T01:25:03.755" v="48922" actId="1076"/>
          <ac:spMkLst>
            <pc:docMk/>
            <pc:sldMk cId="3674934328" sldId="477"/>
            <ac:spMk id="39" creationId="{707AEDFD-EE35-C492-FA2F-19ED2F6F7EB8}"/>
          </ac:spMkLst>
        </pc:spChg>
        <pc:grpChg chg="del">
          <ac:chgData name="Muchahary, Frankle" userId="0f2bf491-0617-4378-90b8-89af8fa381b9" providerId="ADAL" clId="{8E3D5D9D-CC05-4C7B-9A9C-2FFB7784C389}" dt="2024-02-07T03:24:46.006" v="22325" actId="478"/>
          <ac:grpSpMkLst>
            <pc:docMk/>
            <pc:sldMk cId="3674934328" sldId="477"/>
            <ac:grpSpMk id="32" creationId="{E3669B08-AECA-FF46-3DB4-33665452B138}"/>
          </ac:grpSpMkLst>
        </pc:grpChg>
        <pc:graphicFrameChg chg="add mod modGraphic">
          <ac:chgData name="Muchahary, Frankle" userId="0f2bf491-0617-4378-90b8-89af8fa381b9" providerId="ADAL" clId="{8E3D5D9D-CC05-4C7B-9A9C-2FFB7784C389}" dt="2024-02-08T00:01:37.927" v="40658" actId="14734"/>
          <ac:graphicFrameMkLst>
            <pc:docMk/>
            <pc:sldMk cId="3674934328" sldId="477"/>
            <ac:graphicFrameMk id="33" creationId="{B0EC5D30-B3B2-FEB8-D4E6-7E71E837D4F4}"/>
          </ac:graphicFrameMkLst>
        </pc:graphicFrameChg>
        <pc:graphicFrameChg chg="add mod">
          <ac:chgData name="Muchahary, Frankle" userId="0f2bf491-0617-4378-90b8-89af8fa381b9" providerId="ADAL" clId="{8E3D5D9D-CC05-4C7B-9A9C-2FFB7784C389}" dt="2024-02-08T01:22:12.889" v="48699" actId="14100"/>
          <ac:graphicFrameMkLst>
            <pc:docMk/>
            <pc:sldMk cId="3674934328" sldId="477"/>
            <ac:graphicFrameMk id="36" creationId="{63EE0721-C91A-8229-C1CE-25343D4977B2}"/>
          </ac:graphicFrameMkLst>
        </pc:graphicFrameChg>
        <pc:picChg chg="add mod">
          <ac:chgData name="Muchahary, Frankle" userId="0f2bf491-0617-4378-90b8-89af8fa381b9" providerId="ADAL" clId="{8E3D5D9D-CC05-4C7B-9A9C-2FFB7784C389}" dt="2024-02-07T23:51:24.812" v="40268" actId="1076"/>
          <ac:picMkLst>
            <pc:docMk/>
            <pc:sldMk cId="3674934328" sldId="477"/>
            <ac:picMk id="35" creationId="{7E4B87DB-7A26-0EDE-3599-B1EA89D6B1B4}"/>
          </ac:picMkLst>
        </pc:pic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16" creationId="{2D1C79C0-2F12-2B8F-72E3-E1E67F36BDB9}"/>
          </ac:cxnSpMkLst>
        </pc:cxn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17" creationId="{2901E388-69A3-1B15-198E-9E542C0D9FB8}"/>
          </ac:cxnSpMkLst>
        </pc:cxn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23" creationId="{148863A5-DA4D-38CA-106F-F45812AF37E9}"/>
          </ac:cxnSpMkLst>
        </pc:cxn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24" creationId="{1CD5EF3E-8D65-6ACB-DF03-E8A7F3A0F592}"/>
          </ac:cxnSpMkLst>
        </pc:cxn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25" creationId="{27A85017-5A66-A0F0-6D80-B9DCCEAA532E}"/>
          </ac:cxnSpMkLst>
        </pc:cxnChg>
        <pc:cxnChg chg="mod">
          <ac:chgData name="Muchahary, Frankle" userId="0f2bf491-0617-4378-90b8-89af8fa381b9" providerId="ADAL" clId="{8E3D5D9D-CC05-4C7B-9A9C-2FFB7784C389}" dt="2024-02-07T03:24:46.006" v="22325" actId="478"/>
          <ac:cxnSpMkLst>
            <pc:docMk/>
            <pc:sldMk cId="3674934328" sldId="477"/>
            <ac:cxnSpMk id="26" creationId="{3E8635C2-C509-97E4-8EBD-314CA88AF8CD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81762496" sldId="478"/>
        </pc:sldMkLst>
      </pc:sldChg>
      <pc:sldChg chg="addSp delSp modSp add mod">
        <pc:chgData name="Muchahary, Frankle" userId="0f2bf491-0617-4378-90b8-89af8fa381b9" providerId="ADAL" clId="{8E3D5D9D-CC05-4C7B-9A9C-2FFB7784C389}" dt="2024-02-08T02:57:51.840" v="52698" actId="20577"/>
        <pc:sldMkLst>
          <pc:docMk/>
          <pc:sldMk cId="1551847677" sldId="478"/>
        </pc:sldMkLst>
        <pc:spChg chg="mod ord">
          <ac:chgData name="Muchahary, Frankle" userId="0f2bf491-0617-4378-90b8-89af8fa381b9" providerId="ADAL" clId="{8E3D5D9D-CC05-4C7B-9A9C-2FFB7784C389}" dt="2024-02-08T01:33:15.737" v="49582"/>
          <ac:spMkLst>
            <pc:docMk/>
            <pc:sldMk cId="1551847677" sldId="478"/>
            <ac:spMk id="2" creationId="{83916FF5-C794-3F1D-7425-ABA94AF9060F}"/>
          </ac:spMkLst>
        </pc:spChg>
        <pc:spChg chg="mod ord">
          <ac:chgData name="Muchahary, Frankle" userId="0f2bf491-0617-4378-90b8-89af8fa381b9" providerId="ADAL" clId="{8E3D5D9D-CC05-4C7B-9A9C-2FFB7784C389}" dt="2024-02-08T01:33:15.737" v="49584"/>
          <ac:spMkLst>
            <pc:docMk/>
            <pc:sldMk cId="1551847677" sldId="478"/>
            <ac:spMk id="7" creationId="{B00936D2-78B3-4F9A-E24E-9B90A0990350}"/>
          </ac:spMkLst>
        </pc:spChg>
        <pc:spChg chg="add mod replST">
          <ac:chgData name="Muchahary, Frankle" userId="0f2bf491-0617-4378-90b8-89af8fa381b9" providerId="ADAL" clId="{8E3D5D9D-CC05-4C7B-9A9C-2FFB7784C389}" dt="2024-02-08T01:33:15.739" v="49587"/>
          <ac:spMkLst>
            <pc:docMk/>
            <pc:sldMk cId="1551847677" sldId="478"/>
            <ac:spMk id="33" creationId="{723B7A64-8822-A266-AD85-62EBF45D2581}"/>
          </ac:spMkLst>
        </pc:spChg>
        <pc:spChg chg="add del mod modVis">
          <ac:chgData name="Muchahary, Frankle" userId="0f2bf491-0617-4378-90b8-89af8fa381b9" providerId="ADAL" clId="{8E3D5D9D-CC05-4C7B-9A9C-2FFB7784C389}" dt="2024-02-07T03:35:29.295" v="23295"/>
          <ac:spMkLst>
            <pc:docMk/>
            <pc:sldMk cId="1551847677" sldId="478"/>
            <ac:spMk id="34" creationId="{A189A5CF-6CA1-8DA6-1920-1337A7E60911}"/>
          </ac:spMkLst>
        </pc:spChg>
        <pc:spChg chg="add del mod replST">
          <ac:chgData name="Muchahary, Frankle" userId="0f2bf491-0617-4378-90b8-89af8fa381b9" providerId="ADAL" clId="{8E3D5D9D-CC05-4C7B-9A9C-2FFB7784C389}" dt="2024-02-07T03:35:40.002" v="23430"/>
          <ac:spMkLst>
            <pc:docMk/>
            <pc:sldMk cId="1551847677" sldId="478"/>
            <ac:spMk id="35" creationId="{FC9139BB-1963-42B1-48BC-5E601E940BBE}"/>
          </ac:spMkLst>
        </pc:spChg>
        <pc:spChg chg="add del mod replST">
          <ac:chgData name="Muchahary, Frankle" userId="0f2bf491-0617-4378-90b8-89af8fa381b9" providerId="ADAL" clId="{8E3D5D9D-CC05-4C7B-9A9C-2FFB7784C389}" dt="2024-02-07T03:35:40.005" v="23432"/>
          <ac:spMkLst>
            <pc:docMk/>
            <pc:sldMk cId="1551847677" sldId="478"/>
            <ac:spMk id="36" creationId="{E1C5F03C-175B-1171-E688-80B3F161CBEB}"/>
          </ac:spMkLst>
        </pc:spChg>
        <pc:spChg chg="add del mod replST">
          <ac:chgData name="Muchahary, Frankle" userId="0f2bf491-0617-4378-90b8-89af8fa381b9" providerId="ADAL" clId="{8E3D5D9D-CC05-4C7B-9A9C-2FFB7784C389}" dt="2024-02-07T03:36:20.953" v="23777"/>
          <ac:spMkLst>
            <pc:docMk/>
            <pc:sldMk cId="1551847677" sldId="478"/>
            <ac:spMk id="37" creationId="{F00C02C5-3AEB-6AF9-BB4C-12F67F857A16}"/>
          </ac:spMkLst>
        </pc:spChg>
        <pc:spChg chg="add del mod replST">
          <ac:chgData name="Muchahary, Frankle" userId="0f2bf491-0617-4378-90b8-89af8fa381b9" providerId="ADAL" clId="{8E3D5D9D-CC05-4C7B-9A9C-2FFB7784C389}" dt="2024-02-07T03:35:35.965" v="23298"/>
          <ac:spMkLst>
            <pc:docMk/>
            <pc:sldMk cId="1551847677" sldId="478"/>
            <ac:spMk id="38" creationId="{83A01D11-09C9-5F00-5C16-EEA9B30CA8FB}"/>
          </ac:spMkLst>
        </pc:spChg>
        <pc:spChg chg="add del mod replST">
          <ac:chgData name="Muchahary, Frankle" userId="0f2bf491-0617-4378-90b8-89af8fa381b9" providerId="ADAL" clId="{8E3D5D9D-CC05-4C7B-9A9C-2FFB7784C389}" dt="2024-02-07T03:35:35.966" v="23299"/>
          <ac:spMkLst>
            <pc:docMk/>
            <pc:sldMk cId="1551847677" sldId="478"/>
            <ac:spMk id="39" creationId="{DCE219B5-1B71-3C44-9FD0-CEB215DB81C3}"/>
          </ac:spMkLst>
        </pc:spChg>
        <pc:spChg chg="add del mod replST">
          <ac:chgData name="Muchahary, Frankle" userId="0f2bf491-0617-4378-90b8-89af8fa381b9" providerId="ADAL" clId="{8E3D5D9D-CC05-4C7B-9A9C-2FFB7784C389}" dt="2024-02-07T03:35:36.060" v="23365"/>
          <ac:spMkLst>
            <pc:docMk/>
            <pc:sldMk cId="1551847677" sldId="478"/>
            <ac:spMk id="40" creationId="{308837CA-EC3F-8264-4063-F3468F23D0D6}"/>
          </ac:spMkLst>
        </pc:spChg>
        <pc:spChg chg="add del mod replST">
          <ac:chgData name="Muchahary, Frankle" userId="0f2bf491-0617-4378-90b8-89af8fa381b9" providerId="ADAL" clId="{8E3D5D9D-CC05-4C7B-9A9C-2FFB7784C389}" dt="2024-02-07T03:35:36.061" v="23366"/>
          <ac:spMkLst>
            <pc:docMk/>
            <pc:sldMk cId="1551847677" sldId="478"/>
            <ac:spMk id="41" creationId="{3B49B1F2-532A-8AD0-670C-43B09C75A9ED}"/>
          </ac:spMkLst>
        </pc:spChg>
        <pc:spChg chg="add del mod replST">
          <ac:chgData name="Muchahary, Frankle" userId="0f2bf491-0617-4378-90b8-89af8fa381b9" providerId="ADAL" clId="{8E3D5D9D-CC05-4C7B-9A9C-2FFB7784C389}" dt="2024-02-07T03:35:36.061" v="23367"/>
          <ac:spMkLst>
            <pc:docMk/>
            <pc:sldMk cId="1551847677" sldId="478"/>
            <ac:spMk id="42" creationId="{E4097FA6-76DE-8656-60BE-B873591559A3}"/>
          </ac:spMkLst>
        </pc:spChg>
        <pc:spChg chg="add del mod modVis">
          <ac:chgData name="Muchahary, Frankle" userId="0f2bf491-0617-4378-90b8-89af8fa381b9" providerId="ADAL" clId="{8E3D5D9D-CC05-4C7B-9A9C-2FFB7784C389}" dt="2024-02-07T03:35:36.099" v="23391"/>
          <ac:spMkLst>
            <pc:docMk/>
            <pc:sldMk cId="1551847677" sldId="478"/>
            <ac:spMk id="44" creationId="{E063A794-F5DA-D29A-ABA3-F8E019FAF690}"/>
          </ac:spMkLst>
        </pc:spChg>
        <pc:spChg chg="add del mod modVis">
          <ac:chgData name="Muchahary, Frankle" userId="0f2bf491-0617-4378-90b8-89af8fa381b9" providerId="ADAL" clId="{8E3D5D9D-CC05-4C7B-9A9C-2FFB7784C389}" dt="2024-02-07T03:35:40.045" v="23455"/>
          <ac:spMkLst>
            <pc:docMk/>
            <pc:sldMk cId="1551847677" sldId="478"/>
            <ac:spMk id="46" creationId="{BFCA5C9D-E57A-AAEF-82F5-A705079EBE84}"/>
          </ac:spMkLst>
        </pc:spChg>
        <pc:spChg chg="add mod replST">
          <ac:chgData name="Muchahary, Frankle" userId="0f2bf491-0617-4378-90b8-89af8fa381b9" providerId="ADAL" clId="{8E3D5D9D-CC05-4C7B-9A9C-2FFB7784C389}" dt="2024-02-08T01:33:15.739" v="49588"/>
          <ac:spMkLst>
            <pc:docMk/>
            <pc:sldMk cId="1551847677" sldId="478"/>
            <ac:spMk id="48" creationId="{0CA2796F-7507-C206-6B1E-01D1E0AB57C4}"/>
          </ac:spMkLst>
        </pc:spChg>
        <pc:spChg chg="add del mod modVis">
          <ac:chgData name="Muchahary, Frankle" userId="0f2bf491-0617-4378-90b8-89af8fa381b9" providerId="ADAL" clId="{8E3D5D9D-CC05-4C7B-9A9C-2FFB7784C389}" dt="2024-02-07T03:35:42.881" v="23524"/>
          <ac:spMkLst>
            <pc:docMk/>
            <pc:sldMk cId="1551847677" sldId="478"/>
            <ac:spMk id="49" creationId="{C128AD2D-368E-8322-F956-9533048F29A7}"/>
          </ac:spMkLst>
        </pc:spChg>
        <pc:spChg chg="add del mod modVis">
          <ac:chgData name="Muchahary, Frankle" userId="0f2bf491-0617-4378-90b8-89af8fa381b9" providerId="ADAL" clId="{8E3D5D9D-CC05-4C7B-9A9C-2FFB7784C389}" dt="2024-02-07T03:35:54.282" v="23598"/>
          <ac:spMkLst>
            <pc:docMk/>
            <pc:sldMk cId="1551847677" sldId="478"/>
            <ac:spMk id="52" creationId="{EE66FEAD-9708-67E3-D110-5E7C2AEDD757}"/>
          </ac:spMkLst>
        </pc:spChg>
        <pc:spChg chg="add del mod modVis">
          <ac:chgData name="Muchahary, Frankle" userId="0f2bf491-0617-4378-90b8-89af8fa381b9" providerId="ADAL" clId="{8E3D5D9D-CC05-4C7B-9A9C-2FFB7784C389}" dt="2024-02-07T03:35:59.516" v="23646"/>
          <ac:spMkLst>
            <pc:docMk/>
            <pc:sldMk cId="1551847677" sldId="478"/>
            <ac:spMk id="54" creationId="{50825CF2-BC24-479D-B6EB-02D4F08C5482}"/>
          </ac:spMkLst>
        </pc:spChg>
        <pc:spChg chg="add del mod replST">
          <ac:chgData name="Muchahary, Frankle" userId="0f2bf491-0617-4378-90b8-89af8fa381b9" providerId="ADAL" clId="{8E3D5D9D-CC05-4C7B-9A9C-2FFB7784C389}" dt="2024-02-07T03:36:32.910" v="23954"/>
          <ac:spMkLst>
            <pc:docMk/>
            <pc:sldMk cId="1551847677" sldId="478"/>
            <ac:spMk id="63" creationId="{173D9E84-E219-0835-B19F-CED1184BA8C0}"/>
          </ac:spMkLst>
        </pc:spChg>
        <pc:spChg chg="add del mod modVis">
          <ac:chgData name="Muchahary, Frankle" userId="0f2bf491-0617-4378-90b8-89af8fa381b9" providerId="ADAL" clId="{8E3D5D9D-CC05-4C7B-9A9C-2FFB7784C389}" dt="2024-02-07T03:36:31.465" v="23948"/>
          <ac:spMkLst>
            <pc:docMk/>
            <pc:sldMk cId="1551847677" sldId="478"/>
            <ac:spMk id="64" creationId="{973F1466-EAA9-2D23-D5AB-3F81AC655744}"/>
          </ac:spMkLst>
        </pc:spChg>
        <pc:spChg chg="add del mod modVis">
          <ac:chgData name="Muchahary, Frankle" userId="0f2bf491-0617-4378-90b8-89af8fa381b9" providerId="ADAL" clId="{8E3D5D9D-CC05-4C7B-9A9C-2FFB7784C389}" dt="2024-02-07T03:36:35.235" v="24143"/>
          <ac:spMkLst>
            <pc:docMk/>
            <pc:sldMk cId="1551847677" sldId="478"/>
            <ac:spMk id="67" creationId="{22C7F51D-53DC-CCB5-D5BB-ED9FAA503513}"/>
          </ac:spMkLst>
        </pc:spChg>
        <pc:spChg chg="add mod replST">
          <ac:chgData name="Muchahary, Frankle" userId="0f2bf491-0617-4378-90b8-89af8fa381b9" providerId="ADAL" clId="{8E3D5D9D-CC05-4C7B-9A9C-2FFB7784C389}" dt="2024-02-08T01:33:15.739" v="49589"/>
          <ac:spMkLst>
            <pc:docMk/>
            <pc:sldMk cId="1551847677" sldId="478"/>
            <ac:spMk id="68" creationId="{0CC65E44-9534-EA01-4FFF-B743ECBE8E92}"/>
          </ac:spMkLst>
        </pc:spChg>
        <pc:spChg chg="add mod replST">
          <ac:chgData name="Muchahary, Frankle" userId="0f2bf491-0617-4378-90b8-89af8fa381b9" providerId="ADAL" clId="{8E3D5D9D-CC05-4C7B-9A9C-2FFB7784C389}" dt="2024-02-08T01:33:15.740" v="49590"/>
          <ac:spMkLst>
            <pc:docMk/>
            <pc:sldMk cId="1551847677" sldId="478"/>
            <ac:spMk id="69" creationId="{3908AAB8-584D-B031-849F-8C900A2C8FCC}"/>
          </ac:spMkLst>
        </pc:spChg>
        <pc:spChg chg="add del mod modVis">
          <ac:chgData name="Muchahary, Frankle" userId="0f2bf491-0617-4378-90b8-89af8fa381b9" providerId="ADAL" clId="{8E3D5D9D-CC05-4C7B-9A9C-2FFB7784C389}" dt="2024-02-07T03:36:39.586" v="24221"/>
          <ac:spMkLst>
            <pc:docMk/>
            <pc:sldMk cId="1551847677" sldId="478"/>
            <ac:spMk id="71" creationId="{EA285E63-E75A-92D4-EE57-ED79376F947E}"/>
          </ac:spMkLst>
        </pc:spChg>
        <pc:spChg chg="add del mod modVis">
          <ac:chgData name="Muchahary, Frankle" userId="0f2bf491-0617-4378-90b8-89af8fa381b9" providerId="ADAL" clId="{8E3D5D9D-CC05-4C7B-9A9C-2FFB7784C389}" dt="2024-02-07T03:36:41.720" v="24299"/>
          <ac:spMkLst>
            <pc:docMk/>
            <pc:sldMk cId="1551847677" sldId="478"/>
            <ac:spMk id="73" creationId="{7366349D-E433-70A1-5670-8E6205B50636}"/>
          </ac:spMkLst>
        </pc:spChg>
        <pc:spChg chg="add del mod modVis">
          <ac:chgData name="Muchahary, Frankle" userId="0f2bf491-0617-4378-90b8-89af8fa381b9" providerId="ADAL" clId="{8E3D5D9D-CC05-4C7B-9A9C-2FFB7784C389}" dt="2024-02-07T03:36:47.213" v="24409"/>
          <ac:spMkLst>
            <pc:docMk/>
            <pc:sldMk cId="1551847677" sldId="478"/>
            <ac:spMk id="75" creationId="{9E2753BB-0C28-AD17-5442-4A8E40361883}"/>
          </ac:spMkLst>
        </pc:spChg>
        <pc:spChg chg="add del mod replST">
          <ac:chgData name="Muchahary, Frankle" userId="0f2bf491-0617-4378-90b8-89af8fa381b9" providerId="ADAL" clId="{8E3D5D9D-CC05-4C7B-9A9C-2FFB7784C389}" dt="2024-02-07T03:49:16.160" v="26699"/>
          <ac:spMkLst>
            <pc:docMk/>
            <pc:sldMk cId="1551847677" sldId="478"/>
            <ac:spMk id="87" creationId="{DE865BC9-632D-215E-CF2B-41C4C5B18758}"/>
          </ac:spMkLst>
        </pc:spChg>
        <pc:spChg chg="add del mod modVis">
          <ac:chgData name="Muchahary, Frankle" userId="0f2bf491-0617-4378-90b8-89af8fa381b9" providerId="ADAL" clId="{8E3D5D9D-CC05-4C7B-9A9C-2FFB7784C389}" dt="2024-02-07T03:48:03.190" v="25821"/>
          <ac:spMkLst>
            <pc:docMk/>
            <pc:sldMk cId="1551847677" sldId="478"/>
            <ac:spMk id="88" creationId="{DFD57375-ECA0-D2BC-FBF2-B0C90D8AB348}"/>
          </ac:spMkLst>
        </pc:spChg>
        <pc:spChg chg="add del mod replST">
          <ac:chgData name="Muchahary, Frankle" userId="0f2bf491-0617-4378-90b8-89af8fa381b9" providerId="ADAL" clId="{8E3D5D9D-CC05-4C7B-9A9C-2FFB7784C389}" dt="2024-02-07T03:48:18.211" v="26033"/>
          <ac:spMkLst>
            <pc:docMk/>
            <pc:sldMk cId="1551847677" sldId="478"/>
            <ac:spMk id="89" creationId="{3F7013AB-4570-0DE8-F482-D236880D9C25}"/>
          </ac:spMkLst>
        </pc:spChg>
        <pc:spChg chg="add del mod replST">
          <ac:chgData name="Muchahary, Frankle" userId="0f2bf491-0617-4378-90b8-89af8fa381b9" providerId="ADAL" clId="{8E3D5D9D-CC05-4C7B-9A9C-2FFB7784C389}" dt="2024-02-07T03:48:18.216" v="26037"/>
          <ac:spMkLst>
            <pc:docMk/>
            <pc:sldMk cId="1551847677" sldId="478"/>
            <ac:spMk id="90" creationId="{E191CFEC-D017-91FC-E7CE-79D2E1945F9B}"/>
          </ac:spMkLst>
        </pc:spChg>
        <pc:spChg chg="add mod replST">
          <ac:chgData name="Muchahary, Frankle" userId="0f2bf491-0617-4378-90b8-89af8fa381b9" providerId="ADAL" clId="{8E3D5D9D-CC05-4C7B-9A9C-2FFB7784C389}" dt="2024-02-08T01:33:15.745" v="49603"/>
          <ac:spMkLst>
            <pc:docMk/>
            <pc:sldMk cId="1551847677" sldId="478"/>
            <ac:spMk id="91" creationId="{5249E503-E607-B2F9-2DC9-3003A0B56B41}"/>
          </ac:spMkLst>
        </pc:spChg>
        <pc:spChg chg="add mod replST">
          <ac:chgData name="Muchahary, Frankle" userId="0f2bf491-0617-4378-90b8-89af8fa381b9" providerId="ADAL" clId="{8E3D5D9D-CC05-4C7B-9A9C-2FFB7784C389}" dt="2024-02-08T01:33:15.746" v="49604"/>
          <ac:spMkLst>
            <pc:docMk/>
            <pc:sldMk cId="1551847677" sldId="478"/>
            <ac:spMk id="92" creationId="{E65A4E40-5C75-B733-7630-22FA07F68E6C}"/>
          </ac:spMkLst>
        </pc:spChg>
        <pc:spChg chg="add del mod replST">
          <ac:chgData name="Muchahary, Frankle" userId="0f2bf491-0617-4378-90b8-89af8fa381b9" providerId="ADAL" clId="{8E3D5D9D-CC05-4C7B-9A9C-2FFB7784C389}" dt="2024-02-07T03:49:35.312" v="27341"/>
          <ac:spMkLst>
            <pc:docMk/>
            <pc:sldMk cId="1551847677" sldId="478"/>
            <ac:spMk id="93" creationId="{D375476F-6D32-7AD9-CF56-4F6C527D47BE}"/>
          </ac:spMkLst>
        </pc:spChg>
        <pc:spChg chg="add mod replST">
          <ac:chgData name="Muchahary, Frankle" userId="0f2bf491-0617-4378-90b8-89af8fa381b9" providerId="ADAL" clId="{8E3D5D9D-CC05-4C7B-9A9C-2FFB7784C389}" dt="2024-02-08T01:33:15.745" v="49600"/>
          <ac:spMkLst>
            <pc:docMk/>
            <pc:sldMk cId="1551847677" sldId="478"/>
            <ac:spMk id="94" creationId="{82E3010E-1F9B-C04B-2835-A296ACB887D0}"/>
          </ac:spMkLst>
        </pc:spChg>
        <pc:spChg chg="add del mod replST">
          <ac:chgData name="Muchahary, Frankle" userId="0f2bf491-0617-4378-90b8-89af8fa381b9" providerId="ADAL" clId="{8E3D5D9D-CC05-4C7B-9A9C-2FFB7784C389}" dt="2024-02-07T04:15:23.819" v="31676"/>
          <ac:spMkLst>
            <pc:docMk/>
            <pc:sldMk cId="1551847677" sldId="478"/>
            <ac:spMk id="95" creationId="{1FD359EE-A1D5-53D8-1355-B5F4F3661780}"/>
          </ac:spMkLst>
        </pc:spChg>
        <pc:spChg chg="add del mod ord replST">
          <ac:chgData name="Muchahary, Frankle" userId="0f2bf491-0617-4378-90b8-89af8fa381b9" providerId="ADAL" clId="{8E3D5D9D-CC05-4C7B-9A9C-2FFB7784C389}" dt="2024-02-07T04:13:11.806" v="28627"/>
          <ac:spMkLst>
            <pc:docMk/>
            <pc:sldMk cId="1551847677" sldId="478"/>
            <ac:spMk id="96" creationId="{9F635E3E-4147-C3FB-B661-2D04EE997379}"/>
          </ac:spMkLst>
        </pc:spChg>
        <pc:spChg chg="add del mod replST">
          <ac:chgData name="Muchahary, Frankle" userId="0f2bf491-0617-4378-90b8-89af8fa381b9" providerId="ADAL" clId="{8E3D5D9D-CC05-4C7B-9A9C-2FFB7784C389}" dt="2024-02-07T04:15:23.820" v="31677"/>
          <ac:spMkLst>
            <pc:docMk/>
            <pc:sldMk cId="1551847677" sldId="478"/>
            <ac:spMk id="97" creationId="{C13156D5-755C-60D5-36B9-6AF4DB7218B6}"/>
          </ac:spMkLst>
        </pc:spChg>
        <pc:spChg chg="add del mod replST">
          <ac:chgData name="Muchahary, Frankle" userId="0f2bf491-0617-4378-90b8-89af8fa381b9" providerId="ADAL" clId="{8E3D5D9D-CC05-4C7B-9A9C-2FFB7784C389}" dt="2024-02-07T04:15:23.822" v="31678"/>
          <ac:spMkLst>
            <pc:docMk/>
            <pc:sldMk cId="1551847677" sldId="478"/>
            <ac:spMk id="98" creationId="{F0C83B06-C615-67BC-8CC1-779912C0EC5A}"/>
          </ac:spMkLst>
        </pc:spChg>
        <pc:spChg chg="add del mod modVis">
          <ac:chgData name="Muchahary, Frankle" userId="0f2bf491-0617-4378-90b8-89af8fa381b9" providerId="ADAL" clId="{8E3D5D9D-CC05-4C7B-9A9C-2FFB7784C389}" dt="2024-02-07T03:48:08.851" v="25906"/>
          <ac:spMkLst>
            <pc:docMk/>
            <pc:sldMk cId="1551847677" sldId="478"/>
            <ac:spMk id="101" creationId="{76243713-6364-59BD-10B7-B61B4CD23DE1}"/>
          </ac:spMkLst>
        </pc:spChg>
        <pc:spChg chg="add del mod modVis">
          <ac:chgData name="Muchahary, Frankle" userId="0f2bf491-0617-4378-90b8-89af8fa381b9" providerId="ADAL" clId="{8E3D5D9D-CC05-4C7B-9A9C-2FFB7784C389}" dt="2024-02-07T03:48:12.456" v="25991"/>
          <ac:spMkLst>
            <pc:docMk/>
            <pc:sldMk cId="1551847677" sldId="478"/>
            <ac:spMk id="103" creationId="{B8DCD7C9-0216-33E3-E49A-A91EA1A8165F}"/>
          </ac:spMkLst>
        </pc:spChg>
        <pc:spChg chg="add del mod modVis">
          <ac:chgData name="Muchahary, Frankle" userId="0f2bf491-0617-4378-90b8-89af8fa381b9" providerId="ADAL" clId="{8E3D5D9D-CC05-4C7B-9A9C-2FFB7784C389}" dt="2024-02-07T03:48:18.272" v="26080"/>
          <ac:spMkLst>
            <pc:docMk/>
            <pc:sldMk cId="1551847677" sldId="478"/>
            <ac:spMk id="105" creationId="{68A58FA9-10A1-7CA0-6A4C-2A3CA61445A2}"/>
          </ac:spMkLst>
        </pc:spChg>
        <pc:spChg chg="add del mod modVis">
          <ac:chgData name="Muchahary, Frankle" userId="0f2bf491-0617-4378-90b8-89af8fa381b9" providerId="ADAL" clId="{8E3D5D9D-CC05-4C7B-9A9C-2FFB7784C389}" dt="2024-02-07T03:48:51.680" v="26161"/>
          <ac:spMkLst>
            <pc:docMk/>
            <pc:sldMk cId="1551847677" sldId="478"/>
            <ac:spMk id="107" creationId="{514888C5-46AE-06D2-DC6F-7E882D640E91}"/>
          </ac:spMkLst>
        </pc:spChg>
        <pc:spChg chg="add del mod replST">
          <ac:chgData name="Muchahary, Frankle" userId="0f2bf491-0617-4378-90b8-89af8fa381b9" providerId="ADAL" clId="{8E3D5D9D-CC05-4C7B-9A9C-2FFB7784C389}" dt="2024-02-07T03:49:16.165" v="26702"/>
          <ac:spMkLst>
            <pc:docMk/>
            <pc:sldMk cId="1551847677" sldId="478"/>
            <ac:spMk id="109" creationId="{B3FC73CD-ADFE-73BE-A793-B8BC87A395EB}"/>
          </ac:spMkLst>
        </pc:spChg>
        <pc:spChg chg="add del mod modVis">
          <ac:chgData name="Muchahary, Frankle" userId="0f2bf491-0617-4378-90b8-89af8fa381b9" providerId="ADAL" clId="{8E3D5D9D-CC05-4C7B-9A9C-2FFB7784C389}" dt="2024-02-07T03:48:54.114" v="26249"/>
          <ac:spMkLst>
            <pc:docMk/>
            <pc:sldMk cId="1551847677" sldId="478"/>
            <ac:spMk id="110" creationId="{E93ECC78-6417-0A7F-8997-858618852A56}"/>
          </ac:spMkLst>
        </pc:spChg>
        <pc:spChg chg="add del mod replST">
          <ac:chgData name="Muchahary, Frankle" userId="0f2bf491-0617-4378-90b8-89af8fa381b9" providerId="ADAL" clId="{8E3D5D9D-CC05-4C7B-9A9C-2FFB7784C389}" dt="2024-02-07T03:49:16.170" v="26706"/>
          <ac:spMkLst>
            <pc:docMk/>
            <pc:sldMk cId="1551847677" sldId="478"/>
            <ac:spMk id="112" creationId="{DEA07182-4C0E-0E58-61AD-1B112C2479FD}"/>
          </ac:spMkLst>
        </pc:spChg>
        <pc:spChg chg="add del mod modVis">
          <ac:chgData name="Muchahary, Frankle" userId="0f2bf491-0617-4378-90b8-89af8fa381b9" providerId="ADAL" clId="{8E3D5D9D-CC05-4C7B-9A9C-2FFB7784C389}" dt="2024-02-07T03:48:55.930" v="26339"/>
          <ac:spMkLst>
            <pc:docMk/>
            <pc:sldMk cId="1551847677" sldId="478"/>
            <ac:spMk id="113" creationId="{0040AAA0-A9FA-D5B4-D51C-16C303121951}"/>
          </ac:spMkLst>
        </pc:spChg>
        <pc:spChg chg="add del mod replST">
          <ac:chgData name="Muchahary, Frankle" userId="0f2bf491-0617-4378-90b8-89af8fa381b9" providerId="ADAL" clId="{8E3D5D9D-CC05-4C7B-9A9C-2FFB7784C389}" dt="2024-02-07T03:49:16.174" v="26709"/>
          <ac:spMkLst>
            <pc:docMk/>
            <pc:sldMk cId="1551847677" sldId="478"/>
            <ac:spMk id="115" creationId="{357864F6-A399-C65F-08B5-ECF6DCA6F7CA}"/>
          </ac:spMkLst>
        </pc:spChg>
        <pc:spChg chg="add del mod modVis">
          <ac:chgData name="Muchahary, Frankle" userId="0f2bf491-0617-4378-90b8-89af8fa381b9" providerId="ADAL" clId="{8E3D5D9D-CC05-4C7B-9A9C-2FFB7784C389}" dt="2024-02-07T03:48:58.842" v="26445"/>
          <ac:spMkLst>
            <pc:docMk/>
            <pc:sldMk cId="1551847677" sldId="478"/>
            <ac:spMk id="116" creationId="{DAE18FA3-9869-5037-7BF3-0D2DC5CD8C4B}"/>
          </ac:spMkLst>
        </pc:spChg>
        <pc:spChg chg="add del mod replST">
          <ac:chgData name="Muchahary, Frankle" userId="0f2bf491-0617-4378-90b8-89af8fa381b9" providerId="ADAL" clId="{8E3D5D9D-CC05-4C7B-9A9C-2FFB7784C389}" dt="2024-02-07T03:49:16.176" v="26711"/>
          <ac:spMkLst>
            <pc:docMk/>
            <pc:sldMk cId="1551847677" sldId="478"/>
            <ac:spMk id="118" creationId="{93B39358-319C-5B02-FB4D-B73B5026F7B5}"/>
          </ac:spMkLst>
        </pc:spChg>
        <pc:spChg chg="add del mod modVis">
          <ac:chgData name="Muchahary, Frankle" userId="0f2bf491-0617-4378-90b8-89af8fa381b9" providerId="ADAL" clId="{8E3D5D9D-CC05-4C7B-9A9C-2FFB7784C389}" dt="2024-02-07T03:49:01.039" v="26569"/>
          <ac:spMkLst>
            <pc:docMk/>
            <pc:sldMk cId="1551847677" sldId="478"/>
            <ac:spMk id="119" creationId="{BF5F69FE-CDE9-C402-02F5-70F8DE988712}"/>
          </ac:spMkLst>
        </pc:spChg>
        <pc:spChg chg="add del mod modVis">
          <ac:chgData name="Muchahary, Frankle" userId="0f2bf491-0617-4378-90b8-89af8fa381b9" providerId="ADAL" clId="{8E3D5D9D-CC05-4C7B-9A9C-2FFB7784C389}" dt="2024-02-07T03:49:13.460" v="26690"/>
          <ac:spMkLst>
            <pc:docMk/>
            <pc:sldMk cId="1551847677" sldId="478"/>
            <ac:spMk id="121" creationId="{C025EAFA-997D-D680-AB58-8FFF31C60923}"/>
          </ac:spMkLst>
        </pc:spChg>
        <pc:spChg chg="add mod replST">
          <ac:chgData name="Muchahary, Frankle" userId="0f2bf491-0617-4378-90b8-89af8fa381b9" providerId="ADAL" clId="{8E3D5D9D-CC05-4C7B-9A9C-2FFB7784C389}" dt="2024-02-08T01:33:15.741" v="49595"/>
          <ac:spMkLst>
            <pc:docMk/>
            <pc:sldMk cId="1551847677" sldId="478"/>
            <ac:spMk id="124" creationId="{276F5396-C52A-E6AC-C7AB-D1EEE92C835E}"/>
          </ac:spMkLst>
        </pc:spChg>
        <pc:spChg chg="add del mod modVis">
          <ac:chgData name="Muchahary, Frankle" userId="0f2bf491-0617-4378-90b8-89af8fa381b9" providerId="ADAL" clId="{8E3D5D9D-CC05-4C7B-9A9C-2FFB7784C389}" dt="2024-02-07T03:49:22.886" v="27096"/>
          <ac:spMkLst>
            <pc:docMk/>
            <pc:sldMk cId="1551847677" sldId="478"/>
            <ac:spMk id="125" creationId="{482FD7B0-5CD4-3EB7-BE84-ACC0ABCA3538}"/>
          </ac:spMkLst>
        </pc:spChg>
        <pc:spChg chg="add mod replST">
          <ac:chgData name="Muchahary, Frankle" userId="0f2bf491-0617-4378-90b8-89af8fa381b9" providerId="ADAL" clId="{8E3D5D9D-CC05-4C7B-9A9C-2FFB7784C389}" dt="2024-02-08T01:33:15.741" v="49596"/>
          <ac:spMkLst>
            <pc:docMk/>
            <pc:sldMk cId="1551847677" sldId="478"/>
            <ac:spMk id="126" creationId="{95E9B8A4-60CC-F2F9-3FBB-8D4E9603E3B8}"/>
          </ac:spMkLst>
        </pc:spChg>
        <pc:spChg chg="add mod replST">
          <ac:chgData name="Muchahary, Frankle" userId="0f2bf491-0617-4378-90b8-89af8fa381b9" providerId="ADAL" clId="{8E3D5D9D-CC05-4C7B-9A9C-2FFB7784C389}" dt="2024-02-08T01:33:15.741" v="49597"/>
          <ac:spMkLst>
            <pc:docMk/>
            <pc:sldMk cId="1551847677" sldId="478"/>
            <ac:spMk id="127" creationId="{3E36FC66-98C4-EB36-EAC3-B01DE7704560}"/>
          </ac:spMkLst>
        </pc:spChg>
        <pc:spChg chg="add mod replST">
          <ac:chgData name="Muchahary, Frankle" userId="0f2bf491-0617-4378-90b8-89af8fa381b9" providerId="ADAL" clId="{8E3D5D9D-CC05-4C7B-9A9C-2FFB7784C389}" dt="2024-02-08T01:33:15.741" v="49598"/>
          <ac:spMkLst>
            <pc:docMk/>
            <pc:sldMk cId="1551847677" sldId="478"/>
            <ac:spMk id="128" creationId="{46E039E3-32F1-FF6E-79B5-3F024BC4357C}"/>
          </ac:spMkLst>
        </pc:spChg>
        <pc:spChg chg="add mod replST">
          <ac:chgData name="Muchahary, Frankle" userId="0f2bf491-0617-4378-90b8-89af8fa381b9" providerId="ADAL" clId="{8E3D5D9D-CC05-4C7B-9A9C-2FFB7784C389}" dt="2024-02-08T01:33:15.744" v="49599"/>
          <ac:spMkLst>
            <pc:docMk/>
            <pc:sldMk cId="1551847677" sldId="478"/>
            <ac:spMk id="129" creationId="{C13D4A1B-62CE-365A-7A65-59B180393B8F}"/>
          </ac:spMkLst>
        </pc:spChg>
        <pc:spChg chg="add del mod modVis">
          <ac:chgData name="Muchahary, Frankle" userId="0f2bf491-0617-4378-90b8-89af8fa381b9" providerId="ADAL" clId="{8E3D5D9D-CC05-4C7B-9A9C-2FFB7784C389}" dt="2024-02-07T03:49:23.049" v="27217"/>
          <ac:spMkLst>
            <pc:docMk/>
            <pc:sldMk cId="1551847677" sldId="478"/>
            <ac:spMk id="131" creationId="{6A2FE57A-2903-3C3D-4C24-6579CEE7D997}"/>
          </ac:spMkLst>
        </pc:spChg>
        <pc:spChg chg="add del mod modVis">
          <ac:chgData name="Muchahary, Frankle" userId="0f2bf491-0617-4378-90b8-89af8fa381b9" providerId="ADAL" clId="{8E3D5D9D-CC05-4C7B-9A9C-2FFB7784C389}" dt="2024-02-07T03:49:28.730" v="27338"/>
          <ac:spMkLst>
            <pc:docMk/>
            <pc:sldMk cId="1551847677" sldId="478"/>
            <ac:spMk id="133" creationId="{7CCB7BFD-A847-07EE-752C-846D4C49D4CB}"/>
          </ac:spMkLst>
        </pc:spChg>
        <pc:spChg chg="add del mod modVis">
          <ac:chgData name="Muchahary, Frankle" userId="0f2bf491-0617-4378-90b8-89af8fa381b9" providerId="ADAL" clId="{8E3D5D9D-CC05-4C7B-9A9C-2FFB7784C389}" dt="2024-02-07T03:49:35.520" v="27466"/>
          <ac:spMkLst>
            <pc:docMk/>
            <pc:sldMk cId="1551847677" sldId="478"/>
            <ac:spMk id="135" creationId="{7DE98839-208B-8D19-AE46-385DE7363C3A}"/>
          </ac:spMkLst>
        </pc:spChg>
        <pc:spChg chg="add del mod replST">
          <ac:chgData name="Muchahary, Frankle" userId="0f2bf491-0617-4378-90b8-89af8fa381b9" providerId="ADAL" clId="{8E3D5D9D-CC05-4C7B-9A9C-2FFB7784C389}" dt="2024-02-07T03:49:43.333" v="27657"/>
          <ac:spMkLst>
            <pc:docMk/>
            <pc:sldMk cId="1551847677" sldId="478"/>
            <ac:spMk id="137" creationId="{364AFFC1-6C00-A95C-F537-B68A8FE3A534}"/>
          </ac:spMkLst>
        </pc:spChg>
        <pc:spChg chg="add del mod replST">
          <ac:chgData name="Muchahary, Frankle" userId="0f2bf491-0617-4378-90b8-89af8fa381b9" providerId="ADAL" clId="{8E3D5D9D-CC05-4C7B-9A9C-2FFB7784C389}" dt="2024-02-07T03:49:40.267" v="27606"/>
          <ac:spMkLst>
            <pc:docMk/>
            <pc:sldMk cId="1551847677" sldId="478"/>
            <ac:spMk id="138" creationId="{5DB5C497-7B76-5174-D08F-9765D648E8FE}"/>
          </ac:spMkLst>
        </pc:spChg>
        <pc:spChg chg="add del mod modVis">
          <ac:chgData name="Muchahary, Frankle" userId="0f2bf491-0617-4378-90b8-89af8fa381b9" providerId="ADAL" clId="{8E3D5D9D-CC05-4C7B-9A9C-2FFB7784C389}" dt="2024-02-07T03:49:40.326" v="27654"/>
          <ac:spMkLst>
            <pc:docMk/>
            <pc:sldMk cId="1551847677" sldId="478"/>
            <ac:spMk id="139" creationId="{31146389-3C3E-3B32-39A9-8FB2B5EB28AB}"/>
          </ac:spMkLst>
        </pc:spChg>
        <pc:spChg chg="add del mod modVis">
          <ac:chgData name="Muchahary, Frankle" userId="0f2bf491-0617-4378-90b8-89af8fa381b9" providerId="ADAL" clId="{8E3D5D9D-CC05-4C7B-9A9C-2FFB7784C389}" dt="2024-02-07T03:49:43.558" v="27778"/>
          <ac:spMkLst>
            <pc:docMk/>
            <pc:sldMk cId="1551847677" sldId="478"/>
            <ac:spMk id="141" creationId="{FDB15FFD-9E9A-AC2F-BB04-725F4A232DFD}"/>
          </ac:spMkLst>
        </pc:spChg>
        <pc:spChg chg="add del mod modVis">
          <ac:chgData name="Muchahary, Frankle" userId="0f2bf491-0617-4378-90b8-89af8fa381b9" providerId="ADAL" clId="{8E3D5D9D-CC05-4C7B-9A9C-2FFB7784C389}" dt="2024-02-07T04:13:01.070" v="28371"/>
          <ac:spMkLst>
            <pc:docMk/>
            <pc:sldMk cId="1551847677" sldId="478"/>
            <ac:spMk id="146" creationId="{8A0F0305-E29D-3276-C520-E06107D1977B}"/>
          </ac:spMkLst>
        </pc:spChg>
        <pc:spChg chg="add del mod modVis">
          <ac:chgData name="Muchahary, Frankle" userId="0f2bf491-0617-4378-90b8-89af8fa381b9" providerId="ADAL" clId="{8E3D5D9D-CC05-4C7B-9A9C-2FFB7784C389}" dt="2024-02-07T04:13:03.848" v="28468"/>
          <ac:spMkLst>
            <pc:docMk/>
            <pc:sldMk cId="1551847677" sldId="478"/>
            <ac:spMk id="148" creationId="{13B32E11-6412-9F8B-CB16-34EA7756C18A}"/>
          </ac:spMkLst>
        </pc:spChg>
        <pc:spChg chg="add del mod modVis">
          <ac:chgData name="Muchahary, Frankle" userId="0f2bf491-0617-4378-90b8-89af8fa381b9" providerId="ADAL" clId="{8E3D5D9D-CC05-4C7B-9A9C-2FFB7784C389}" dt="2024-02-07T04:13:10.016" v="28563"/>
          <ac:spMkLst>
            <pc:docMk/>
            <pc:sldMk cId="1551847677" sldId="478"/>
            <ac:spMk id="150" creationId="{2E78F239-CCDE-E349-B421-53710052ADFE}"/>
          </ac:spMkLst>
        </pc:spChg>
        <pc:spChg chg="add del mod modVis">
          <ac:chgData name="Muchahary, Frankle" userId="0f2bf491-0617-4378-90b8-89af8fa381b9" providerId="ADAL" clId="{8E3D5D9D-CC05-4C7B-9A9C-2FFB7784C389}" dt="2024-02-07T04:13:11.863" v="28674"/>
          <ac:spMkLst>
            <pc:docMk/>
            <pc:sldMk cId="1551847677" sldId="478"/>
            <ac:spMk id="152" creationId="{8EDECE8A-BE3D-ECE4-6D6E-BA6668EA56B4}"/>
          </ac:spMkLst>
        </pc:spChg>
        <pc:spChg chg="add del mod modVis">
          <ac:chgData name="Muchahary, Frankle" userId="0f2bf491-0617-4378-90b8-89af8fa381b9" providerId="ADAL" clId="{8E3D5D9D-CC05-4C7B-9A9C-2FFB7784C389}" dt="2024-02-07T04:13:16.715" v="28766"/>
          <ac:spMkLst>
            <pc:docMk/>
            <pc:sldMk cId="1551847677" sldId="478"/>
            <ac:spMk id="154" creationId="{7ABE41CB-7E40-41E7-87C0-38389C40F5AC}"/>
          </ac:spMkLst>
        </pc:spChg>
        <pc:spChg chg="add del mod modVis">
          <ac:chgData name="Muchahary, Frankle" userId="0f2bf491-0617-4378-90b8-89af8fa381b9" providerId="ADAL" clId="{8E3D5D9D-CC05-4C7B-9A9C-2FFB7784C389}" dt="2024-02-07T04:13:20.687" v="28856"/>
          <ac:spMkLst>
            <pc:docMk/>
            <pc:sldMk cId="1551847677" sldId="478"/>
            <ac:spMk id="156" creationId="{607777C3-F4EA-2A32-34CC-B3FE73620BDC}"/>
          </ac:spMkLst>
        </pc:spChg>
        <pc:spChg chg="add del mod replST">
          <ac:chgData name="Muchahary, Frankle" userId="0f2bf491-0617-4378-90b8-89af8fa381b9" providerId="ADAL" clId="{8E3D5D9D-CC05-4C7B-9A9C-2FFB7784C389}" dt="2024-02-07T04:15:23.823" v="31679"/>
          <ac:spMkLst>
            <pc:docMk/>
            <pc:sldMk cId="1551847677" sldId="478"/>
            <ac:spMk id="158" creationId="{7888747D-6602-727D-4081-37B352458FFA}"/>
          </ac:spMkLst>
        </pc:spChg>
        <pc:spChg chg="add del mod modVis">
          <ac:chgData name="Muchahary, Frankle" userId="0f2bf491-0617-4378-90b8-89af8fa381b9" providerId="ADAL" clId="{8E3D5D9D-CC05-4C7B-9A9C-2FFB7784C389}" dt="2024-02-07T04:13:25.807" v="28951"/>
          <ac:spMkLst>
            <pc:docMk/>
            <pc:sldMk cId="1551847677" sldId="478"/>
            <ac:spMk id="159" creationId="{7B1999C6-1C35-154C-92D5-60F29AD76856}"/>
          </ac:spMkLst>
        </pc:spChg>
        <pc:spChg chg="add del mod modVis">
          <ac:chgData name="Muchahary, Frankle" userId="0f2bf491-0617-4378-90b8-89af8fa381b9" providerId="ADAL" clId="{8E3D5D9D-CC05-4C7B-9A9C-2FFB7784C389}" dt="2024-02-07T04:13:29.526" v="29047"/>
          <ac:spMkLst>
            <pc:docMk/>
            <pc:sldMk cId="1551847677" sldId="478"/>
            <ac:spMk id="161" creationId="{DEDF1F5B-AC7A-8892-7A3D-4413986E2EFF}"/>
          </ac:spMkLst>
        </pc:spChg>
        <pc:spChg chg="add del mod replST">
          <ac:chgData name="Muchahary, Frankle" userId="0f2bf491-0617-4378-90b8-89af8fa381b9" providerId="ADAL" clId="{8E3D5D9D-CC05-4C7B-9A9C-2FFB7784C389}" dt="2024-02-07T04:15:23.823" v="31680"/>
          <ac:spMkLst>
            <pc:docMk/>
            <pc:sldMk cId="1551847677" sldId="478"/>
            <ac:spMk id="163" creationId="{68014B76-4D50-DA3E-C4C6-79ED642458DB}"/>
          </ac:spMkLst>
        </pc:spChg>
        <pc:spChg chg="add del mod modVis">
          <ac:chgData name="Muchahary, Frankle" userId="0f2bf491-0617-4378-90b8-89af8fa381b9" providerId="ADAL" clId="{8E3D5D9D-CC05-4C7B-9A9C-2FFB7784C389}" dt="2024-02-07T04:13:39.532" v="29144"/>
          <ac:spMkLst>
            <pc:docMk/>
            <pc:sldMk cId="1551847677" sldId="478"/>
            <ac:spMk id="164" creationId="{F6D81FDC-E64D-632E-FD09-9A6699B443E0}"/>
          </ac:spMkLst>
        </pc:spChg>
        <pc:spChg chg="add del mod modVis">
          <ac:chgData name="Muchahary, Frankle" userId="0f2bf491-0617-4378-90b8-89af8fa381b9" providerId="ADAL" clId="{8E3D5D9D-CC05-4C7B-9A9C-2FFB7784C389}" dt="2024-02-07T04:13:43.009" v="29242"/>
          <ac:spMkLst>
            <pc:docMk/>
            <pc:sldMk cId="1551847677" sldId="478"/>
            <ac:spMk id="166" creationId="{387D574B-0955-1D45-46DE-3AEA7DCA8A01}"/>
          </ac:spMkLst>
        </pc:spChg>
        <pc:spChg chg="add del mod modVis">
          <ac:chgData name="Muchahary, Frankle" userId="0f2bf491-0617-4378-90b8-89af8fa381b9" providerId="ADAL" clId="{8E3D5D9D-CC05-4C7B-9A9C-2FFB7784C389}" dt="2024-02-07T04:14:00.205" v="29362"/>
          <ac:spMkLst>
            <pc:docMk/>
            <pc:sldMk cId="1551847677" sldId="478"/>
            <ac:spMk id="168" creationId="{7FF006D4-FF9D-1D64-3BBC-379A5178CE56}"/>
          </ac:spMkLst>
        </pc:spChg>
        <pc:spChg chg="add del mod modVis">
          <ac:chgData name="Muchahary, Frankle" userId="0f2bf491-0617-4378-90b8-89af8fa381b9" providerId="ADAL" clId="{8E3D5D9D-CC05-4C7B-9A9C-2FFB7784C389}" dt="2024-02-07T04:14:35.091" v="29711"/>
          <ac:spMkLst>
            <pc:docMk/>
            <pc:sldMk cId="1551847677" sldId="478"/>
            <ac:spMk id="175" creationId="{3B597A30-ADFC-A5FA-9224-1D0756FCB1DF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04" v="30548"/>
          <ac:spMkLst>
            <pc:docMk/>
            <pc:sldMk cId="1551847677" sldId="478"/>
            <ac:spMk id="178" creationId="{DECB2665-2231-DF57-8800-FD61CF293A53}"/>
          </ac:spMkLst>
        </pc:spChg>
        <pc:spChg chg="add del mod modVis">
          <ac:chgData name="Muchahary, Frankle" userId="0f2bf491-0617-4378-90b8-89af8fa381b9" providerId="ADAL" clId="{8E3D5D9D-CC05-4C7B-9A9C-2FFB7784C389}" dt="2024-02-07T04:14:45.973" v="30519"/>
          <ac:spMkLst>
            <pc:docMk/>
            <pc:sldMk cId="1551847677" sldId="478"/>
            <ac:spMk id="179" creationId="{6DF4A816-B7FE-2304-CA86-8F473C998D39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02" v="30546"/>
          <ac:spMkLst>
            <pc:docMk/>
            <pc:sldMk cId="1551847677" sldId="478"/>
            <ac:spMk id="180" creationId="{043A4F1A-69BB-89A3-235C-05E39A96E6AA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10" v="30556"/>
          <ac:spMkLst>
            <pc:docMk/>
            <pc:sldMk cId="1551847677" sldId="478"/>
            <ac:spMk id="181" creationId="{46211A02-6AA8-5752-E068-E01857178AC4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08" v="30554"/>
          <ac:spMkLst>
            <pc:docMk/>
            <pc:sldMk cId="1551847677" sldId="478"/>
            <ac:spMk id="182" creationId="{51807F98-0840-DA60-05E4-DE63AEE747B7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16" v="30564"/>
          <ac:spMkLst>
            <pc:docMk/>
            <pc:sldMk cId="1551847677" sldId="478"/>
            <ac:spMk id="183" creationId="{3455300F-4CE0-5202-C03C-1926665A7498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14" v="30562"/>
          <ac:spMkLst>
            <pc:docMk/>
            <pc:sldMk cId="1551847677" sldId="478"/>
            <ac:spMk id="184" creationId="{49354F35-B08B-2B98-7BC8-C085BA9B162A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21" v="30572"/>
          <ac:spMkLst>
            <pc:docMk/>
            <pc:sldMk cId="1551847677" sldId="478"/>
            <ac:spMk id="185" creationId="{41BAA65C-1138-5EDC-B758-0DFA6EF489CC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20" v="30570"/>
          <ac:spMkLst>
            <pc:docMk/>
            <pc:sldMk cId="1551847677" sldId="478"/>
            <ac:spMk id="186" creationId="{3D858D7C-72C8-F539-D392-F5824CE663DE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26" v="30580"/>
          <ac:spMkLst>
            <pc:docMk/>
            <pc:sldMk cId="1551847677" sldId="478"/>
            <ac:spMk id="187" creationId="{54A2B5BD-6D11-2FF0-7FB8-FB84D9E49B8A}"/>
          </ac:spMkLst>
        </pc:spChg>
        <pc:spChg chg="add del mod ord replST">
          <ac:chgData name="Muchahary, Frankle" userId="0f2bf491-0617-4378-90b8-89af8fa381b9" providerId="ADAL" clId="{8E3D5D9D-CC05-4C7B-9A9C-2FFB7784C389}" dt="2024-02-07T04:14:48.925" v="30578"/>
          <ac:spMkLst>
            <pc:docMk/>
            <pc:sldMk cId="1551847677" sldId="478"/>
            <ac:spMk id="188" creationId="{82BC9294-03CD-72D5-365F-D77462CB9FB5}"/>
          </ac:spMkLst>
        </pc:spChg>
        <pc:spChg chg="add del mod modVis">
          <ac:chgData name="Muchahary, Frankle" userId="0f2bf491-0617-4378-90b8-89af8fa381b9" providerId="ADAL" clId="{8E3D5D9D-CC05-4C7B-9A9C-2FFB7784C389}" dt="2024-02-07T04:15:00.243" v="30946"/>
          <ac:spMkLst>
            <pc:docMk/>
            <pc:sldMk cId="1551847677" sldId="478"/>
            <ac:spMk id="193" creationId="{AFF322DC-5C2A-AF27-048F-E4CC13C665D4}"/>
          </ac:spMkLst>
        </pc:spChg>
        <pc:spChg chg="add del mod modVis">
          <ac:chgData name="Muchahary, Frankle" userId="0f2bf491-0617-4378-90b8-89af8fa381b9" providerId="ADAL" clId="{8E3D5D9D-CC05-4C7B-9A9C-2FFB7784C389}" dt="2024-02-07T04:15:39.993" v="31794"/>
          <ac:spMkLst>
            <pc:docMk/>
            <pc:sldMk cId="1551847677" sldId="478"/>
            <ac:spMk id="206" creationId="{8A73C821-E120-56D4-8EF9-E6E090CE9B70}"/>
          </ac:spMkLst>
        </pc:spChg>
        <pc:spChg chg="add del mod modVis">
          <ac:chgData name="Muchahary, Frankle" userId="0f2bf491-0617-4378-90b8-89af8fa381b9" providerId="ADAL" clId="{8E3D5D9D-CC05-4C7B-9A9C-2FFB7784C389}" dt="2024-02-07T04:15:41.203" v="31868"/>
          <ac:spMkLst>
            <pc:docMk/>
            <pc:sldMk cId="1551847677" sldId="478"/>
            <ac:spMk id="208" creationId="{CC016B01-2B80-D6F2-3258-4F0A87C48B1A}"/>
          </ac:spMkLst>
        </pc:spChg>
        <pc:spChg chg="add del mod modVis">
          <ac:chgData name="Muchahary, Frankle" userId="0f2bf491-0617-4378-90b8-89af8fa381b9" providerId="ADAL" clId="{8E3D5D9D-CC05-4C7B-9A9C-2FFB7784C389}" dt="2024-02-07T04:15:45.967" v="31932"/>
          <ac:spMkLst>
            <pc:docMk/>
            <pc:sldMk cId="1551847677" sldId="478"/>
            <ac:spMk id="210" creationId="{4296F924-4A13-3F12-C9EE-63B8932B2DC8}"/>
          </ac:spMkLst>
        </pc:spChg>
        <pc:spChg chg="add del mod modVis">
          <ac:chgData name="Muchahary, Frankle" userId="0f2bf491-0617-4378-90b8-89af8fa381b9" providerId="ADAL" clId="{8E3D5D9D-CC05-4C7B-9A9C-2FFB7784C389}" dt="2024-02-07T04:15:47.488" v="31996"/>
          <ac:spMkLst>
            <pc:docMk/>
            <pc:sldMk cId="1551847677" sldId="478"/>
            <ac:spMk id="212" creationId="{437096F4-E3D5-80C4-E1BA-AFF06AC134B3}"/>
          </ac:spMkLst>
        </pc:spChg>
        <pc:spChg chg="add del mod modVis">
          <ac:chgData name="Muchahary, Frankle" userId="0f2bf491-0617-4378-90b8-89af8fa381b9" providerId="ADAL" clId="{8E3D5D9D-CC05-4C7B-9A9C-2FFB7784C389}" dt="2024-02-07T04:15:49.997" v="32060"/>
          <ac:spMkLst>
            <pc:docMk/>
            <pc:sldMk cId="1551847677" sldId="478"/>
            <ac:spMk id="214" creationId="{3F8B2204-97A9-C241-41CE-CCF780EA84D1}"/>
          </ac:spMkLst>
        </pc:spChg>
        <pc:spChg chg="add del mod modVis">
          <ac:chgData name="Muchahary, Frankle" userId="0f2bf491-0617-4378-90b8-89af8fa381b9" providerId="ADAL" clId="{8E3D5D9D-CC05-4C7B-9A9C-2FFB7784C389}" dt="2024-02-07T04:15:51.520" v="32124"/>
          <ac:spMkLst>
            <pc:docMk/>
            <pc:sldMk cId="1551847677" sldId="478"/>
            <ac:spMk id="216" creationId="{BE8A520C-14A6-62D5-8C68-F204D3296941}"/>
          </ac:spMkLst>
        </pc:spChg>
        <pc:spChg chg="add del mod modVis">
          <ac:chgData name="Muchahary, Frankle" userId="0f2bf491-0617-4378-90b8-89af8fa381b9" providerId="ADAL" clId="{8E3D5D9D-CC05-4C7B-9A9C-2FFB7784C389}" dt="2024-02-07T04:15:54.266" v="32188"/>
          <ac:spMkLst>
            <pc:docMk/>
            <pc:sldMk cId="1551847677" sldId="478"/>
            <ac:spMk id="218" creationId="{565DAF34-C008-F25C-E76D-BDB9745812CE}"/>
          </ac:spMkLst>
        </pc:spChg>
        <pc:spChg chg="add del mod modVis">
          <ac:chgData name="Muchahary, Frankle" userId="0f2bf491-0617-4378-90b8-89af8fa381b9" providerId="ADAL" clId="{8E3D5D9D-CC05-4C7B-9A9C-2FFB7784C389}" dt="2024-02-07T04:15:56.670" v="32252"/>
          <ac:spMkLst>
            <pc:docMk/>
            <pc:sldMk cId="1551847677" sldId="478"/>
            <ac:spMk id="220" creationId="{831368AE-0AE6-783E-16BF-4F726626E26F}"/>
          </ac:spMkLst>
        </pc:spChg>
        <pc:spChg chg="add del mod replST delST">
          <ac:chgData name="Muchahary, Frankle" userId="0f2bf491-0617-4378-90b8-89af8fa381b9" providerId="ADAL" clId="{8E3D5D9D-CC05-4C7B-9A9C-2FFB7784C389}" dt="2024-02-07T04:16:08.633" v="32502"/>
          <ac:spMkLst>
            <pc:docMk/>
            <pc:sldMk cId="1551847677" sldId="478"/>
            <ac:spMk id="222" creationId="{38E83DB4-15A6-7122-DF5B-6056BBA21851}"/>
          </ac:spMkLst>
        </pc:spChg>
        <pc:spChg chg="add del mod modVis">
          <ac:chgData name="Muchahary, Frankle" userId="0f2bf491-0617-4378-90b8-89af8fa381b9" providerId="ADAL" clId="{8E3D5D9D-CC05-4C7B-9A9C-2FFB7784C389}" dt="2024-02-07T04:16:08.633" v="32502"/>
          <ac:spMkLst>
            <pc:docMk/>
            <pc:sldMk cId="1551847677" sldId="478"/>
            <ac:spMk id="223" creationId="{065F66AF-733D-3FFA-F8A7-CD819A1FD2FA}"/>
          </ac:spMkLst>
        </pc:spChg>
        <pc:spChg chg="add del mod modVis">
          <ac:chgData name="Muchahary, Frankle" userId="0f2bf491-0617-4378-90b8-89af8fa381b9" providerId="ADAL" clId="{8E3D5D9D-CC05-4C7B-9A9C-2FFB7784C389}" dt="2024-02-07T04:16:25.404" v="32708"/>
          <ac:spMkLst>
            <pc:docMk/>
            <pc:sldMk cId="1551847677" sldId="478"/>
            <ac:spMk id="226" creationId="{1AB7F32F-3A75-DBCD-108A-A5F55E905ABD}"/>
          </ac:spMkLst>
        </pc:spChg>
        <pc:spChg chg="add del mod replST">
          <ac:chgData name="Muchahary, Frankle" userId="0f2bf491-0617-4378-90b8-89af8fa381b9" providerId="ADAL" clId="{8E3D5D9D-CC05-4C7B-9A9C-2FFB7784C389}" dt="2024-02-07T04:16:26.839" v="32720"/>
          <ac:spMkLst>
            <pc:docMk/>
            <pc:sldMk cId="1551847677" sldId="478"/>
            <ac:spMk id="227" creationId="{F6DE3F17-F310-35E2-294D-2176FA1ACBCD}"/>
          </ac:spMkLst>
        </pc:spChg>
        <pc:spChg chg="add del mod modVis">
          <ac:chgData name="Muchahary, Frankle" userId="0f2bf491-0617-4378-90b8-89af8fa381b9" providerId="ADAL" clId="{8E3D5D9D-CC05-4C7B-9A9C-2FFB7784C389}" dt="2024-02-07T04:16:38.850" v="32834"/>
          <ac:spMkLst>
            <pc:docMk/>
            <pc:sldMk cId="1551847677" sldId="478"/>
            <ac:spMk id="230" creationId="{A277CA64-5859-BD15-A483-6560BDD1D9CB}"/>
          </ac:spMkLst>
        </pc:spChg>
        <pc:spChg chg="add del mod modVis">
          <ac:chgData name="Muchahary, Frankle" userId="0f2bf491-0617-4378-90b8-89af8fa381b9" providerId="ADAL" clId="{8E3D5D9D-CC05-4C7B-9A9C-2FFB7784C389}" dt="2024-02-07T04:16:46.593" v="32941"/>
          <ac:spMkLst>
            <pc:docMk/>
            <pc:sldMk cId="1551847677" sldId="478"/>
            <ac:spMk id="232" creationId="{031553E9-3EE3-316F-7405-BB9BEB6B5BCE}"/>
          </ac:spMkLst>
        </pc:spChg>
        <pc:spChg chg="add mod replST">
          <ac:chgData name="Muchahary, Frankle" userId="0f2bf491-0617-4378-90b8-89af8fa381b9" providerId="ADAL" clId="{8E3D5D9D-CC05-4C7B-9A9C-2FFB7784C389}" dt="2024-02-08T01:33:15.745" v="49601"/>
          <ac:spMkLst>
            <pc:docMk/>
            <pc:sldMk cId="1551847677" sldId="478"/>
            <ac:spMk id="234" creationId="{FFFDDA57-FACA-ED93-511A-CCD4C835DF84}"/>
          </ac:spMkLst>
        </pc:spChg>
        <pc:spChg chg="add mod replST">
          <ac:chgData name="Muchahary, Frankle" userId="0f2bf491-0617-4378-90b8-89af8fa381b9" providerId="ADAL" clId="{8E3D5D9D-CC05-4C7B-9A9C-2FFB7784C389}" dt="2024-02-08T01:33:15.745" v="49602"/>
          <ac:spMkLst>
            <pc:docMk/>
            <pc:sldMk cId="1551847677" sldId="478"/>
            <ac:spMk id="235" creationId="{9688D5F9-73FB-C50C-46B0-4166343FFBB2}"/>
          </ac:spMkLst>
        </pc:spChg>
        <pc:spChg chg="add del mod modVis">
          <ac:chgData name="Muchahary, Frankle" userId="0f2bf491-0617-4378-90b8-89af8fa381b9" providerId="ADAL" clId="{8E3D5D9D-CC05-4C7B-9A9C-2FFB7784C389}" dt="2024-02-07T04:17:00.739" v="33041"/>
          <ac:spMkLst>
            <pc:docMk/>
            <pc:sldMk cId="1551847677" sldId="478"/>
            <ac:spMk id="236" creationId="{4E6D690F-3DE4-A5A6-5A1E-4013B533CFAB}"/>
          </ac:spMkLst>
        </pc:spChg>
        <pc:spChg chg="add del mod modVis">
          <ac:chgData name="Muchahary, Frankle" userId="0f2bf491-0617-4378-90b8-89af8fa381b9" providerId="ADAL" clId="{8E3D5D9D-CC05-4C7B-9A9C-2FFB7784C389}" dt="2024-02-07T23:55:45.816" v="40443"/>
          <ac:spMkLst>
            <pc:docMk/>
            <pc:sldMk cId="1551847677" sldId="478"/>
            <ac:spMk id="241" creationId="{CDC7BE2B-57C3-043C-1D72-0B985FACD7BF}"/>
          </ac:spMkLst>
        </pc:spChg>
        <pc:spChg chg="add del mod modVis">
          <ac:chgData name="Muchahary, Frankle" userId="0f2bf491-0617-4378-90b8-89af8fa381b9" providerId="ADAL" clId="{8E3D5D9D-CC05-4C7B-9A9C-2FFB7784C389}" dt="2024-02-07T23:55:49.138" v="40611"/>
          <ac:spMkLst>
            <pc:docMk/>
            <pc:sldMk cId="1551847677" sldId="478"/>
            <ac:spMk id="243" creationId="{3B3C8617-AC1A-04F4-EFB1-F9BB5709A5B8}"/>
          </ac:spMkLst>
        </pc:spChg>
        <pc:spChg chg="add mod ord">
          <ac:chgData name="Muchahary, Frankle" userId="0f2bf491-0617-4378-90b8-89af8fa381b9" providerId="ADAL" clId="{8E3D5D9D-CC05-4C7B-9A9C-2FFB7784C389}" dt="2024-02-08T02:57:51.840" v="52698" actId="20577"/>
          <ac:spMkLst>
            <pc:docMk/>
            <pc:sldMk cId="1551847677" sldId="478"/>
            <ac:spMk id="245" creationId="{D9C55A56-76E5-14CF-E611-71E1501F1365}"/>
          </ac:spMkLst>
        </pc:spChg>
        <pc:spChg chg="add mod ord">
          <ac:chgData name="Muchahary, Frankle" userId="0f2bf491-0617-4378-90b8-89af8fa381b9" providerId="ADAL" clId="{8E3D5D9D-CC05-4C7B-9A9C-2FFB7784C389}" dt="2024-02-08T01:33:18.754" v="49613" actId="14100"/>
          <ac:spMkLst>
            <pc:docMk/>
            <pc:sldMk cId="1551847677" sldId="478"/>
            <ac:spMk id="246" creationId="{3961EA44-4607-0E63-6C70-B9C5C69E2173}"/>
          </ac:spMkLst>
        </pc:spChg>
        <pc:grpChg chg="del">
          <ac:chgData name="Muchahary, Frankle" userId="0f2bf491-0617-4378-90b8-89af8fa381b9" providerId="ADAL" clId="{8E3D5D9D-CC05-4C7B-9A9C-2FFB7784C389}" dt="2024-02-07T03:34:01.451" v="22614" actId="478"/>
          <ac:grpSpMkLst>
            <pc:docMk/>
            <pc:sldMk cId="1551847677" sldId="478"/>
            <ac:grpSpMk id="32" creationId="{700E6B90-12A4-D9E0-563F-2EB4C68031B1}"/>
          </ac:grpSpMkLst>
        </pc:grpChg>
        <pc:graphicFrameChg chg="mod">
          <ac:chgData name="Muchahary, Frankle" userId="0f2bf491-0617-4378-90b8-89af8fa381b9" providerId="ADAL" clId="{8E3D5D9D-CC05-4C7B-9A9C-2FFB7784C389}" dt="2024-02-08T01:33:15.756" v="49612"/>
          <ac:graphicFrameMkLst>
            <pc:docMk/>
            <pc:sldMk cId="1551847677" sldId="478"/>
            <ac:graphicFrameMk id="14" creationId="{2BA8E26D-2897-9A56-50E5-63D1F6218E9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36.067" v="23371"/>
          <ac:graphicFrameMkLst>
            <pc:docMk/>
            <pc:sldMk cId="1551847677" sldId="478"/>
            <ac:graphicFrameMk id="43" creationId="{AB557D87-7F8E-F8E9-2F4C-6AD8A060A52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40.010" v="23437"/>
          <ac:graphicFrameMkLst>
            <pc:docMk/>
            <pc:sldMk cId="1551847677" sldId="478"/>
            <ac:graphicFrameMk id="45" creationId="{1A0CFFA1-9A7C-14F4-205A-00AE9C1952D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42.849" v="23505"/>
          <ac:graphicFrameMkLst>
            <pc:docMk/>
            <pc:sldMk cId="1551847677" sldId="478"/>
            <ac:graphicFrameMk id="47" creationId="{E4DBFB4F-0B8E-A03B-EEC2-A5489369244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44.634" v="23533"/>
          <ac:graphicFrameMkLst>
            <pc:docMk/>
            <pc:sldMk cId="1551847677" sldId="478"/>
            <ac:graphicFrameMk id="50" creationId="{7D454F00-D8DD-A547-D9B9-625349AB898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54.251" v="23579"/>
          <ac:graphicFrameMkLst>
            <pc:docMk/>
            <pc:sldMk cId="1551847677" sldId="478"/>
            <ac:graphicFrameMk id="51" creationId="{742BA34F-1054-D7B4-AD9E-C7B4230DE28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5:59.484" v="23627"/>
          <ac:graphicFrameMkLst>
            <pc:docMk/>
            <pc:sldMk cId="1551847677" sldId="478"/>
            <ac:graphicFrameMk id="53" creationId="{6F1C21FA-BB47-6C3D-F3AF-B80595A9368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02.817" v="23653"/>
          <ac:graphicFrameMkLst>
            <pc:docMk/>
            <pc:sldMk cId="1551847677" sldId="478"/>
            <ac:graphicFrameMk id="55" creationId="{4606B19A-31B3-BE2D-ABC1-A408EBFE025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06.895" v="23689"/>
          <ac:graphicFrameMkLst>
            <pc:docMk/>
            <pc:sldMk cId="1551847677" sldId="478"/>
            <ac:graphicFrameMk id="56" creationId="{A782ABB1-B3BE-7D05-B7D9-C8EC81603E1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14.612" v="23721"/>
          <ac:graphicFrameMkLst>
            <pc:docMk/>
            <pc:sldMk cId="1551847677" sldId="478"/>
            <ac:graphicFrameMk id="57" creationId="{316E8FC7-EF36-EC22-3108-F8E149A4F57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17.519" v="23757"/>
          <ac:graphicFrameMkLst>
            <pc:docMk/>
            <pc:sldMk cId="1551847677" sldId="478"/>
            <ac:graphicFrameMk id="58" creationId="{7838DBA1-F413-D828-7128-4D3654EBB06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20.961" v="23781"/>
          <ac:graphicFrameMkLst>
            <pc:docMk/>
            <pc:sldMk cId="1551847677" sldId="478"/>
            <ac:graphicFrameMk id="59" creationId="{76FD4ABC-19F9-573A-9598-24FCD075081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27.395" v="23803"/>
          <ac:graphicFrameMkLst>
            <pc:docMk/>
            <pc:sldMk cId="1551847677" sldId="478"/>
            <ac:graphicFrameMk id="60" creationId="{7607D2CF-D9F9-9685-5CA9-E78E050540D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30.319" v="23829"/>
          <ac:graphicFrameMkLst>
            <pc:docMk/>
            <pc:sldMk cId="1551847677" sldId="478"/>
            <ac:graphicFrameMk id="61" creationId="{522135E3-ECA6-AF87-BDAF-AEECA398E5F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31.431" v="23929"/>
          <ac:graphicFrameMkLst>
            <pc:docMk/>
            <pc:sldMk cId="1551847677" sldId="478"/>
            <ac:graphicFrameMk id="62" creationId="{688ADD83-82CC-F757-388C-A518CBFAEC0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32.919" v="23956"/>
          <ac:graphicFrameMkLst>
            <pc:docMk/>
            <pc:sldMk cId="1551847677" sldId="478"/>
            <ac:graphicFrameMk id="65" creationId="{994A554A-E727-C372-D5D1-4BF49729829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35.215" v="24123"/>
          <ac:graphicFrameMkLst>
            <pc:docMk/>
            <pc:sldMk cId="1551847677" sldId="478"/>
            <ac:graphicFrameMk id="66" creationId="{482694E6-AA15-D3F2-A5FC-A730308E358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39.556" v="24201"/>
          <ac:graphicFrameMkLst>
            <pc:docMk/>
            <pc:sldMk cId="1551847677" sldId="478"/>
            <ac:graphicFrameMk id="70" creationId="{DF0C1025-06FD-BCE2-5FAD-A3584CE9E44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41.691" v="24279"/>
          <ac:graphicFrameMkLst>
            <pc:docMk/>
            <pc:sldMk cId="1551847677" sldId="478"/>
            <ac:graphicFrameMk id="72" creationId="{FA0F83F5-FD06-C616-284A-DF0D38B71BC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47.183" v="24389"/>
          <ac:graphicFrameMkLst>
            <pc:docMk/>
            <pc:sldMk cId="1551847677" sldId="478"/>
            <ac:graphicFrameMk id="74" creationId="{066A0CDA-2EFE-7568-29BF-4A39858AE61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51.135" v="24426"/>
          <ac:graphicFrameMkLst>
            <pc:docMk/>
            <pc:sldMk cId="1551847677" sldId="478"/>
            <ac:graphicFrameMk id="76" creationId="{0D8E65DC-7B8D-7EF6-2E44-9775B4E91A8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52.915" v="24468"/>
          <ac:graphicFrameMkLst>
            <pc:docMk/>
            <pc:sldMk cId="1551847677" sldId="478"/>
            <ac:graphicFrameMk id="77" creationId="{C09077C2-C32A-7BCD-4FA7-D060E8EDA66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54.658" v="24510"/>
          <ac:graphicFrameMkLst>
            <pc:docMk/>
            <pc:sldMk cId="1551847677" sldId="478"/>
            <ac:graphicFrameMk id="78" creationId="{127FCF76-226C-ED5A-3375-1934191AF50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55.581" v="24552"/>
          <ac:graphicFrameMkLst>
            <pc:docMk/>
            <pc:sldMk cId="1551847677" sldId="478"/>
            <ac:graphicFrameMk id="79" creationId="{4C1D64C6-BAB8-5766-CB1F-D58B006C1A4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6:56.519" v="24586"/>
          <ac:graphicFrameMkLst>
            <pc:docMk/>
            <pc:sldMk cId="1551847677" sldId="478"/>
            <ac:graphicFrameMk id="80" creationId="{42714663-66CA-FF23-75D0-182209CE31F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37:01.443" v="24628"/>
          <ac:graphicFrameMkLst>
            <pc:docMk/>
            <pc:sldMk cId="1551847677" sldId="478"/>
            <ac:graphicFrameMk id="81" creationId="{038D9E2C-E67F-D2A3-ADFD-A3BA56179C6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7:28.980" v="25000"/>
          <ac:graphicFrameMkLst>
            <pc:docMk/>
            <pc:sldMk cId="1551847677" sldId="478"/>
            <ac:graphicFrameMk id="82" creationId="{D3EECE99-852F-DCB3-859F-4C1FB7107A9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7:30.247" v="25042"/>
          <ac:graphicFrameMkLst>
            <pc:docMk/>
            <pc:sldMk cId="1551847677" sldId="478"/>
            <ac:graphicFrameMk id="83" creationId="{7BB3170D-81F5-3340-4304-FC8A62E95C9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00.183" v="30909"/>
          <ac:graphicFrameMkLst>
            <pc:docMk/>
            <pc:sldMk cId="1551847677" sldId="478"/>
            <ac:graphicFrameMk id="84" creationId="{6AFBE009-79F3-8E9A-02BD-88B6175684D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08.810" v="25870"/>
          <ac:graphicFrameMkLst>
            <pc:docMk/>
            <pc:sldMk cId="1551847677" sldId="478"/>
            <ac:graphicFrameMk id="100" creationId="{82B08E05-456F-AD9E-0447-EF549759785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12.409" v="25955"/>
          <ac:graphicFrameMkLst>
            <pc:docMk/>
            <pc:sldMk cId="1551847677" sldId="478"/>
            <ac:graphicFrameMk id="102" creationId="{E9C96E07-09FC-D0A9-8843-16F1CE56D63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18.229" v="26046"/>
          <ac:graphicFrameMkLst>
            <pc:docMk/>
            <pc:sldMk cId="1551847677" sldId="478"/>
            <ac:graphicFrameMk id="104" creationId="{7000257E-B442-B1E1-2DF8-05666A34339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51.633" v="26127"/>
          <ac:graphicFrameMkLst>
            <pc:docMk/>
            <pc:sldMk cId="1551847677" sldId="478"/>
            <ac:graphicFrameMk id="106" creationId="{0867FCE1-D58E-D9BD-59A0-CD76EDBCEAB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54.071" v="26214"/>
          <ac:graphicFrameMkLst>
            <pc:docMk/>
            <pc:sldMk cId="1551847677" sldId="478"/>
            <ac:graphicFrameMk id="108" creationId="{EB4A9C77-852D-87C1-08BD-6A861A46638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55.885" v="26303"/>
          <ac:graphicFrameMkLst>
            <pc:docMk/>
            <pc:sldMk cId="1551847677" sldId="478"/>
            <ac:graphicFrameMk id="111" creationId="{B5E1AC57-3448-40A7-A19C-DA3DEA601D3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8:58.791" v="26408"/>
          <ac:graphicFrameMkLst>
            <pc:docMk/>
            <pc:sldMk cId="1551847677" sldId="478"/>
            <ac:graphicFrameMk id="114" creationId="{4E0221F7-0828-1012-2E57-BA5A8E08B96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00.991" v="26531"/>
          <ac:graphicFrameMkLst>
            <pc:docMk/>
            <pc:sldMk cId="1551847677" sldId="478"/>
            <ac:graphicFrameMk id="117" creationId="{2C9201E2-303C-3916-CE3D-FDC64C26238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13.405" v="26652"/>
          <ac:graphicFrameMkLst>
            <pc:docMk/>
            <pc:sldMk cId="1551847677" sldId="478"/>
            <ac:graphicFrameMk id="120" creationId="{28BC56C1-8060-4A3A-82E1-A15724A54A5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16.185" v="26717"/>
          <ac:graphicFrameMkLst>
            <pc:docMk/>
            <pc:sldMk cId="1551847677" sldId="478"/>
            <ac:graphicFrameMk id="122" creationId="{5C3BF985-7963-128C-5EF5-1A371F9003C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22.836" v="27058"/>
          <ac:graphicFrameMkLst>
            <pc:docMk/>
            <pc:sldMk cId="1551847677" sldId="478"/>
            <ac:graphicFrameMk id="123" creationId="{36F12947-B14F-1C53-0519-D8FBEF211E3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23.002" v="27179"/>
          <ac:graphicFrameMkLst>
            <pc:docMk/>
            <pc:sldMk cId="1551847677" sldId="478"/>
            <ac:graphicFrameMk id="130" creationId="{F2CE4858-5632-CE2E-F5B4-AECE81A13F3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28.682" v="27300"/>
          <ac:graphicFrameMkLst>
            <pc:docMk/>
            <pc:sldMk cId="1551847677" sldId="478"/>
            <ac:graphicFrameMk id="132" creationId="{76A2C1D2-3483-2CF2-87D5-0237FAC2B87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35.462" v="27429"/>
          <ac:graphicFrameMkLst>
            <pc:docMk/>
            <pc:sldMk cId="1551847677" sldId="478"/>
            <ac:graphicFrameMk id="134" creationId="{FFD30BB5-92A7-2371-4FD3-EDAE3F545CC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40.274" v="27616"/>
          <ac:graphicFrameMkLst>
            <pc:docMk/>
            <pc:sldMk cId="1551847677" sldId="478"/>
            <ac:graphicFrameMk id="136" creationId="{B85763E3-28BA-1228-9BD0-AF3F4BD1740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3:49:43.497" v="27741"/>
          <ac:graphicFrameMkLst>
            <pc:docMk/>
            <pc:sldMk cId="1551847677" sldId="478"/>
            <ac:graphicFrameMk id="140" creationId="{B31404F9-7539-8C6C-FAB1-54A703DA5F8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2:08.904" v="28019"/>
          <ac:graphicFrameMkLst>
            <pc:docMk/>
            <pc:sldMk cId="1551847677" sldId="478"/>
            <ac:graphicFrameMk id="142" creationId="{8FBDBBF6-568D-5868-30DC-2B96C9CD4FC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2:38.191" v="28130"/>
          <ac:graphicFrameMkLst>
            <pc:docMk/>
            <pc:sldMk cId="1551847677" sldId="478"/>
            <ac:graphicFrameMk id="143" creationId="{825B797C-0E33-FDCD-7DF6-8759CDB7C5D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2:39.451" v="28241"/>
          <ac:graphicFrameMkLst>
            <pc:docMk/>
            <pc:sldMk cId="1551847677" sldId="478"/>
            <ac:graphicFrameMk id="144" creationId="{C8E5A43B-71A3-EF99-4313-A18594CEBEE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01.029" v="28334"/>
          <ac:graphicFrameMkLst>
            <pc:docMk/>
            <pc:sldMk cId="1551847677" sldId="478"/>
            <ac:graphicFrameMk id="145" creationId="{1129A071-2C1A-1155-DEA6-80757ACFC6E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03.805" v="28431"/>
          <ac:graphicFrameMkLst>
            <pc:docMk/>
            <pc:sldMk cId="1551847677" sldId="478"/>
            <ac:graphicFrameMk id="147" creationId="{66D9C5E8-A692-7943-3D85-1052FEAB208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09.973" v="28526"/>
          <ac:graphicFrameMkLst>
            <pc:docMk/>
            <pc:sldMk cId="1551847677" sldId="478"/>
            <ac:graphicFrameMk id="149" creationId="{DCAFEF33-983D-27E1-0F48-11A70E8F7F1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11.815" v="28639"/>
          <ac:graphicFrameMkLst>
            <pc:docMk/>
            <pc:sldMk cId="1551847677" sldId="478"/>
            <ac:graphicFrameMk id="151" creationId="{34B50E3D-CF1D-7BC7-F3D0-FA97C6EA037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16.674" v="28731"/>
          <ac:graphicFrameMkLst>
            <pc:docMk/>
            <pc:sldMk cId="1551847677" sldId="478"/>
            <ac:graphicFrameMk id="153" creationId="{2B409374-C3F6-A4FC-55D6-85F6F72B55D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20.643" v="28821"/>
          <ac:graphicFrameMkLst>
            <pc:docMk/>
            <pc:sldMk cId="1551847677" sldId="478"/>
            <ac:graphicFrameMk id="155" creationId="{CB46E2FF-8976-1B27-858E-41C5702FF86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25.764" v="28915"/>
          <ac:graphicFrameMkLst>
            <pc:docMk/>
            <pc:sldMk cId="1551847677" sldId="478"/>
            <ac:graphicFrameMk id="157" creationId="{228C2942-6ECA-4D84-8C89-A04B7D4A360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29.484" v="29011"/>
          <ac:graphicFrameMkLst>
            <pc:docMk/>
            <pc:sldMk cId="1551847677" sldId="478"/>
            <ac:graphicFrameMk id="160" creationId="{9CFB0550-E8BE-AC70-AD5A-46508D95571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39.487" v="29107"/>
          <ac:graphicFrameMkLst>
            <pc:docMk/>
            <pc:sldMk cId="1551847677" sldId="478"/>
            <ac:graphicFrameMk id="162" creationId="{BF8348FC-AB30-1135-AEEA-38EE83AEB65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3:42.964" v="29205"/>
          <ac:graphicFrameMkLst>
            <pc:docMk/>
            <pc:sldMk cId="1551847677" sldId="478"/>
            <ac:graphicFrameMk id="165" creationId="{3C4220CB-75F5-A240-6008-253BFCB3475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00.160" v="29325"/>
          <ac:graphicFrameMkLst>
            <pc:docMk/>
            <pc:sldMk cId="1551847677" sldId="478"/>
            <ac:graphicFrameMk id="167" creationId="{4FADB09E-DBDA-490D-B3AB-FF1371530C6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35.047" v="29674"/>
          <ac:graphicFrameMkLst>
            <pc:docMk/>
            <pc:sldMk cId="1551847677" sldId="478"/>
            <ac:graphicFrameMk id="169" creationId="{B6926DBD-5F2B-DD85-9F53-8840CD2928DA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7T04:14:19.567" v="29549"/>
          <ac:graphicFrameMkLst>
            <pc:docMk/>
            <pc:sldMk cId="1551847677" sldId="478"/>
            <ac:graphicFrameMk id="174" creationId="{1599ABBC-D605-6C63-237C-5BDAE547C88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37.529" v="29728"/>
          <ac:graphicFrameMkLst>
            <pc:docMk/>
            <pc:sldMk cId="1551847677" sldId="478"/>
            <ac:graphicFrameMk id="176" creationId="{F8612C35-039D-B2D7-69F8-701167E4C97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45.923" v="30462"/>
          <ac:graphicFrameMkLst>
            <pc:docMk/>
            <pc:sldMk cId="1551847677" sldId="478"/>
            <ac:graphicFrameMk id="177" creationId="{AEFC0B48-2162-203C-AA3A-2BAC1A31ECC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48.935" v="30596"/>
          <ac:graphicFrameMkLst>
            <pc:docMk/>
            <pc:sldMk cId="1551847677" sldId="478"/>
            <ac:graphicFrameMk id="189" creationId="{F645470D-0DD8-4D82-C071-17B813249A6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54.437" v="30708"/>
          <ac:graphicFrameMkLst>
            <pc:docMk/>
            <pc:sldMk cId="1551847677" sldId="478"/>
            <ac:graphicFrameMk id="190" creationId="{02345220-77F5-804B-3B98-E205FC957D3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4:56.357" v="30820"/>
          <ac:graphicFrameMkLst>
            <pc:docMk/>
            <pc:sldMk cId="1551847677" sldId="478"/>
            <ac:graphicFrameMk id="191" creationId="{3DD407FE-BCCD-3BC8-BFB4-7927EA8C15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06.321" v="31028"/>
          <ac:graphicFrameMkLst>
            <pc:docMk/>
            <pc:sldMk cId="1551847677" sldId="478"/>
            <ac:graphicFrameMk id="192" creationId="{1E5299CD-9190-F5C7-87A0-9BEB7FC0822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02.782" v="30962"/>
          <ac:graphicFrameMkLst>
            <pc:docMk/>
            <pc:sldMk cId="1551847677" sldId="478"/>
            <ac:graphicFrameMk id="194" creationId="{12FD7296-89E0-9982-68E5-F3B5FF37710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7:00.689" v="33007"/>
          <ac:graphicFrameMkLst>
            <pc:docMk/>
            <pc:sldMk cId="1551847677" sldId="478"/>
            <ac:graphicFrameMk id="195" creationId="{2E70E71A-E9F8-BF81-70F4-0489AC07B31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08.384" v="31094"/>
          <ac:graphicFrameMkLst>
            <pc:docMk/>
            <pc:sldMk cId="1551847677" sldId="478"/>
            <ac:graphicFrameMk id="196" creationId="{456AA41F-E467-74C0-17AE-E1B13546844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0.702" v="31206"/>
          <ac:graphicFrameMkLst>
            <pc:docMk/>
            <pc:sldMk cId="1551847677" sldId="478"/>
            <ac:graphicFrameMk id="197" creationId="{66A538EB-B793-C141-C4F5-ACB8EA838AA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2.157" v="31318"/>
          <ac:graphicFrameMkLst>
            <pc:docMk/>
            <pc:sldMk cId="1551847677" sldId="478"/>
            <ac:graphicFrameMk id="198" creationId="{9CB1F2AE-A4F5-18CF-F2DD-688C30B315F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3.501" v="31430"/>
          <ac:graphicFrameMkLst>
            <pc:docMk/>
            <pc:sldMk cId="1551847677" sldId="478"/>
            <ac:graphicFrameMk id="199" creationId="{8A3AE454-825F-273A-4BDB-A39A39BCBAE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6.249" v="31482"/>
          <ac:graphicFrameMkLst>
            <pc:docMk/>
            <pc:sldMk cId="1551847677" sldId="478"/>
            <ac:graphicFrameMk id="200" creationId="{309D5B67-09AA-B524-A6E5-F8D2D2D5FDF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7.670" v="31534"/>
          <ac:graphicFrameMkLst>
            <pc:docMk/>
            <pc:sldMk cId="1551847677" sldId="478"/>
            <ac:graphicFrameMk id="201" creationId="{9684A3EA-B30E-BF5C-C186-282B058D511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7.993" v="31586"/>
          <ac:graphicFrameMkLst>
            <pc:docMk/>
            <pc:sldMk cId="1551847677" sldId="478"/>
            <ac:graphicFrameMk id="202" creationId="{D4FBF972-6629-2FB4-B6D9-CA47F68413B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19.111" v="31638"/>
          <ac:graphicFrameMkLst>
            <pc:docMk/>
            <pc:sldMk cId="1551847677" sldId="478"/>
            <ac:graphicFrameMk id="203" creationId="{7F62A845-5431-EC1B-732C-23434B447E1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23.840" v="31690"/>
          <ac:graphicFrameMkLst>
            <pc:docMk/>
            <pc:sldMk cId="1551847677" sldId="478"/>
            <ac:graphicFrameMk id="204" creationId="{DC063612-A743-0CB8-40A6-50985DE7036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39.953" v="31762"/>
          <ac:graphicFrameMkLst>
            <pc:docMk/>
            <pc:sldMk cId="1551847677" sldId="478"/>
            <ac:graphicFrameMk id="205" creationId="{0599BA73-18E4-EA42-357D-E506371AFA6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41.156" v="31836"/>
          <ac:graphicFrameMkLst>
            <pc:docMk/>
            <pc:sldMk cId="1551847677" sldId="478"/>
            <ac:graphicFrameMk id="207" creationId="{88E49B73-ABBD-2C08-AD69-191610BE74F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45.924" v="31900"/>
          <ac:graphicFrameMkLst>
            <pc:docMk/>
            <pc:sldMk cId="1551847677" sldId="478"/>
            <ac:graphicFrameMk id="209" creationId="{FBD85CAA-78AD-37BD-A1B0-AFA63ACAD11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47.446" v="31964"/>
          <ac:graphicFrameMkLst>
            <pc:docMk/>
            <pc:sldMk cId="1551847677" sldId="478"/>
            <ac:graphicFrameMk id="211" creationId="{AF48B979-E8F8-7749-88CA-DF3EBC61DCE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49.956" v="32028"/>
          <ac:graphicFrameMkLst>
            <pc:docMk/>
            <pc:sldMk cId="1551847677" sldId="478"/>
            <ac:graphicFrameMk id="213" creationId="{A892300B-84D2-05FF-ED9F-F467B79332C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51.478" v="32092"/>
          <ac:graphicFrameMkLst>
            <pc:docMk/>
            <pc:sldMk cId="1551847677" sldId="478"/>
            <ac:graphicFrameMk id="215" creationId="{93AD6C24-365B-F180-9747-D5664D92C9A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54.224" v="32156"/>
          <ac:graphicFrameMkLst>
            <pc:docMk/>
            <pc:sldMk cId="1551847677" sldId="478"/>
            <ac:graphicFrameMk id="217" creationId="{4AF372A6-BAB3-BD0F-D098-54C50F4D003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5:56.625" v="32220"/>
          <ac:graphicFrameMkLst>
            <pc:docMk/>
            <pc:sldMk cId="1551847677" sldId="478"/>
            <ac:graphicFrameMk id="219" creationId="{5A6A4154-4582-44BA-3A5E-DB3C201152D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6:25.362" v="32675"/>
          <ac:graphicFrameMkLst>
            <pc:docMk/>
            <pc:sldMk cId="1551847677" sldId="478"/>
            <ac:graphicFrameMk id="221" creationId="{5FC205BA-F5EF-9B34-B29D-5D1DC36F42E5}"/>
          </ac:graphicFrameMkLst>
        </pc:graphicFrameChg>
        <pc:graphicFrameChg chg="add del mod ord replST delST">
          <ac:chgData name="Muchahary, Frankle" userId="0f2bf491-0617-4378-90b8-89af8fa381b9" providerId="ADAL" clId="{8E3D5D9D-CC05-4C7B-9A9C-2FFB7784C389}" dt="2024-02-07T04:16:08.633" v="32502"/>
          <ac:graphicFrameMkLst>
            <pc:docMk/>
            <pc:sldMk cId="1551847677" sldId="478"/>
            <ac:graphicFrameMk id="224" creationId="{78ED181B-6A8E-5E07-1F9B-B0EC92BE0695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7T04:16:08.633" v="32502"/>
          <ac:graphicFrameMkLst>
            <pc:docMk/>
            <pc:sldMk cId="1551847677" sldId="478"/>
            <ac:graphicFrameMk id="225" creationId="{A36C2639-4CC9-E94E-87C0-249ECDE27FF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6:26.842" v="32722"/>
          <ac:graphicFrameMkLst>
            <pc:docMk/>
            <pc:sldMk cId="1551847677" sldId="478"/>
            <ac:graphicFrameMk id="228" creationId="{4E392480-BF1E-D272-85EF-6DD16535658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6:38.809" v="32802"/>
          <ac:graphicFrameMkLst>
            <pc:docMk/>
            <pc:sldMk cId="1551847677" sldId="478"/>
            <ac:graphicFrameMk id="229" creationId="{FDF6EC84-6827-50C6-27BD-9CC0D68498F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6:46.530" v="32875"/>
          <ac:graphicFrameMkLst>
            <pc:docMk/>
            <pc:sldMk cId="1551847677" sldId="478"/>
            <ac:graphicFrameMk id="231" creationId="{F7B65F01-6645-B506-76A6-41CEC73C02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3:07.276" v="39377"/>
          <ac:graphicFrameMkLst>
            <pc:docMk/>
            <pc:sldMk cId="1551847677" sldId="478"/>
            <ac:graphicFrameMk id="233" creationId="{7B73A1E3-B884-12FC-C69D-05382C2E5C2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17:05.349" v="33057"/>
          <ac:graphicFrameMkLst>
            <pc:docMk/>
            <pc:sldMk cId="1551847677" sldId="478"/>
            <ac:graphicFrameMk id="237" creationId="{8659E4E0-8A92-0AE7-6F50-15ADEA21E57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2:59.294" v="39317"/>
          <ac:graphicFrameMkLst>
            <pc:docMk/>
            <pc:sldMk cId="1551847677" sldId="478"/>
            <ac:graphicFrameMk id="238" creationId="{5C02236C-1B01-092F-3D9B-5C769D20522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23:55:45.767" v="40409"/>
          <ac:graphicFrameMkLst>
            <pc:docMk/>
            <pc:sldMk cId="1551847677" sldId="478"/>
            <ac:graphicFrameMk id="239" creationId="{75623293-7E3F-2E33-C094-32B306B49DB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23:55:49.104" v="40577"/>
          <ac:graphicFrameMkLst>
            <pc:docMk/>
            <pc:sldMk cId="1551847677" sldId="478"/>
            <ac:graphicFrameMk id="240" creationId="{10FCED49-9F01-4DC8-8F7D-3C882556963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33:13.524" v="49520"/>
          <ac:graphicFrameMkLst>
            <pc:docMk/>
            <pc:sldMk cId="1551847677" sldId="478"/>
            <ac:graphicFrameMk id="242" creationId="{E5A6912A-F8AA-E275-1A01-10E7AB78DC3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33:09.213" v="49442"/>
          <ac:graphicFrameMkLst>
            <pc:docMk/>
            <pc:sldMk cId="1551847677" sldId="478"/>
            <ac:graphicFrameMk id="244" creationId="{B528B51E-1091-A592-176A-14BB8AC08A62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1:33:15.741" v="49592"/>
          <ac:graphicFrameMkLst>
            <pc:docMk/>
            <pc:sldMk cId="1551847677" sldId="478"/>
            <ac:graphicFrameMk id="249" creationId="{C310EAA2-99B8-5892-CF21-C5E1FD1B34F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33:15.704" v="49574"/>
          <ac:graphicFrameMkLst>
            <pc:docMk/>
            <pc:sldMk cId="1551847677" sldId="478"/>
            <ac:graphicFrameMk id="250" creationId="{F0CA1E74-427D-2038-1D81-6452538680B7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1:33:15.737" v="49586"/>
          <ac:graphicFrameMkLst>
            <pc:docMk/>
            <pc:sldMk cId="1551847677" sldId="478"/>
            <ac:graphicFrameMk id="251" creationId="{8C9B43C5-3950-CEF3-DA81-ABF0F880D207}"/>
          </ac:graphicFrameMkLst>
        </pc:graphicFrameChg>
        <pc:graphicFrameChg chg="add mod modGraphic">
          <ac:chgData name="Muchahary, Frankle" userId="0f2bf491-0617-4378-90b8-89af8fa381b9" providerId="ADAL" clId="{8E3D5D9D-CC05-4C7B-9A9C-2FFB7784C389}" dt="2024-02-08T02:13:14.959" v="51858" actId="113"/>
          <ac:graphicFrameMkLst>
            <pc:docMk/>
            <pc:sldMk cId="1551847677" sldId="478"/>
            <ac:graphicFrameMk id="252" creationId="{E7C0C3AE-5238-B117-543A-E6ED31784A39}"/>
          </ac:graphicFrameMkLst>
        </pc:graphicFrame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16" creationId="{EBBD35B6-DAC8-EDBE-FEA5-F8F98ECFED9E}"/>
          </ac:cxnSpMkLst>
        </pc:cxn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17" creationId="{052CE39A-3C1D-B7F8-BF5C-35DC9646ECFB}"/>
          </ac:cxnSpMkLst>
        </pc:cxn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23" creationId="{A026BA80-66EB-F107-9458-345837BD66D0}"/>
          </ac:cxnSpMkLst>
        </pc:cxn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24" creationId="{3179E473-4964-081E-CC57-2E313840D5D5}"/>
          </ac:cxnSpMkLst>
        </pc:cxn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25" creationId="{1F77EA3D-F0E5-A324-0916-791D90302B7E}"/>
          </ac:cxnSpMkLst>
        </pc:cxnChg>
        <pc:cxnChg chg="mod">
          <ac:chgData name="Muchahary, Frankle" userId="0f2bf491-0617-4378-90b8-89af8fa381b9" providerId="ADAL" clId="{8E3D5D9D-CC05-4C7B-9A9C-2FFB7784C389}" dt="2024-02-07T03:34:01.451" v="22614" actId="478"/>
          <ac:cxnSpMkLst>
            <pc:docMk/>
            <pc:sldMk cId="1551847677" sldId="478"/>
            <ac:cxnSpMk id="26" creationId="{C2FF4B8E-0CEC-7ACE-985B-A5DC32B803F9}"/>
          </ac:cxnSpMkLst>
        </pc:cxnChg>
        <pc:cxnChg chg="add mod ord replST">
          <ac:chgData name="Muchahary, Frankle" userId="0f2bf491-0617-4378-90b8-89af8fa381b9" providerId="ADAL" clId="{8E3D5D9D-CC05-4C7B-9A9C-2FFB7784C389}" dt="2024-02-08T01:33:15.741" v="49594"/>
          <ac:cxnSpMkLst>
            <pc:docMk/>
            <pc:sldMk cId="1551847677" sldId="478"/>
            <ac:cxnSpMk id="99" creationId="{552C93BE-EC21-8B94-40BB-E3CBCF6707E8}"/>
          </ac:cxnSpMkLst>
        </pc:cxnChg>
        <pc:cxnChg chg="add mod ord replST delST">
          <ac:chgData name="Muchahary, Frankle" userId="0f2bf491-0617-4378-90b8-89af8fa381b9" providerId="ADAL" clId="{8E3D5D9D-CC05-4C7B-9A9C-2FFB7784C389}" dt="2024-02-07T04:14:19.567" v="29549"/>
          <ac:cxnSpMkLst>
            <pc:docMk/>
            <pc:sldMk cId="1551847677" sldId="478"/>
            <ac:cxnSpMk id="170" creationId="{6AA07CD0-8A12-050B-8D94-8BE67EE03FA8}"/>
          </ac:cxnSpMkLst>
        </pc:cxnChg>
        <pc:cxnChg chg="add mod ord replST delST">
          <ac:chgData name="Muchahary, Frankle" userId="0f2bf491-0617-4378-90b8-89af8fa381b9" providerId="ADAL" clId="{8E3D5D9D-CC05-4C7B-9A9C-2FFB7784C389}" dt="2024-02-07T04:14:19.567" v="29549"/>
          <ac:cxnSpMkLst>
            <pc:docMk/>
            <pc:sldMk cId="1551847677" sldId="478"/>
            <ac:cxnSpMk id="171" creationId="{252CA627-28A5-6527-BE2D-7F6182AF8AEA}"/>
          </ac:cxnSpMkLst>
        </pc:cxnChg>
        <pc:cxnChg chg="add mod ord replST delST">
          <ac:chgData name="Muchahary, Frankle" userId="0f2bf491-0617-4378-90b8-89af8fa381b9" providerId="ADAL" clId="{8E3D5D9D-CC05-4C7B-9A9C-2FFB7784C389}" dt="2024-02-07T04:14:19.567" v="29549"/>
          <ac:cxnSpMkLst>
            <pc:docMk/>
            <pc:sldMk cId="1551847677" sldId="478"/>
            <ac:cxnSpMk id="172" creationId="{45312529-E359-CE97-A61B-EB7EF6FAB1D9}"/>
          </ac:cxnSpMkLst>
        </pc:cxnChg>
        <pc:cxnChg chg="add mod ord replST delST">
          <ac:chgData name="Muchahary, Frankle" userId="0f2bf491-0617-4378-90b8-89af8fa381b9" providerId="ADAL" clId="{8E3D5D9D-CC05-4C7B-9A9C-2FFB7784C389}" dt="2024-02-07T04:14:19.567" v="29549"/>
          <ac:cxnSpMkLst>
            <pc:docMk/>
            <pc:sldMk cId="1551847677" sldId="478"/>
            <ac:cxnSpMk id="173" creationId="{B5ADF12F-8C01-E40D-34A4-CFFCD4A5A69D}"/>
          </ac:cxnSpMkLst>
        </pc:cxnChg>
        <pc:cxnChg chg="add del mod">
          <ac:chgData name="Muchahary, Frankle" userId="0f2bf491-0617-4378-90b8-89af8fa381b9" providerId="ADAL" clId="{8E3D5D9D-CC05-4C7B-9A9C-2FFB7784C389}" dt="2024-02-08T01:32:04.310" v="49397" actId="478"/>
          <ac:cxnSpMkLst>
            <pc:docMk/>
            <pc:sldMk cId="1551847677" sldId="478"/>
            <ac:cxnSpMk id="248" creationId="{A504A079-A0C0-A638-4C44-2AF6756B2C20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85616894" sldId="479"/>
        </pc:sldMkLst>
      </pc:sldChg>
      <pc:sldChg chg="modSp add del mod modAnim">
        <pc:chgData name="Muchahary, Frankle" userId="0f2bf491-0617-4378-90b8-89af8fa381b9" providerId="ADAL" clId="{8E3D5D9D-CC05-4C7B-9A9C-2FFB7784C389}" dt="2024-02-07T03:39:13.250" v="24899" actId="47"/>
        <pc:sldMkLst>
          <pc:docMk/>
          <pc:sldMk cId="3474144181" sldId="479"/>
        </pc:sldMkLst>
        <pc:spChg chg="mod">
          <ac:chgData name="Muchahary, Frankle" userId="0f2bf491-0617-4378-90b8-89af8fa381b9" providerId="ADAL" clId="{8E3D5D9D-CC05-4C7B-9A9C-2FFB7784C389}" dt="2024-02-07T03:33:50.174" v="22613" actId="20577"/>
          <ac:spMkLst>
            <pc:docMk/>
            <pc:sldMk cId="3474144181" sldId="479"/>
            <ac:spMk id="2" creationId="{0C87FF08-4944-1BEA-9747-BAFF3A1AE845}"/>
          </ac:spMkLst>
        </pc:spChg>
        <pc:graphicFrameChg chg="modGraphic">
          <ac:chgData name="Muchahary, Frankle" userId="0f2bf491-0617-4378-90b8-89af8fa381b9" providerId="ADAL" clId="{8E3D5D9D-CC05-4C7B-9A9C-2FFB7784C389}" dt="2024-02-07T03:33:27.636" v="22511" actId="6549"/>
          <ac:graphicFrameMkLst>
            <pc:docMk/>
            <pc:sldMk cId="3474144181" sldId="479"/>
            <ac:graphicFrameMk id="33" creationId="{9268A25E-D989-037F-65B4-77940877DEC7}"/>
          </ac:graphicFrameMkLst>
        </pc:graphicFrame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22537174" sldId="480"/>
        </pc:sldMkLst>
      </pc:sldChg>
      <pc:sldChg chg="addSp delSp modSp add mod">
        <pc:chgData name="Muchahary, Frankle" userId="0f2bf491-0617-4378-90b8-89af8fa381b9" providerId="ADAL" clId="{8E3D5D9D-CC05-4C7B-9A9C-2FFB7784C389}" dt="2024-02-08T02:58:14.408" v="52706" actId="20577"/>
        <pc:sldMkLst>
          <pc:docMk/>
          <pc:sldMk cId="4190046986" sldId="480"/>
        </pc:sldMkLst>
        <pc:spChg chg="mod ord">
          <ac:chgData name="Muchahary, Frankle" userId="0f2bf491-0617-4378-90b8-89af8fa381b9" providerId="ADAL" clId="{8E3D5D9D-CC05-4C7B-9A9C-2FFB7784C389}" dt="2024-02-08T01:58:25.180" v="51217" actId="20577"/>
          <ac:spMkLst>
            <pc:docMk/>
            <pc:sldMk cId="4190046986" sldId="480"/>
            <ac:spMk id="2" creationId="{80D4D639-0174-8BF0-AD28-BA98F6AF33E0}"/>
          </ac:spMkLst>
        </pc:spChg>
        <pc:spChg chg="add mod replST">
          <ac:chgData name="Muchahary, Frankle" userId="0f2bf491-0617-4378-90b8-89af8fa381b9" providerId="ADAL" clId="{8E3D5D9D-CC05-4C7B-9A9C-2FFB7784C389}" dt="2024-02-07T04:41:28.559" v="39166"/>
          <ac:spMkLst>
            <pc:docMk/>
            <pc:sldMk cId="4190046986" sldId="480"/>
            <ac:spMk id="4" creationId="{E2BA30E1-1AF7-66E4-8115-D142A8E8A49A}"/>
          </ac:spMkLst>
        </pc:spChg>
        <pc:spChg chg="add mod replST">
          <ac:chgData name="Muchahary, Frankle" userId="0f2bf491-0617-4378-90b8-89af8fa381b9" providerId="ADAL" clId="{8E3D5D9D-CC05-4C7B-9A9C-2FFB7784C389}" dt="2024-02-07T04:41:28.559" v="39167"/>
          <ac:spMkLst>
            <pc:docMk/>
            <pc:sldMk cId="4190046986" sldId="480"/>
            <ac:spMk id="5" creationId="{A8144D94-A9BF-5E3D-CE49-54186F61473E}"/>
          </ac:spMkLst>
        </pc:spChg>
        <pc:spChg chg="add del mod modVis">
          <ac:chgData name="Muchahary, Frankle" userId="0f2bf491-0617-4378-90b8-89af8fa381b9" providerId="ADAL" clId="{8E3D5D9D-CC05-4C7B-9A9C-2FFB7784C389}" dt="2024-02-07T04:31:27.058" v="35666"/>
          <ac:spMkLst>
            <pc:docMk/>
            <pc:sldMk cId="4190046986" sldId="480"/>
            <ac:spMk id="6" creationId="{3449B955-C7FD-26AD-C013-DF85F8EA3212}"/>
          </ac:spMkLst>
        </pc:spChg>
        <pc:spChg chg="mod ord">
          <ac:chgData name="Muchahary, Frankle" userId="0f2bf491-0617-4378-90b8-89af8fa381b9" providerId="ADAL" clId="{8E3D5D9D-CC05-4C7B-9A9C-2FFB7784C389}" dt="2024-02-07T04:41:28.556" v="39161"/>
          <ac:spMkLst>
            <pc:docMk/>
            <pc:sldMk cId="4190046986" sldId="480"/>
            <ac:spMk id="7" creationId="{AB5D9118-ABC0-49F7-4909-A5F0D1C68D79}"/>
          </ac:spMkLst>
        </pc:spChg>
        <pc:spChg chg="add mod ord">
          <ac:chgData name="Muchahary, Frankle" userId="0f2bf491-0617-4378-90b8-89af8fa381b9" providerId="ADAL" clId="{8E3D5D9D-CC05-4C7B-9A9C-2FFB7784C389}" dt="2024-02-07T23:57:31.573" v="40657" actId="1076"/>
          <ac:spMkLst>
            <pc:docMk/>
            <pc:sldMk cId="4190046986" sldId="480"/>
            <ac:spMk id="10" creationId="{E68AAB1E-EBF6-6E36-571A-64603B411728}"/>
          </ac:spMkLst>
        </pc:spChg>
        <pc:spChg chg="add del mod modVis">
          <ac:chgData name="Muchahary, Frankle" userId="0f2bf491-0617-4378-90b8-89af8fa381b9" providerId="ADAL" clId="{8E3D5D9D-CC05-4C7B-9A9C-2FFB7784C389}" dt="2024-02-07T04:31:49.929" v="35790"/>
          <ac:spMkLst>
            <pc:docMk/>
            <pc:sldMk cId="4190046986" sldId="480"/>
            <ac:spMk id="12" creationId="{BCD2483D-748F-12B8-7DFF-43BED8E86DC5}"/>
          </ac:spMkLst>
        </pc:spChg>
        <pc:spChg chg="add del mod modVis">
          <ac:chgData name="Muchahary, Frankle" userId="0f2bf491-0617-4378-90b8-89af8fa381b9" providerId="ADAL" clId="{8E3D5D9D-CC05-4C7B-9A9C-2FFB7784C389}" dt="2024-02-07T04:31:57.174" v="35858"/>
          <ac:spMkLst>
            <pc:docMk/>
            <pc:sldMk cId="4190046986" sldId="480"/>
            <ac:spMk id="15" creationId="{F6809E53-F6A0-3F11-0C0F-E57E6970AE7B}"/>
          </ac:spMkLst>
        </pc:spChg>
        <pc:spChg chg="add mod replST">
          <ac:chgData name="Muchahary, Frankle" userId="0f2bf491-0617-4378-90b8-89af8fa381b9" providerId="ADAL" clId="{8E3D5D9D-CC05-4C7B-9A9C-2FFB7784C389}" dt="2024-02-07T04:41:28.560" v="39168"/>
          <ac:spMkLst>
            <pc:docMk/>
            <pc:sldMk cId="4190046986" sldId="480"/>
            <ac:spMk id="17" creationId="{1A82A72C-491C-6F93-77E7-118BF34735A1}"/>
          </ac:spMkLst>
        </pc:spChg>
        <pc:spChg chg="add del mod modVis">
          <ac:chgData name="Muchahary, Frankle" userId="0f2bf491-0617-4378-90b8-89af8fa381b9" providerId="ADAL" clId="{8E3D5D9D-CC05-4C7B-9A9C-2FFB7784C389}" dt="2024-02-07T04:32:04.848" v="35935"/>
          <ac:spMkLst>
            <pc:docMk/>
            <pc:sldMk cId="4190046986" sldId="480"/>
            <ac:spMk id="18" creationId="{1133DE97-F45A-775A-32A5-E98F0AB8F7A9}"/>
          </ac:spMkLst>
        </pc:spChg>
        <pc:spChg chg="add del mod modVis">
          <ac:chgData name="Muchahary, Frankle" userId="0f2bf491-0617-4378-90b8-89af8fa381b9" providerId="ADAL" clId="{8E3D5D9D-CC05-4C7B-9A9C-2FFB7784C389}" dt="2024-02-07T04:32:09.709" v="36005"/>
          <ac:spMkLst>
            <pc:docMk/>
            <pc:sldMk cId="4190046986" sldId="480"/>
            <ac:spMk id="20" creationId="{D427A5C6-7FEE-7641-B427-150B97A24C0A}"/>
          </ac:spMkLst>
        </pc:spChg>
        <pc:spChg chg="add del mod modVis">
          <ac:chgData name="Muchahary, Frankle" userId="0f2bf491-0617-4378-90b8-89af8fa381b9" providerId="ADAL" clId="{8E3D5D9D-CC05-4C7B-9A9C-2FFB7784C389}" dt="2024-02-07T04:32:18.194" v="36125"/>
          <ac:spMkLst>
            <pc:docMk/>
            <pc:sldMk cId="4190046986" sldId="480"/>
            <ac:spMk id="24" creationId="{3F6A1725-BE87-A576-BC92-0BE4904900A6}"/>
          </ac:spMkLst>
        </pc:spChg>
        <pc:spChg chg="add del mod modVis">
          <ac:chgData name="Muchahary, Frankle" userId="0f2bf491-0617-4378-90b8-89af8fa381b9" providerId="ADAL" clId="{8E3D5D9D-CC05-4C7B-9A9C-2FFB7784C389}" dt="2024-02-07T04:32:23.091" v="36197"/>
          <ac:spMkLst>
            <pc:docMk/>
            <pc:sldMk cId="4190046986" sldId="480"/>
            <ac:spMk id="26" creationId="{496A039D-B41F-1F58-3075-522F240B9276}"/>
          </ac:spMkLst>
        </pc:spChg>
        <pc:spChg chg="add del mod modVis">
          <ac:chgData name="Muchahary, Frankle" userId="0f2bf491-0617-4378-90b8-89af8fa381b9" providerId="ADAL" clId="{8E3D5D9D-CC05-4C7B-9A9C-2FFB7784C389}" dt="2024-02-07T04:32:35.418" v="36289"/>
          <ac:spMkLst>
            <pc:docMk/>
            <pc:sldMk cId="4190046986" sldId="480"/>
            <ac:spMk id="29" creationId="{8569B6D4-CF90-DB8E-2639-7B18F928E506}"/>
          </ac:spMkLst>
        </pc:spChg>
        <pc:spChg chg="add del mod modVis">
          <ac:chgData name="Muchahary, Frankle" userId="0f2bf491-0617-4378-90b8-89af8fa381b9" providerId="ADAL" clId="{8E3D5D9D-CC05-4C7B-9A9C-2FFB7784C389}" dt="2024-02-07T04:33:40.017" v="36337"/>
          <ac:spMkLst>
            <pc:docMk/>
            <pc:sldMk cId="4190046986" sldId="480"/>
            <ac:spMk id="31" creationId="{747FCDE6-A79F-16BE-752A-33A450F3F544}"/>
          </ac:spMkLst>
        </pc:spChg>
        <pc:spChg chg="del">
          <ac:chgData name="Muchahary, Frankle" userId="0f2bf491-0617-4378-90b8-89af8fa381b9" providerId="ADAL" clId="{8E3D5D9D-CC05-4C7B-9A9C-2FFB7784C389}" dt="2024-02-07T03:37:12.361" v="24658"/>
          <ac:spMkLst>
            <pc:docMk/>
            <pc:sldMk cId="4190046986" sldId="480"/>
            <ac:spMk id="33" creationId="{8FBA6961-6008-BCAF-391F-CE8A00849ADF}"/>
          </ac:spMkLst>
        </pc:spChg>
        <pc:spChg chg="add del mod modVis">
          <ac:chgData name="Muchahary, Frankle" userId="0f2bf491-0617-4378-90b8-89af8fa381b9" providerId="ADAL" clId="{8E3D5D9D-CC05-4C7B-9A9C-2FFB7784C389}" dt="2024-02-07T04:33:46.993" v="36385"/>
          <ac:spMkLst>
            <pc:docMk/>
            <pc:sldMk cId="4190046986" sldId="480"/>
            <ac:spMk id="34" creationId="{24FFED38-4F41-2A11-258A-51623701B9EE}"/>
          </ac:spMkLst>
        </pc:spChg>
        <pc:spChg chg="add del mod modVis">
          <ac:chgData name="Muchahary, Frankle" userId="0f2bf491-0617-4378-90b8-89af8fa381b9" providerId="ADAL" clId="{8E3D5D9D-CC05-4C7B-9A9C-2FFB7784C389}" dt="2024-02-07T04:33:53.017" v="36433"/>
          <ac:spMkLst>
            <pc:docMk/>
            <pc:sldMk cId="4190046986" sldId="480"/>
            <ac:spMk id="36" creationId="{C11EE756-1C32-F97F-A995-A2E7ADDE2618}"/>
          </ac:spMkLst>
        </pc:spChg>
        <pc:spChg chg="add mod ord replST">
          <ac:chgData name="Muchahary, Frankle" userId="0f2bf491-0617-4378-90b8-89af8fa381b9" providerId="ADAL" clId="{8E3D5D9D-CC05-4C7B-9A9C-2FFB7784C389}" dt="2024-02-07T04:41:28.560" v="39170"/>
          <ac:spMkLst>
            <pc:docMk/>
            <pc:sldMk cId="4190046986" sldId="480"/>
            <ac:spMk id="38" creationId="{E477E644-8871-75FB-0791-8D0166BAB88A}"/>
          </ac:spMkLst>
        </pc:spChg>
        <pc:spChg chg="add del mod modVis">
          <ac:chgData name="Muchahary, Frankle" userId="0f2bf491-0617-4378-90b8-89af8fa381b9" providerId="ADAL" clId="{8E3D5D9D-CC05-4C7B-9A9C-2FFB7784C389}" dt="2024-02-07T04:34:10.680" v="36568"/>
          <ac:spMkLst>
            <pc:docMk/>
            <pc:sldMk cId="4190046986" sldId="480"/>
            <ac:spMk id="39" creationId="{EA30E969-8494-9DE8-D538-45A671649946}"/>
          </ac:spMkLst>
        </pc:spChg>
        <pc:spChg chg="del">
          <ac:chgData name="Muchahary, Frankle" userId="0f2bf491-0617-4378-90b8-89af8fa381b9" providerId="ADAL" clId="{8E3D5D9D-CC05-4C7B-9A9C-2FFB7784C389}" dt="2024-02-07T03:37:12.360" v="24656"/>
          <ac:spMkLst>
            <pc:docMk/>
            <pc:sldMk cId="4190046986" sldId="480"/>
            <ac:spMk id="48" creationId="{88F331C2-6A4D-ED57-8F77-CF90B406D898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8" v="38054"/>
          <ac:spMkLst>
            <pc:docMk/>
            <pc:sldMk cId="4190046986" sldId="480"/>
            <ac:spMk id="52" creationId="{03FC270E-3500-1344-1884-9EC5401DD603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7" v="38052"/>
          <ac:spMkLst>
            <pc:docMk/>
            <pc:sldMk cId="4190046986" sldId="480"/>
            <ac:spMk id="53" creationId="{F182C483-4D9E-93C3-FF17-B8C9A8B18DCD}"/>
          </ac:spMkLst>
        </pc:spChg>
        <pc:spChg chg="add del mod replST">
          <ac:chgData name="Muchahary, Frankle" userId="0f2bf491-0617-4378-90b8-89af8fa381b9" providerId="ADAL" clId="{8E3D5D9D-CC05-4C7B-9A9C-2FFB7784C389}" dt="2024-02-07T04:36:11.486" v="38050"/>
          <ac:spMkLst>
            <pc:docMk/>
            <pc:sldMk cId="4190046986" sldId="480"/>
            <ac:spMk id="54" creationId="{969946C4-646F-18C8-3BF9-CB7188D4CA52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5" v="38049"/>
          <ac:spMkLst>
            <pc:docMk/>
            <pc:sldMk cId="4190046986" sldId="480"/>
            <ac:spMk id="55" creationId="{F5E19669-2C41-3CB6-E5E0-7388AA9B578D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3" v="38047"/>
          <ac:spMkLst>
            <pc:docMk/>
            <pc:sldMk cId="4190046986" sldId="480"/>
            <ac:spMk id="56" creationId="{AB90609C-CD29-3394-3A1E-6AB756711AE8}"/>
          </ac:spMkLst>
        </pc:spChg>
        <pc:spChg chg="add del mod replST">
          <ac:chgData name="Muchahary, Frankle" userId="0f2bf491-0617-4378-90b8-89af8fa381b9" providerId="ADAL" clId="{8E3D5D9D-CC05-4C7B-9A9C-2FFB7784C389}" dt="2024-02-07T04:36:11.483" v="38045"/>
          <ac:spMkLst>
            <pc:docMk/>
            <pc:sldMk cId="4190046986" sldId="480"/>
            <ac:spMk id="57" creationId="{7AE76B80-3700-5377-C1E9-00D1CF444D63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2" v="38044"/>
          <ac:spMkLst>
            <pc:docMk/>
            <pc:sldMk cId="4190046986" sldId="480"/>
            <ac:spMk id="58" creationId="{4A776D31-A05A-2B5C-CD15-624A68EFDC33}"/>
          </ac:spMkLst>
        </pc:spChg>
        <pc:spChg chg="add del mod ord replST">
          <ac:chgData name="Muchahary, Frankle" userId="0f2bf491-0617-4378-90b8-89af8fa381b9" providerId="ADAL" clId="{8E3D5D9D-CC05-4C7B-9A9C-2FFB7784C389}" dt="2024-02-07T04:36:11.482" v="38042"/>
          <ac:spMkLst>
            <pc:docMk/>
            <pc:sldMk cId="4190046986" sldId="480"/>
            <ac:spMk id="59" creationId="{DE772AF9-AFA1-C282-59B9-4FD13C27739F}"/>
          </ac:spMkLst>
        </pc:spChg>
        <pc:spChg chg="add del mod replST">
          <ac:chgData name="Muchahary, Frankle" userId="0f2bf491-0617-4378-90b8-89af8fa381b9" providerId="ADAL" clId="{8E3D5D9D-CC05-4C7B-9A9C-2FFB7784C389}" dt="2024-02-07T04:36:11.479" v="38040"/>
          <ac:spMkLst>
            <pc:docMk/>
            <pc:sldMk cId="4190046986" sldId="480"/>
            <ac:spMk id="60" creationId="{C04C4D79-7F4A-5BF1-3A11-FE5F4EF3F36B}"/>
          </ac:spMkLst>
        </pc:spChg>
        <pc:spChg chg="add del mod replST">
          <ac:chgData name="Muchahary, Frankle" userId="0f2bf491-0617-4378-90b8-89af8fa381b9" providerId="ADAL" clId="{8E3D5D9D-CC05-4C7B-9A9C-2FFB7784C389}" dt="2024-02-07T04:36:11.577" v="38105"/>
          <ac:spMkLst>
            <pc:docMk/>
            <pc:sldMk cId="4190046986" sldId="480"/>
            <ac:spMk id="61" creationId="{2FA66005-1796-3873-D220-8402306D4D95}"/>
          </ac:spMkLst>
        </pc:spChg>
        <pc:spChg chg="add del mod modVis">
          <ac:chgData name="Muchahary, Frankle" userId="0f2bf491-0617-4378-90b8-89af8fa381b9" providerId="ADAL" clId="{8E3D5D9D-CC05-4C7B-9A9C-2FFB7784C389}" dt="2024-02-07T04:35:13.135" v="37363"/>
          <ac:spMkLst>
            <pc:docMk/>
            <pc:sldMk cId="4190046986" sldId="480"/>
            <ac:spMk id="62" creationId="{6D8106BB-8EB3-29D4-04BE-B94D49890914}"/>
          </ac:spMkLst>
        </pc:spChg>
        <pc:spChg chg="add del mod replST">
          <ac:chgData name="Muchahary, Frankle" userId="0f2bf491-0617-4378-90b8-89af8fa381b9" providerId="ADAL" clId="{8E3D5D9D-CC05-4C7B-9A9C-2FFB7784C389}" dt="2024-02-07T04:36:11.579" v="38106"/>
          <ac:spMkLst>
            <pc:docMk/>
            <pc:sldMk cId="4190046986" sldId="480"/>
            <ac:spMk id="63" creationId="{80F2896E-1F1B-4989-54A7-B460EC1A5B21}"/>
          </ac:spMkLst>
        </pc:spChg>
        <pc:spChg chg="add del mod replST">
          <ac:chgData name="Muchahary, Frankle" userId="0f2bf491-0617-4378-90b8-89af8fa381b9" providerId="ADAL" clId="{8E3D5D9D-CC05-4C7B-9A9C-2FFB7784C389}" dt="2024-02-07T04:36:11.579" v="38107"/>
          <ac:spMkLst>
            <pc:docMk/>
            <pc:sldMk cId="4190046986" sldId="480"/>
            <ac:spMk id="64" creationId="{A961CC59-D782-2875-03DB-9B364A5C01A6}"/>
          </ac:spMkLst>
        </pc:spChg>
        <pc:spChg chg="add del mod modVis">
          <ac:chgData name="Muchahary, Frankle" userId="0f2bf491-0617-4378-90b8-89af8fa381b9" providerId="ADAL" clId="{8E3D5D9D-CC05-4C7B-9A9C-2FFB7784C389}" dt="2024-02-07T04:35:28.075" v="37491"/>
          <ac:spMkLst>
            <pc:docMk/>
            <pc:sldMk cId="4190046986" sldId="480"/>
            <ac:spMk id="66" creationId="{FB86D860-50C8-F567-B884-45CD14E348FB}"/>
          </ac:spMkLst>
        </pc:spChg>
        <pc:spChg chg="del">
          <ac:chgData name="Muchahary, Frankle" userId="0f2bf491-0617-4378-90b8-89af8fa381b9" providerId="ADAL" clId="{8E3D5D9D-CC05-4C7B-9A9C-2FFB7784C389}" dt="2024-02-07T03:37:12.360" v="24657"/>
          <ac:spMkLst>
            <pc:docMk/>
            <pc:sldMk cId="4190046986" sldId="480"/>
            <ac:spMk id="68" creationId="{C55015FA-2A6E-FB3C-5A29-779991211405}"/>
          </ac:spMkLst>
        </pc:spChg>
        <pc:spChg chg="del">
          <ac:chgData name="Muchahary, Frankle" userId="0f2bf491-0617-4378-90b8-89af8fa381b9" providerId="ADAL" clId="{8E3D5D9D-CC05-4C7B-9A9C-2FFB7784C389}" dt="2024-02-07T03:37:12.358" v="24655"/>
          <ac:spMkLst>
            <pc:docMk/>
            <pc:sldMk cId="4190046986" sldId="480"/>
            <ac:spMk id="69" creationId="{A110FC56-AA93-1B61-4A41-2A1B55FD613C}"/>
          </ac:spMkLst>
        </pc:spChg>
        <pc:spChg chg="add mod replST delST">
          <ac:chgData name="Muchahary, Frankle" userId="0f2bf491-0617-4378-90b8-89af8fa381b9" providerId="ADAL" clId="{8E3D5D9D-CC05-4C7B-9A9C-2FFB7784C389}" dt="2024-02-07T04:36:04.773" v="38035" actId="207"/>
          <ac:spMkLst>
            <pc:docMk/>
            <pc:sldMk cId="4190046986" sldId="480"/>
            <ac:spMk id="72" creationId="{9B2580C9-EE3D-985C-BA98-1667EAD20DBA}"/>
          </ac:spMkLst>
        </pc:spChg>
        <pc:spChg chg="add mod replST delST">
          <ac:chgData name="Muchahary, Frankle" userId="0f2bf491-0617-4378-90b8-89af8fa381b9" providerId="ADAL" clId="{8E3D5D9D-CC05-4C7B-9A9C-2FFB7784C389}" dt="2024-02-07T04:36:04.767" v="38027" actId="207"/>
          <ac:spMkLst>
            <pc:docMk/>
            <pc:sldMk cId="4190046986" sldId="480"/>
            <ac:spMk id="73" creationId="{61E8BD4E-BC26-996D-FE5C-81204662E653}"/>
          </ac:spMkLst>
        </pc:spChg>
        <pc:spChg chg="add mod replST delST">
          <ac:chgData name="Muchahary, Frankle" userId="0f2bf491-0617-4378-90b8-89af8fa381b9" providerId="ADAL" clId="{8E3D5D9D-CC05-4C7B-9A9C-2FFB7784C389}" dt="2024-02-07T04:36:04.762" v="38020" actId="207"/>
          <ac:spMkLst>
            <pc:docMk/>
            <pc:sldMk cId="4190046986" sldId="480"/>
            <ac:spMk id="74" creationId="{904066DF-97AB-838D-8531-17C96971C36A}"/>
          </ac:spMkLst>
        </pc:spChg>
        <pc:spChg chg="add mod replST delST">
          <ac:chgData name="Muchahary, Frankle" userId="0f2bf491-0617-4378-90b8-89af8fa381b9" providerId="ADAL" clId="{8E3D5D9D-CC05-4C7B-9A9C-2FFB7784C389}" dt="2024-02-07T04:36:04.756" v="38013" actId="207"/>
          <ac:spMkLst>
            <pc:docMk/>
            <pc:sldMk cId="4190046986" sldId="480"/>
            <ac:spMk id="75" creationId="{120E6D03-168A-BEB9-867E-8E24613E0068}"/>
          </ac:spMkLst>
        </pc:spChg>
        <pc:spChg chg="add mod replST delST">
          <ac:chgData name="Muchahary, Frankle" userId="0f2bf491-0617-4378-90b8-89af8fa381b9" providerId="ADAL" clId="{8E3D5D9D-CC05-4C7B-9A9C-2FFB7784C389}" dt="2024-02-07T04:36:04.748" v="38005" actId="207"/>
          <ac:spMkLst>
            <pc:docMk/>
            <pc:sldMk cId="4190046986" sldId="480"/>
            <ac:spMk id="76" creationId="{DB6D4BE2-647D-0EED-C5FC-369AE0D96FBE}"/>
          </ac:spMkLst>
        </pc:spChg>
        <pc:spChg chg="add mod replST delST">
          <ac:chgData name="Muchahary, Frankle" userId="0f2bf491-0617-4378-90b8-89af8fa381b9" providerId="ADAL" clId="{8E3D5D9D-CC05-4C7B-9A9C-2FFB7784C389}" dt="2024-02-07T04:36:04.744" v="37998" actId="207"/>
          <ac:spMkLst>
            <pc:docMk/>
            <pc:sldMk cId="4190046986" sldId="480"/>
            <ac:spMk id="77" creationId="{A5887F74-4406-7953-9678-B97A5134C144}"/>
          </ac:spMkLst>
        </pc:spChg>
        <pc:spChg chg="add mod replST delST">
          <ac:chgData name="Muchahary, Frankle" userId="0f2bf491-0617-4378-90b8-89af8fa381b9" providerId="ADAL" clId="{8E3D5D9D-CC05-4C7B-9A9C-2FFB7784C389}" dt="2024-02-07T04:36:04.737" v="37991" actId="207"/>
          <ac:spMkLst>
            <pc:docMk/>
            <pc:sldMk cId="4190046986" sldId="480"/>
            <ac:spMk id="78" creationId="{7E16F8E6-CD15-9FDB-017B-E30C361B1280}"/>
          </ac:spMkLst>
        </pc:spChg>
        <pc:spChg chg="add mod replST delST">
          <ac:chgData name="Muchahary, Frankle" userId="0f2bf491-0617-4378-90b8-89af8fa381b9" providerId="ADAL" clId="{8E3D5D9D-CC05-4C7B-9A9C-2FFB7784C389}" dt="2024-02-07T04:36:04.731" v="37983" actId="207"/>
          <ac:spMkLst>
            <pc:docMk/>
            <pc:sldMk cId="4190046986" sldId="480"/>
            <ac:spMk id="79" creationId="{AD51C00A-0A39-8E1D-9644-F3422FA3D08D}"/>
          </ac:spMkLst>
        </pc:spChg>
        <pc:spChg chg="add mod replST delST">
          <ac:chgData name="Muchahary, Frankle" userId="0f2bf491-0617-4378-90b8-89af8fa381b9" providerId="ADAL" clId="{8E3D5D9D-CC05-4C7B-9A9C-2FFB7784C389}" dt="2024-02-07T04:36:04.726" v="37976" actId="207"/>
          <ac:spMkLst>
            <pc:docMk/>
            <pc:sldMk cId="4190046986" sldId="480"/>
            <ac:spMk id="80" creationId="{575A5687-C503-5DA8-30C6-F109682FFCA1}"/>
          </ac:spMkLst>
        </pc:spChg>
        <pc:spChg chg="add del mod modVis">
          <ac:chgData name="Muchahary, Frankle" userId="0f2bf491-0617-4378-90b8-89af8fa381b9" providerId="ADAL" clId="{8E3D5D9D-CC05-4C7B-9A9C-2FFB7784C389}" dt="2024-02-07T04:36:11.630" v="38150"/>
          <ac:spMkLst>
            <pc:docMk/>
            <pc:sldMk cId="4190046986" sldId="480"/>
            <ac:spMk id="83" creationId="{605D643F-69E1-8EDB-54F0-D0AE1BF7A37C}"/>
          </ac:spMkLst>
        </pc:spChg>
        <pc:spChg chg="add mod ord">
          <ac:chgData name="Muchahary, Frankle" userId="0f2bf491-0617-4378-90b8-89af8fa381b9" providerId="ADAL" clId="{8E3D5D9D-CC05-4C7B-9A9C-2FFB7784C389}" dt="2024-02-07T04:41:28.563" v="39174"/>
          <ac:spMkLst>
            <pc:docMk/>
            <pc:sldMk cId="4190046986" sldId="480"/>
            <ac:spMk id="86" creationId="{2858CE84-6E7F-19DF-5358-3D590BAA4AB9}"/>
          </ac:spMkLst>
        </pc:spChg>
        <pc:spChg chg="add del mod modVis">
          <ac:chgData name="Muchahary, Frankle" userId="0f2bf491-0617-4378-90b8-89af8fa381b9" providerId="ADAL" clId="{8E3D5D9D-CC05-4C7B-9A9C-2FFB7784C389}" dt="2024-02-07T04:37:11.564" v="38347"/>
          <ac:spMkLst>
            <pc:docMk/>
            <pc:sldMk cId="4190046986" sldId="480"/>
            <ac:spMk id="87" creationId="{B26742B2-1773-C7D2-4876-3AB7E1C230A9}"/>
          </ac:spMkLst>
        </pc:spChg>
        <pc:spChg chg="add del mod modVis">
          <ac:chgData name="Muchahary, Frankle" userId="0f2bf491-0617-4378-90b8-89af8fa381b9" providerId="ADAL" clId="{8E3D5D9D-CC05-4C7B-9A9C-2FFB7784C389}" dt="2024-02-07T04:37:13.283" v="38420"/>
          <ac:spMkLst>
            <pc:docMk/>
            <pc:sldMk cId="4190046986" sldId="480"/>
            <ac:spMk id="89" creationId="{DB29678A-83F2-728F-6C82-E8BA59A6E73B}"/>
          </ac:spMkLst>
        </pc:spChg>
        <pc:spChg chg="add del mod modVis">
          <ac:chgData name="Muchahary, Frankle" userId="0f2bf491-0617-4378-90b8-89af8fa381b9" providerId="ADAL" clId="{8E3D5D9D-CC05-4C7B-9A9C-2FFB7784C389}" dt="2024-02-07T04:37:15.332" v="38493"/>
          <ac:spMkLst>
            <pc:docMk/>
            <pc:sldMk cId="4190046986" sldId="480"/>
            <ac:spMk id="91" creationId="{24279656-EF98-9807-D350-065ECB8DB2AD}"/>
          </ac:spMkLst>
        </pc:spChg>
        <pc:spChg chg="add mod replST delST">
          <ac:chgData name="Muchahary, Frankle" userId="0f2bf491-0617-4378-90b8-89af8fa381b9" providerId="ADAL" clId="{8E3D5D9D-CC05-4C7B-9A9C-2FFB7784C389}" dt="2024-02-07T04:37:26.071" v="38677"/>
          <ac:spMkLst>
            <pc:docMk/>
            <pc:sldMk cId="4190046986" sldId="480"/>
            <ac:spMk id="93" creationId="{B1BC1508-6E39-BE37-B342-F4DBF75CB738}"/>
          </ac:spMkLst>
        </pc:spChg>
        <pc:spChg chg="add del mod modVis">
          <ac:chgData name="Muchahary, Frankle" userId="0f2bf491-0617-4378-90b8-89af8fa381b9" providerId="ADAL" clId="{8E3D5D9D-CC05-4C7B-9A9C-2FFB7784C389}" dt="2024-02-07T04:37:26.071" v="38677"/>
          <ac:spMkLst>
            <pc:docMk/>
            <pc:sldMk cId="4190046986" sldId="480"/>
            <ac:spMk id="94" creationId="{A723F0AC-A50F-3DC8-3322-D08167786709}"/>
          </ac:spMkLst>
        </pc:spChg>
        <pc:spChg chg="add del mod modVis">
          <ac:chgData name="Muchahary, Frankle" userId="0f2bf491-0617-4378-90b8-89af8fa381b9" providerId="ADAL" clId="{8E3D5D9D-CC05-4C7B-9A9C-2FFB7784C389}" dt="2024-02-07T04:40:45.319" v="38840"/>
          <ac:spMkLst>
            <pc:docMk/>
            <pc:sldMk cId="4190046986" sldId="480"/>
            <ac:spMk id="96" creationId="{46F15737-46CB-09F0-8C1F-5FEE46CEEEA5}"/>
          </ac:spMkLst>
        </pc:spChg>
        <pc:spChg chg="add del mod modVis">
          <ac:chgData name="Muchahary, Frankle" userId="0f2bf491-0617-4378-90b8-89af8fa381b9" providerId="ADAL" clId="{8E3D5D9D-CC05-4C7B-9A9C-2FFB7784C389}" dt="2024-02-07T04:40:51.055" v="38927"/>
          <ac:spMkLst>
            <pc:docMk/>
            <pc:sldMk cId="4190046986" sldId="480"/>
            <ac:spMk id="98" creationId="{4B80184B-FDCE-08C4-94F1-BC1617C5EBC5}"/>
          </ac:spMkLst>
        </pc:spChg>
        <pc:spChg chg="add del mod modVis">
          <ac:chgData name="Muchahary, Frankle" userId="0f2bf491-0617-4378-90b8-89af8fa381b9" providerId="ADAL" clId="{8E3D5D9D-CC05-4C7B-9A9C-2FFB7784C389}" dt="2024-02-07T04:41:23.853" v="39036"/>
          <ac:spMkLst>
            <pc:docMk/>
            <pc:sldMk cId="4190046986" sldId="480"/>
            <ac:spMk id="100" creationId="{4410B99A-50C4-222D-4190-E32101B995E9}"/>
          </ac:spMkLst>
        </pc:spChg>
        <pc:spChg chg="add del mod modVis">
          <ac:chgData name="Muchahary, Frankle" userId="0f2bf491-0617-4378-90b8-89af8fa381b9" providerId="ADAL" clId="{8E3D5D9D-CC05-4C7B-9A9C-2FFB7784C389}" dt="2024-02-07T04:41:26.251" v="39107"/>
          <ac:spMkLst>
            <pc:docMk/>
            <pc:sldMk cId="4190046986" sldId="480"/>
            <ac:spMk id="102" creationId="{B2DE527F-919E-B585-AE81-02D12801485F}"/>
          </ac:spMkLst>
        </pc:spChg>
        <pc:spChg chg="add del mod modVis">
          <ac:chgData name="Muchahary, Frankle" userId="0f2bf491-0617-4378-90b8-89af8fa381b9" providerId="ADAL" clId="{8E3D5D9D-CC05-4C7B-9A9C-2FFB7784C389}" dt="2024-02-07T04:41:28.565" v="39178"/>
          <ac:spMkLst>
            <pc:docMk/>
            <pc:sldMk cId="4190046986" sldId="480"/>
            <ac:spMk id="104" creationId="{4E83388C-D704-5320-DAE8-D68326FD2359}"/>
          </ac:spMkLst>
        </pc:spChg>
        <pc:spChg chg="add mod">
          <ac:chgData name="Muchahary, Frankle" userId="0f2bf491-0617-4378-90b8-89af8fa381b9" providerId="ADAL" clId="{8E3D5D9D-CC05-4C7B-9A9C-2FFB7784C389}" dt="2024-02-08T01:59:29.019" v="51366" actId="20577"/>
          <ac:spMkLst>
            <pc:docMk/>
            <pc:sldMk cId="4190046986" sldId="480"/>
            <ac:spMk id="106" creationId="{F2F3C9B8-7BA4-88D4-7176-6E792B2C5026}"/>
          </ac:spMkLst>
        </pc:spChg>
        <pc:spChg chg="add mod">
          <ac:chgData name="Muchahary, Frankle" userId="0f2bf491-0617-4378-90b8-89af8fa381b9" providerId="ADAL" clId="{8E3D5D9D-CC05-4C7B-9A9C-2FFB7784C389}" dt="2024-02-08T02:58:14.408" v="52706" actId="20577"/>
          <ac:spMkLst>
            <pc:docMk/>
            <pc:sldMk cId="4190046986" sldId="480"/>
            <ac:spMk id="107" creationId="{9596D208-4915-1770-0963-019B05FA49E2}"/>
          </ac:spMkLst>
        </pc:spChg>
        <pc:graphicFrameChg chg="add del mod replST">
          <ac:chgData name="Muchahary, Frankle" userId="0f2bf491-0617-4378-90b8-89af8fa381b9" providerId="ADAL" clId="{8E3D5D9D-CC05-4C7B-9A9C-2FFB7784C389}" dt="2024-02-07T04:31:27.030" v="35648"/>
          <ac:graphicFrameMkLst>
            <pc:docMk/>
            <pc:sldMk cId="4190046986" sldId="480"/>
            <ac:graphicFrameMk id="3" creationId="{55586833-6C96-9D88-26FE-002AB963B5F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1:28.703" v="35680"/>
          <ac:graphicFrameMkLst>
            <pc:docMk/>
            <pc:sldMk cId="4190046986" sldId="480"/>
            <ac:graphicFrameMk id="8" creationId="{3511052D-BA88-3945-174B-8CD9764C862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1:36.945" v="35708"/>
          <ac:graphicFrameMkLst>
            <pc:docMk/>
            <pc:sldMk cId="4190046986" sldId="480"/>
            <ac:graphicFrameMk id="9" creationId="{24C92A53-ACA9-985D-DE45-34938A46B75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1:49.893" v="35770"/>
          <ac:graphicFrameMkLst>
            <pc:docMk/>
            <pc:sldMk cId="4190046986" sldId="480"/>
            <ac:graphicFrameMk id="11" creationId="{FFAD5505-D4DE-BC08-2C73-2FA64AB122F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1:57.142" v="35838"/>
          <ac:graphicFrameMkLst>
            <pc:docMk/>
            <pc:sldMk cId="4190046986" sldId="480"/>
            <ac:graphicFrameMk id="13" creationId="{D1B40C1A-8DF0-B723-004A-5A3A8B28B9AB}"/>
          </ac:graphicFrameMkLst>
        </pc:graphicFrameChg>
        <pc:graphicFrameChg chg="mod">
          <ac:chgData name="Muchahary, Frankle" userId="0f2bf491-0617-4378-90b8-89af8fa381b9" providerId="ADAL" clId="{8E3D5D9D-CC05-4C7B-9A9C-2FFB7784C389}" dt="2024-02-07T04:41:28.571" v="39180"/>
          <ac:graphicFrameMkLst>
            <pc:docMk/>
            <pc:sldMk cId="4190046986" sldId="480"/>
            <ac:graphicFrameMk id="14" creationId="{AD7DC90D-7EB5-D30D-BE69-A766F87A9D2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04.814" v="35914"/>
          <ac:graphicFrameMkLst>
            <pc:docMk/>
            <pc:sldMk cId="4190046986" sldId="480"/>
            <ac:graphicFrameMk id="16" creationId="{A89E1506-F83C-E894-E0ED-6C5B1B00D99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09.677" v="35984"/>
          <ac:graphicFrameMkLst>
            <pc:docMk/>
            <pc:sldMk cId="4190046986" sldId="480"/>
            <ac:graphicFrameMk id="19" creationId="{D2C86151-C233-A1D2-A1AB-1DAF0769860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12.108" v="36012"/>
          <ac:graphicFrameMkLst>
            <pc:docMk/>
            <pc:sldMk cId="4190046986" sldId="480"/>
            <ac:graphicFrameMk id="21" creationId="{E914108D-039D-FF4D-2885-2F6E46525C4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14.249" v="36038"/>
          <ac:graphicFrameMkLst>
            <pc:docMk/>
            <pc:sldMk cId="4190046986" sldId="480"/>
            <ac:graphicFrameMk id="22" creationId="{CA79BA81-9A15-15B3-58F7-B26F09197D9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18.161" v="36104"/>
          <ac:graphicFrameMkLst>
            <pc:docMk/>
            <pc:sldMk cId="4190046986" sldId="480"/>
            <ac:graphicFrameMk id="23" creationId="{706666B3-34B6-FF66-4F6C-9547496D7CB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23.057" v="36176"/>
          <ac:graphicFrameMkLst>
            <pc:docMk/>
            <pc:sldMk cId="4190046986" sldId="480"/>
            <ac:graphicFrameMk id="25" creationId="{EDD6B8F4-052B-72CA-4F1D-182AA429176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30.068" v="36204"/>
          <ac:graphicFrameMkLst>
            <pc:docMk/>
            <pc:sldMk cId="4190046986" sldId="480"/>
            <ac:graphicFrameMk id="27" creationId="{DA0C89C1-C1EF-8F66-909B-C17815C5B12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2:35.383" v="36268"/>
          <ac:graphicFrameMkLst>
            <pc:docMk/>
            <pc:sldMk cId="4190046986" sldId="480"/>
            <ac:graphicFrameMk id="28" creationId="{A10E2D79-38BE-602C-2229-E09538D3646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3:39.986" v="36316"/>
          <ac:graphicFrameMkLst>
            <pc:docMk/>
            <pc:sldMk cId="4190046986" sldId="480"/>
            <ac:graphicFrameMk id="30" creationId="{7505E03F-1B55-F055-0FFA-8CA83E31E75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3:46.962" v="36364"/>
          <ac:graphicFrameMkLst>
            <pc:docMk/>
            <pc:sldMk cId="4190046986" sldId="480"/>
            <ac:graphicFrameMk id="32" creationId="{A0C5929D-ADD6-5D17-EA92-DF3371F067F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3:52.983" v="36412"/>
          <ac:graphicFrameMkLst>
            <pc:docMk/>
            <pc:sldMk cId="4190046986" sldId="480"/>
            <ac:graphicFrameMk id="35" creationId="{DFE761B7-4F24-8789-7275-D1621E38178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10.648" v="36543"/>
          <ac:graphicFrameMkLst>
            <pc:docMk/>
            <pc:sldMk cId="4190046986" sldId="480"/>
            <ac:graphicFrameMk id="37" creationId="{39BA4AFE-E1D1-C91E-8493-E592C97E8C1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17.210" v="36605"/>
          <ac:graphicFrameMkLst>
            <pc:docMk/>
            <pc:sldMk cId="4190046986" sldId="480"/>
            <ac:graphicFrameMk id="41" creationId="{7D0CBD80-5619-6FF8-6C2F-E7AEA5561AF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18.773" v="36664"/>
          <ac:graphicFrameMkLst>
            <pc:docMk/>
            <pc:sldMk cId="4190046986" sldId="480"/>
            <ac:graphicFrameMk id="42" creationId="{1E37C910-D785-71A8-2D47-4B0F6F95560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19.882" v="36723"/>
          <ac:graphicFrameMkLst>
            <pc:docMk/>
            <pc:sldMk cId="4190046986" sldId="480"/>
            <ac:graphicFrameMk id="43" creationId="{0CACF352-EE94-702C-BEF8-6D355DB53C1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21.784" v="36768"/>
          <ac:graphicFrameMkLst>
            <pc:docMk/>
            <pc:sldMk cId="4190046986" sldId="480"/>
            <ac:graphicFrameMk id="44" creationId="{BCF3FB9E-6E60-AE27-02C3-D798E84EF53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4:53.212" v="36803"/>
          <ac:graphicFrameMkLst>
            <pc:docMk/>
            <pc:sldMk cId="4190046986" sldId="480"/>
            <ac:graphicFrameMk id="45" creationId="{6E984602-4B08-49CC-ECDB-DE8A4AB7FF4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00.341" v="36834"/>
          <ac:graphicFrameMkLst>
            <pc:docMk/>
            <pc:sldMk cId="4190046986" sldId="480"/>
            <ac:graphicFrameMk id="46" creationId="{DAA26606-2DEE-F80A-A017-A31B873333F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03.797" v="36865"/>
          <ac:graphicFrameMkLst>
            <pc:docMk/>
            <pc:sldMk cId="4190046986" sldId="480"/>
            <ac:graphicFrameMk id="47" creationId="{F2B38A83-C85D-12BC-BCF1-A6949A261A8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07.916" v="36910"/>
          <ac:graphicFrameMkLst>
            <pc:docMk/>
            <pc:sldMk cId="4190046986" sldId="480"/>
            <ac:graphicFrameMk id="49" creationId="{2330937F-E890-5049-B9AB-12DFEAB1DF7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09.338" v="36969"/>
          <ac:graphicFrameMkLst>
            <pc:docMk/>
            <pc:sldMk cId="4190046986" sldId="480"/>
            <ac:graphicFrameMk id="50" creationId="{D6958A66-1933-F9DD-78B6-31787CC0AF8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13.088" v="37320"/>
          <ac:graphicFrameMkLst>
            <pc:docMk/>
            <pc:sldMk cId="4190046986" sldId="480"/>
            <ac:graphicFrameMk id="51" creationId="{B99C9753-6471-4E83-0CDC-3F92ED2F3D1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28.028" v="37448"/>
          <ac:graphicFrameMkLst>
            <pc:docMk/>
            <pc:sldMk cId="4190046986" sldId="480"/>
            <ac:graphicFrameMk id="65" creationId="{CD095C4E-1A1C-2294-743D-730A3F62941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28.623" v="37502"/>
          <ac:graphicFrameMkLst>
            <pc:docMk/>
            <pc:sldMk cId="4190046986" sldId="480"/>
            <ac:graphicFrameMk id="67" creationId="{E3213685-4AD7-8B2F-287C-B7BA140132F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5:55.169" v="37701"/>
          <ac:graphicFrameMkLst>
            <pc:docMk/>
            <pc:sldMk cId="4190046986" sldId="480"/>
            <ac:graphicFrameMk id="70" creationId="{C82F1FAC-5002-B958-CBA0-C81DC09E4B5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6:11.598" v="38125"/>
          <ac:graphicFrameMkLst>
            <pc:docMk/>
            <pc:sldMk cId="4190046986" sldId="480"/>
            <ac:graphicFrameMk id="71" creationId="{84897BDB-C12B-4570-6355-E52975044F14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7T04:36:04.775" v="38037"/>
          <ac:graphicFrameMkLst>
            <pc:docMk/>
            <pc:sldMk cId="4190046986" sldId="480"/>
            <ac:graphicFrameMk id="81" creationId="{9FF1662D-7426-7B59-1761-B2B7E82B051D}"/>
          </ac:graphicFrameMkLst>
        </pc:graphicFrameChg>
        <pc:graphicFrameChg chg="del">
          <ac:chgData name="Muchahary, Frankle" userId="0f2bf491-0617-4378-90b8-89af8fa381b9" providerId="ADAL" clId="{8E3D5D9D-CC05-4C7B-9A9C-2FFB7784C389}" dt="2024-02-07T03:37:12.363" v="24660"/>
          <ac:graphicFrameMkLst>
            <pc:docMk/>
            <pc:sldMk cId="4190046986" sldId="480"/>
            <ac:graphicFrameMk id="82" creationId="{8D3809DA-9D2A-094F-1E1D-DC641ED7EC5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6:14.331" v="38186"/>
          <ac:graphicFrameMkLst>
            <pc:docMk/>
            <pc:sldMk cId="4190046986" sldId="480"/>
            <ac:graphicFrameMk id="84" creationId="{46F36AF4-71C1-31E2-C913-0EA0186FFC5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7:11.523" v="38320"/>
          <ac:graphicFrameMkLst>
            <pc:docMk/>
            <pc:sldMk cId="4190046986" sldId="480"/>
            <ac:graphicFrameMk id="85" creationId="{D28445BC-39E6-60A5-F88D-C9757124055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7:13.237" v="38393"/>
          <ac:graphicFrameMkLst>
            <pc:docMk/>
            <pc:sldMk cId="4190046986" sldId="480"/>
            <ac:graphicFrameMk id="88" creationId="{94C1B749-3944-2D85-DA30-84AE797587F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7:15.289" v="38466"/>
          <ac:graphicFrameMkLst>
            <pc:docMk/>
            <pc:sldMk cId="4190046986" sldId="480"/>
            <ac:graphicFrameMk id="90" creationId="{C66F75F1-7FD2-C7C3-0215-74200B586F4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40:45.282" v="38813"/>
          <ac:graphicFrameMkLst>
            <pc:docMk/>
            <pc:sldMk cId="4190046986" sldId="480"/>
            <ac:graphicFrameMk id="92" creationId="{B936C57D-B01E-5B6B-11FC-B14CF1D29C03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7T04:37:26.071" v="38677"/>
          <ac:graphicFrameMkLst>
            <pc:docMk/>
            <pc:sldMk cId="4190046986" sldId="480"/>
            <ac:graphicFrameMk id="95" creationId="{D33E763E-0858-75FA-8480-B65DEE16C8B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40:51.020" v="38900"/>
          <ac:graphicFrameMkLst>
            <pc:docMk/>
            <pc:sldMk cId="4190046986" sldId="480"/>
            <ac:graphicFrameMk id="97" creationId="{44E4F895-226D-8B4A-DF63-D05415AE33D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41:23.818" v="39009"/>
          <ac:graphicFrameMkLst>
            <pc:docMk/>
            <pc:sldMk cId="4190046986" sldId="480"/>
            <ac:graphicFrameMk id="99" creationId="{811FC8A7-68CB-BA76-385C-219F7285CAC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41:26.214" v="39080"/>
          <ac:graphicFrameMkLst>
            <pc:docMk/>
            <pc:sldMk cId="4190046986" sldId="480"/>
            <ac:graphicFrameMk id="101" creationId="{13D49E83-B2F8-76DE-7B0C-DBF6E709469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41:28.530" v="39151"/>
          <ac:graphicFrameMkLst>
            <pc:docMk/>
            <pc:sldMk cId="4190046986" sldId="480"/>
            <ac:graphicFrameMk id="103" creationId="{7655AD09-4EAF-1D84-287B-6D795B37F777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7T04:41:28.558" v="39163"/>
          <ac:graphicFrameMkLst>
            <pc:docMk/>
            <pc:sldMk cId="4190046986" sldId="480"/>
            <ac:graphicFrameMk id="105" creationId="{680B9BCB-B1ED-9B7F-F457-849F3FEC2D75}"/>
          </ac:graphicFrameMkLst>
        </pc:graphicFrameChg>
        <pc:cxnChg chg="add mod ord replST">
          <ac:chgData name="Muchahary, Frankle" userId="0f2bf491-0617-4378-90b8-89af8fa381b9" providerId="ADAL" clId="{8E3D5D9D-CC05-4C7B-9A9C-2FFB7784C389}" dt="2024-02-07T04:41:28.558" v="39165"/>
          <ac:cxnSpMkLst>
            <pc:docMk/>
            <pc:sldMk cId="4190046986" sldId="480"/>
            <ac:cxnSpMk id="40" creationId="{D266D75E-AE9D-BB86-3E57-88F4B4A45BFC}"/>
          </ac:cxnSpMkLst>
        </pc:cxnChg>
      </pc:sldChg>
      <pc:sldChg chg="addSp delSp modSp add mod">
        <pc:chgData name="Muchahary, Frankle" userId="0f2bf491-0617-4378-90b8-89af8fa381b9" providerId="ADAL" clId="{8E3D5D9D-CC05-4C7B-9A9C-2FFB7784C389}" dt="2024-02-08T04:20:41.603" v="62332" actId="20577"/>
        <pc:sldMkLst>
          <pc:docMk/>
          <pc:sldMk cId="841303760" sldId="481"/>
        </pc:sldMkLst>
        <pc:spChg chg="mod ord">
          <ac:chgData name="Muchahary, Frankle" userId="0f2bf491-0617-4378-90b8-89af8fa381b9" providerId="ADAL" clId="{8E3D5D9D-CC05-4C7B-9A9C-2FFB7784C389}" dt="2024-02-08T04:18:30.381" v="61979" actId="20577"/>
          <ac:spMkLst>
            <pc:docMk/>
            <pc:sldMk cId="841303760" sldId="481"/>
            <ac:spMk id="2" creationId="{C56872C6-0352-BE34-5368-A6E9DCCE835B}"/>
          </ac:spMkLst>
        </pc:spChg>
        <pc:spChg chg="add del mod replST">
          <ac:chgData name="Muchahary, Frankle" userId="0f2bf491-0617-4378-90b8-89af8fa381b9" providerId="ADAL" clId="{8E3D5D9D-CC05-4C7B-9A9C-2FFB7784C389}" dt="2024-02-08T04:17:05.935" v="61762"/>
          <ac:spMkLst>
            <pc:docMk/>
            <pc:sldMk cId="841303760" sldId="481"/>
            <ac:spMk id="4" creationId="{F24946F4-368A-5572-A4C9-3A9AE22EE1B3}"/>
          </ac:spMkLst>
        </pc:spChg>
        <pc:spChg chg="add del mod replST">
          <ac:chgData name="Muchahary, Frankle" userId="0f2bf491-0617-4378-90b8-89af8fa381b9" providerId="ADAL" clId="{8E3D5D9D-CC05-4C7B-9A9C-2FFB7784C389}" dt="2024-02-08T04:17:05.936" v="61763"/>
          <ac:spMkLst>
            <pc:docMk/>
            <pc:sldMk cId="841303760" sldId="481"/>
            <ac:spMk id="5" creationId="{FD4064E8-AAAD-EE7E-E1B3-28ADCC1F22BA}"/>
          </ac:spMkLst>
        </pc:spChg>
        <pc:spChg chg="add mod replST">
          <ac:chgData name="Muchahary, Frankle" userId="0f2bf491-0617-4378-90b8-89af8fa381b9" providerId="ADAL" clId="{8E3D5D9D-CC05-4C7B-9A9C-2FFB7784C389}" dt="2024-02-08T04:17:05.939" v="61769"/>
          <ac:spMkLst>
            <pc:docMk/>
            <pc:sldMk cId="841303760" sldId="481"/>
            <ac:spMk id="6" creationId="{AB90BEFE-8D2D-EB4E-89C6-4CFC39434286}"/>
          </ac:spMkLst>
        </pc:spChg>
        <pc:spChg chg="mod ord">
          <ac:chgData name="Muchahary, Frankle" userId="0f2bf491-0617-4378-90b8-89af8fa381b9" providerId="ADAL" clId="{8E3D5D9D-CC05-4C7B-9A9C-2FFB7784C389}" dt="2024-02-08T04:17:05.933" v="61759"/>
          <ac:spMkLst>
            <pc:docMk/>
            <pc:sldMk cId="841303760" sldId="481"/>
            <ac:spMk id="7" creationId="{60FCECFA-84D1-15E5-1BA8-712E7B49463E}"/>
          </ac:spMkLst>
        </pc:spChg>
        <pc:spChg chg="add mod replST">
          <ac:chgData name="Muchahary, Frankle" userId="0f2bf491-0617-4378-90b8-89af8fa381b9" providerId="ADAL" clId="{8E3D5D9D-CC05-4C7B-9A9C-2FFB7784C389}" dt="2024-02-08T04:17:05.940" v="61770"/>
          <ac:spMkLst>
            <pc:docMk/>
            <pc:sldMk cId="841303760" sldId="481"/>
            <ac:spMk id="8" creationId="{9B0B422B-1F77-F268-0F13-0B047D65A93E}"/>
          </ac:spMkLst>
        </pc:spChg>
        <pc:spChg chg="add del mod modVis">
          <ac:chgData name="Muchahary, Frankle" userId="0f2bf491-0617-4378-90b8-89af8fa381b9" providerId="ADAL" clId="{8E3D5D9D-CC05-4C7B-9A9C-2FFB7784C389}" dt="2024-02-08T04:09:27.203" v="55316"/>
          <ac:spMkLst>
            <pc:docMk/>
            <pc:sldMk cId="841303760" sldId="481"/>
            <ac:spMk id="9" creationId="{E158C685-A2B3-BA32-263D-0BD08384A585}"/>
          </ac:spMkLst>
        </pc:spChg>
        <pc:spChg chg="add del mod replST">
          <ac:chgData name="Muchahary, Frankle" userId="0f2bf491-0617-4378-90b8-89af8fa381b9" providerId="ADAL" clId="{8E3D5D9D-CC05-4C7B-9A9C-2FFB7784C389}" dt="2024-02-08T04:17:05.937" v="61764"/>
          <ac:spMkLst>
            <pc:docMk/>
            <pc:sldMk cId="841303760" sldId="481"/>
            <ac:spMk id="16" creationId="{36D62CDE-4BBC-7F96-B91B-BB07E7C7A0DB}"/>
          </ac:spMkLst>
        </pc:spChg>
        <pc:spChg chg="add del mod replST">
          <ac:chgData name="Muchahary, Frankle" userId="0f2bf491-0617-4378-90b8-89af8fa381b9" providerId="ADAL" clId="{8E3D5D9D-CC05-4C7B-9A9C-2FFB7784C389}" dt="2024-02-08T04:17:05.937" v="61765"/>
          <ac:spMkLst>
            <pc:docMk/>
            <pc:sldMk cId="841303760" sldId="481"/>
            <ac:spMk id="17" creationId="{31B0952C-36CA-AE30-DD5A-4BA6E9018EBA}"/>
          </ac:spMkLst>
        </pc:spChg>
        <pc:spChg chg="add del mod replST">
          <ac:chgData name="Muchahary, Frankle" userId="0f2bf491-0617-4378-90b8-89af8fa381b9" providerId="ADAL" clId="{8E3D5D9D-CC05-4C7B-9A9C-2FFB7784C389}" dt="2024-02-08T04:17:05.937" v="61766"/>
          <ac:spMkLst>
            <pc:docMk/>
            <pc:sldMk cId="841303760" sldId="481"/>
            <ac:spMk id="18" creationId="{9B06757B-7C72-97FF-5848-1B8CE7E89EF2}"/>
          </ac:spMkLst>
        </pc:spChg>
        <pc:spChg chg="add del mod replST">
          <ac:chgData name="Muchahary, Frankle" userId="0f2bf491-0617-4378-90b8-89af8fa381b9" providerId="ADAL" clId="{8E3D5D9D-CC05-4C7B-9A9C-2FFB7784C389}" dt="2024-02-08T04:17:05.938" v="61767"/>
          <ac:spMkLst>
            <pc:docMk/>
            <pc:sldMk cId="841303760" sldId="481"/>
            <ac:spMk id="19" creationId="{5DFD86C7-6AB1-14BF-0980-A75DDC1F67B1}"/>
          </ac:spMkLst>
        </pc:spChg>
        <pc:spChg chg="add del mod replST">
          <ac:chgData name="Muchahary, Frankle" userId="0f2bf491-0617-4378-90b8-89af8fa381b9" providerId="ADAL" clId="{8E3D5D9D-CC05-4C7B-9A9C-2FFB7784C389}" dt="2024-02-08T04:17:05.939" v="61768"/>
          <ac:spMkLst>
            <pc:docMk/>
            <pc:sldMk cId="841303760" sldId="481"/>
            <ac:spMk id="20" creationId="{1C56E723-1DEA-A558-DFE2-A066A131CF01}"/>
          </ac:spMkLst>
        </pc:spChg>
        <pc:spChg chg="add del mod modVis">
          <ac:chgData name="Muchahary, Frankle" userId="0f2bf491-0617-4378-90b8-89af8fa381b9" providerId="ADAL" clId="{8E3D5D9D-CC05-4C7B-9A9C-2FFB7784C389}" dt="2024-02-08T04:09:59.257" v="55723"/>
          <ac:spMkLst>
            <pc:docMk/>
            <pc:sldMk cId="841303760" sldId="481"/>
            <ac:spMk id="21" creationId="{B06AE555-7590-EDAB-2D5F-55F7185678A4}"/>
          </ac:spMkLst>
        </pc:spChg>
        <pc:spChg chg="add mod replST">
          <ac:chgData name="Muchahary, Frankle" userId="0f2bf491-0617-4378-90b8-89af8fa381b9" providerId="ADAL" clId="{8E3D5D9D-CC05-4C7B-9A9C-2FFB7784C389}" dt="2024-02-08T04:17:05.940" v="61771"/>
          <ac:spMkLst>
            <pc:docMk/>
            <pc:sldMk cId="841303760" sldId="481"/>
            <ac:spMk id="23" creationId="{FDEB4561-7794-A31E-EFD0-68D8B29A0A9A}"/>
          </ac:spMkLst>
        </pc:spChg>
        <pc:spChg chg="add mod replST">
          <ac:chgData name="Muchahary, Frankle" userId="0f2bf491-0617-4378-90b8-89af8fa381b9" providerId="ADAL" clId="{8E3D5D9D-CC05-4C7B-9A9C-2FFB7784C389}" dt="2024-02-08T04:17:05.941" v="61772"/>
          <ac:spMkLst>
            <pc:docMk/>
            <pc:sldMk cId="841303760" sldId="481"/>
            <ac:spMk id="24" creationId="{48F9D783-3E6B-5B5A-EF96-15EEFD0955BA}"/>
          </ac:spMkLst>
        </pc:spChg>
        <pc:spChg chg="add mod replST">
          <ac:chgData name="Muchahary, Frankle" userId="0f2bf491-0617-4378-90b8-89af8fa381b9" providerId="ADAL" clId="{8E3D5D9D-CC05-4C7B-9A9C-2FFB7784C389}" dt="2024-02-08T04:17:05.941" v="61773"/>
          <ac:spMkLst>
            <pc:docMk/>
            <pc:sldMk cId="841303760" sldId="481"/>
            <ac:spMk id="25" creationId="{AED9A74F-94C2-4C3C-3B22-7DEE7B7EC42F}"/>
          </ac:spMkLst>
        </pc:spChg>
        <pc:spChg chg="add mod replST">
          <ac:chgData name="Muchahary, Frankle" userId="0f2bf491-0617-4378-90b8-89af8fa381b9" providerId="ADAL" clId="{8E3D5D9D-CC05-4C7B-9A9C-2FFB7784C389}" dt="2024-02-08T04:17:05.942" v="61774"/>
          <ac:spMkLst>
            <pc:docMk/>
            <pc:sldMk cId="841303760" sldId="481"/>
            <ac:spMk id="26" creationId="{41105866-DE37-9E94-2F1A-BB2887910742}"/>
          </ac:spMkLst>
        </pc:spChg>
        <pc:spChg chg="add mod replST">
          <ac:chgData name="Muchahary, Frankle" userId="0f2bf491-0617-4378-90b8-89af8fa381b9" providerId="ADAL" clId="{8E3D5D9D-CC05-4C7B-9A9C-2FFB7784C389}" dt="2024-02-08T04:17:05.942" v="61775"/>
          <ac:spMkLst>
            <pc:docMk/>
            <pc:sldMk cId="841303760" sldId="481"/>
            <ac:spMk id="27" creationId="{4E96316A-2988-E574-05B2-3F330AE171EB}"/>
          </ac:spMkLst>
        </pc:spChg>
        <pc:spChg chg="add del mod modVis">
          <ac:chgData name="Muchahary, Frankle" userId="0f2bf491-0617-4378-90b8-89af8fa381b9" providerId="ADAL" clId="{8E3D5D9D-CC05-4C7B-9A9C-2FFB7784C389}" dt="2024-02-08T04:10:27.766" v="55950"/>
          <ac:spMkLst>
            <pc:docMk/>
            <pc:sldMk cId="841303760" sldId="481"/>
            <ac:spMk id="28" creationId="{B2AF6CDD-226C-FFC1-C141-DBD3C25DEEDD}"/>
          </ac:spMkLst>
        </pc:spChg>
        <pc:spChg chg="add del mod modVis">
          <ac:chgData name="Muchahary, Frankle" userId="0f2bf491-0617-4378-90b8-89af8fa381b9" providerId="ADAL" clId="{8E3D5D9D-CC05-4C7B-9A9C-2FFB7784C389}" dt="2024-02-08T04:10:46.487" v="56486"/>
          <ac:spMkLst>
            <pc:docMk/>
            <pc:sldMk cId="841303760" sldId="481"/>
            <ac:spMk id="30" creationId="{8185165D-381A-ED01-9B4A-754858CFF8BC}"/>
          </ac:spMkLst>
        </pc:spChg>
        <pc:spChg chg="add del mod ord replST">
          <ac:chgData name="Muchahary, Frankle" userId="0f2bf491-0617-4378-90b8-89af8fa381b9" providerId="ADAL" clId="{8E3D5D9D-CC05-4C7B-9A9C-2FFB7784C389}" dt="2024-02-08T04:10:50.594" v="56490"/>
          <ac:spMkLst>
            <pc:docMk/>
            <pc:sldMk cId="841303760" sldId="481"/>
            <ac:spMk id="31" creationId="{E9D7D1C4-ACA3-032A-1A33-F70B050A553E}"/>
          </ac:spMkLst>
        </pc:spChg>
        <pc:spChg chg="add del mod ord replST">
          <ac:chgData name="Muchahary, Frankle" userId="0f2bf491-0617-4378-90b8-89af8fa381b9" providerId="ADAL" clId="{8E3D5D9D-CC05-4C7B-9A9C-2FFB7784C389}" dt="2024-02-08T04:10:50.595" v="56492"/>
          <ac:spMkLst>
            <pc:docMk/>
            <pc:sldMk cId="841303760" sldId="481"/>
            <ac:spMk id="32" creationId="{AF5BD4B3-26A0-337A-7D72-E1D4D6CC337F}"/>
          </ac:spMkLst>
        </pc:spChg>
        <pc:spChg chg="add del mod ord replST">
          <ac:chgData name="Muchahary, Frankle" userId="0f2bf491-0617-4378-90b8-89af8fa381b9" providerId="ADAL" clId="{8E3D5D9D-CC05-4C7B-9A9C-2FFB7784C389}" dt="2024-02-08T04:10:50.597" v="56494"/>
          <ac:spMkLst>
            <pc:docMk/>
            <pc:sldMk cId="841303760" sldId="481"/>
            <ac:spMk id="33" creationId="{AA5BC91F-A65F-51B7-CD14-85546366B3F6}"/>
          </ac:spMkLst>
        </pc:spChg>
        <pc:spChg chg="add del mod ord replST">
          <ac:chgData name="Muchahary, Frankle" userId="0f2bf491-0617-4378-90b8-89af8fa381b9" providerId="ADAL" clId="{8E3D5D9D-CC05-4C7B-9A9C-2FFB7784C389}" dt="2024-02-08T04:10:50.599" v="56496"/>
          <ac:spMkLst>
            <pc:docMk/>
            <pc:sldMk cId="841303760" sldId="481"/>
            <ac:spMk id="34" creationId="{826076D8-CE5E-9793-2E8B-F2BDAD4AA255}"/>
          </ac:spMkLst>
        </pc:spChg>
        <pc:spChg chg="add del mod ord replST">
          <ac:chgData name="Muchahary, Frankle" userId="0f2bf491-0617-4378-90b8-89af8fa381b9" providerId="ADAL" clId="{8E3D5D9D-CC05-4C7B-9A9C-2FFB7784C389}" dt="2024-02-08T04:10:50.600" v="56498"/>
          <ac:spMkLst>
            <pc:docMk/>
            <pc:sldMk cId="841303760" sldId="481"/>
            <ac:spMk id="35" creationId="{F6C97C3C-34E7-DEC5-5363-AF21BA5C2ECB}"/>
          </ac:spMkLst>
        </pc:spChg>
        <pc:spChg chg="add del mod ord replST">
          <ac:chgData name="Muchahary, Frankle" userId="0f2bf491-0617-4378-90b8-89af8fa381b9" providerId="ADAL" clId="{8E3D5D9D-CC05-4C7B-9A9C-2FFB7784C389}" dt="2024-02-08T04:10:50.602" v="56500"/>
          <ac:spMkLst>
            <pc:docMk/>
            <pc:sldMk cId="841303760" sldId="481"/>
            <ac:spMk id="36" creationId="{E06D1C47-A2CC-9708-E470-56B294172E67}"/>
          </ac:spMkLst>
        </pc:spChg>
        <pc:spChg chg="add del mod ord replST">
          <ac:chgData name="Muchahary, Frankle" userId="0f2bf491-0617-4378-90b8-89af8fa381b9" providerId="ADAL" clId="{8E3D5D9D-CC05-4C7B-9A9C-2FFB7784C389}" dt="2024-02-08T04:10:50.603" v="56502"/>
          <ac:spMkLst>
            <pc:docMk/>
            <pc:sldMk cId="841303760" sldId="481"/>
            <ac:spMk id="37" creationId="{3624DBE9-F39A-EB09-DE82-4147D3909345}"/>
          </ac:spMkLst>
        </pc:spChg>
        <pc:spChg chg="add del mod modVis">
          <ac:chgData name="Muchahary, Frankle" userId="0f2bf491-0617-4378-90b8-89af8fa381b9" providerId="ADAL" clId="{8E3D5D9D-CC05-4C7B-9A9C-2FFB7784C389}" dt="2024-02-08T04:11:16.406" v="56870"/>
          <ac:spMkLst>
            <pc:docMk/>
            <pc:sldMk cId="841303760" sldId="481"/>
            <ac:spMk id="42" creationId="{98BF804C-3F26-0F64-9892-1D15E73E1214}"/>
          </ac:spMkLst>
        </pc:spChg>
        <pc:spChg chg="add del mod modVis">
          <ac:chgData name="Muchahary, Frankle" userId="0f2bf491-0617-4378-90b8-89af8fa381b9" providerId="ADAL" clId="{8E3D5D9D-CC05-4C7B-9A9C-2FFB7784C389}" dt="2024-02-08T04:11:44.152" v="57048"/>
          <ac:spMkLst>
            <pc:docMk/>
            <pc:sldMk cId="841303760" sldId="481"/>
            <ac:spMk id="44" creationId="{3B11493C-7244-38FF-2EED-704968FE04C0}"/>
          </ac:spMkLst>
        </pc:spChg>
        <pc:spChg chg="add del mod replST">
          <ac:chgData name="Muchahary, Frankle" userId="0f2bf491-0617-4378-90b8-89af8fa381b9" providerId="ADAL" clId="{8E3D5D9D-CC05-4C7B-9A9C-2FFB7784C389}" dt="2024-02-08T04:13:06.330" v="59292"/>
          <ac:spMkLst>
            <pc:docMk/>
            <pc:sldMk cId="841303760" sldId="481"/>
            <ac:spMk id="58" creationId="{8935B7E5-5A91-B20B-80C5-6F1997082260}"/>
          </ac:spMkLst>
        </pc:spChg>
        <pc:spChg chg="add del mod replST">
          <ac:chgData name="Muchahary, Frankle" userId="0f2bf491-0617-4378-90b8-89af8fa381b9" providerId="ADAL" clId="{8E3D5D9D-CC05-4C7B-9A9C-2FFB7784C389}" dt="2024-02-08T04:13:06.329" v="59290"/>
          <ac:spMkLst>
            <pc:docMk/>
            <pc:sldMk cId="841303760" sldId="481"/>
            <ac:spMk id="59" creationId="{B09B7F78-D88E-D388-FFA2-478D8E86BAC6}"/>
          </ac:spMkLst>
        </pc:spChg>
        <pc:spChg chg="add del mod replST">
          <ac:chgData name="Muchahary, Frankle" userId="0f2bf491-0617-4378-90b8-89af8fa381b9" providerId="ADAL" clId="{8E3D5D9D-CC05-4C7B-9A9C-2FFB7784C389}" dt="2024-02-08T04:13:06.330" v="59291"/>
          <ac:spMkLst>
            <pc:docMk/>
            <pc:sldMk cId="841303760" sldId="481"/>
            <ac:spMk id="60" creationId="{D8A7908F-1E1F-A55F-827F-54A0EF99EF5E}"/>
          </ac:spMkLst>
        </pc:spChg>
        <pc:spChg chg="add del mod replST">
          <ac:chgData name="Muchahary, Frankle" userId="0f2bf491-0617-4378-90b8-89af8fa381b9" providerId="ADAL" clId="{8E3D5D9D-CC05-4C7B-9A9C-2FFB7784C389}" dt="2024-02-08T04:13:06.329" v="59289"/>
          <ac:spMkLst>
            <pc:docMk/>
            <pc:sldMk cId="841303760" sldId="481"/>
            <ac:spMk id="61" creationId="{BA30A2BB-5BFC-EFC8-F9A9-D449ED6F4A63}"/>
          </ac:spMkLst>
        </pc:spChg>
        <pc:spChg chg="add del mod replST">
          <ac:chgData name="Muchahary, Frankle" userId="0f2bf491-0617-4378-90b8-89af8fa381b9" providerId="ADAL" clId="{8E3D5D9D-CC05-4C7B-9A9C-2FFB7784C389}" dt="2024-02-08T04:13:06.328" v="59288"/>
          <ac:spMkLst>
            <pc:docMk/>
            <pc:sldMk cId="841303760" sldId="481"/>
            <ac:spMk id="62" creationId="{7E0219C3-990F-8A0C-B5B5-D960F2EBF8F6}"/>
          </ac:spMkLst>
        </pc:spChg>
        <pc:spChg chg="add del mod replST">
          <ac:chgData name="Muchahary, Frankle" userId="0f2bf491-0617-4378-90b8-89af8fa381b9" providerId="ADAL" clId="{8E3D5D9D-CC05-4C7B-9A9C-2FFB7784C389}" dt="2024-02-08T04:13:06.327" v="59286"/>
          <ac:spMkLst>
            <pc:docMk/>
            <pc:sldMk cId="841303760" sldId="481"/>
            <ac:spMk id="63" creationId="{54BCCF54-5DA3-8EEE-4160-9839EB12FA7D}"/>
          </ac:spMkLst>
        </pc:spChg>
        <pc:spChg chg="add del mod replST">
          <ac:chgData name="Muchahary, Frankle" userId="0f2bf491-0617-4378-90b8-89af8fa381b9" providerId="ADAL" clId="{8E3D5D9D-CC05-4C7B-9A9C-2FFB7784C389}" dt="2024-02-08T04:13:06.326" v="59284"/>
          <ac:spMkLst>
            <pc:docMk/>
            <pc:sldMk cId="841303760" sldId="481"/>
            <ac:spMk id="64" creationId="{A9DA9340-8BF4-0B69-3FB7-1BA4BA196DD9}"/>
          </ac:spMkLst>
        </pc:spChg>
        <pc:spChg chg="add del mod replST">
          <ac:chgData name="Muchahary, Frankle" userId="0f2bf491-0617-4378-90b8-89af8fa381b9" providerId="ADAL" clId="{8E3D5D9D-CC05-4C7B-9A9C-2FFB7784C389}" dt="2024-02-08T04:13:06.325" v="59282"/>
          <ac:spMkLst>
            <pc:docMk/>
            <pc:sldMk cId="841303760" sldId="481"/>
            <ac:spMk id="65" creationId="{ED93A0A1-8299-0E04-C289-AA80E58B2C42}"/>
          </ac:spMkLst>
        </pc:spChg>
        <pc:spChg chg="add del mod replST">
          <ac:chgData name="Muchahary, Frankle" userId="0f2bf491-0617-4378-90b8-89af8fa381b9" providerId="ADAL" clId="{8E3D5D9D-CC05-4C7B-9A9C-2FFB7784C389}" dt="2024-02-08T04:13:06.324" v="59280"/>
          <ac:spMkLst>
            <pc:docMk/>
            <pc:sldMk cId="841303760" sldId="481"/>
            <ac:spMk id="66" creationId="{61907210-3331-81F0-5B3E-2377B3FD4D47}"/>
          </ac:spMkLst>
        </pc:spChg>
        <pc:spChg chg="add del mod replST">
          <ac:chgData name="Muchahary, Frankle" userId="0f2bf491-0617-4378-90b8-89af8fa381b9" providerId="ADAL" clId="{8E3D5D9D-CC05-4C7B-9A9C-2FFB7784C389}" dt="2024-02-08T04:13:06.328" v="59287"/>
          <ac:spMkLst>
            <pc:docMk/>
            <pc:sldMk cId="841303760" sldId="481"/>
            <ac:spMk id="67" creationId="{4FE42C81-5C2D-0372-FAD7-6A06CC58404B}"/>
          </ac:spMkLst>
        </pc:spChg>
        <pc:spChg chg="add del mod replST">
          <ac:chgData name="Muchahary, Frankle" userId="0f2bf491-0617-4378-90b8-89af8fa381b9" providerId="ADAL" clId="{8E3D5D9D-CC05-4C7B-9A9C-2FFB7784C389}" dt="2024-02-08T04:13:06.327" v="59285"/>
          <ac:spMkLst>
            <pc:docMk/>
            <pc:sldMk cId="841303760" sldId="481"/>
            <ac:spMk id="68" creationId="{D523A8D9-DB1E-342D-7367-F48375DAD6E6}"/>
          </ac:spMkLst>
        </pc:spChg>
        <pc:spChg chg="add del mod replST">
          <ac:chgData name="Muchahary, Frankle" userId="0f2bf491-0617-4378-90b8-89af8fa381b9" providerId="ADAL" clId="{8E3D5D9D-CC05-4C7B-9A9C-2FFB7784C389}" dt="2024-02-08T04:13:06.326" v="59283"/>
          <ac:spMkLst>
            <pc:docMk/>
            <pc:sldMk cId="841303760" sldId="481"/>
            <ac:spMk id="69" creationId="{979911ED-65C6-5074-AE1F-DBF2DE3AE0A6}"/>
          </ac:spMkLst>
        </pc:spChg>
        <pc:spChg chg="add del mod replST">
          <ac:chgData name="Muchahary, Frankle" userId="0f2bf491-0617-4378-90b8-89af8fa381b9" providerId="ADAL" clId="{8E3D5D9D-CC05-4C7B-9A9C-2FFB7784C389}" dt="2024-02-08T04:13:06.325" v="59281"/>
          <ac:spMkLst>
            <pc:docMk/>
            <pc:sldMk cId="841303760" sldId="481"/>
            <ac:spMk id="70" creationId="{FA55F877-65C8-8D07-0000-8402FCFB368C}"/>
          </ac:spMkLst>
        </pc:spChg>
        <pc:spChg chg="add del mod replST">
          <ac:chgData name="Muchahary, Frankle" userId="0f2bf491-0617-4378-90b8-89af8fa381b9" providerId="ADAL" clId="{8E3D5D9D-CC05-4C7B-9A9C-2FFB7784C389}" dt="2024-02-08T04:13:06.323" v="59279"/>
          <ac:spMkLst>
            <pc:docMk/>
            <pc:sldMk cId="841303760" sldId="481"/>
            <ac:spMk id="71" creationId="{76E602DB-C14A-AB4B-EF86-CBD9DF428AD9}"/>
          </ac:spMkLst>
        </pc:spChg>
        <pc:spChg chg="add del mod modVis">
          <ac:chgData name="Muchahary, Frankle" userId="0f2bf491-0617-4378-90b8-89af8fa381b9" providerId="ADAL" clId="{8E3D5D9D-CC05-4C7B-9A9C-2FFB7784C389}" dt="2024-02-08T04:12:24.822" v="58435"/>
          <ac:spMkLst>
            <pc:docMk/>
            <pc:sldMk cId="841303760" sldId="481"/>
            <ac:spMk id="72" creationId="{C78B6DEE-8956-22B6-C9AE-4FCD4E6BB6B8}"/>
          </ac:spMkLst>
        </pc:spChg>
        <pc:spChg chg="add del mod modVis">
          <ac:chgData name="Muchahary, Frankle" userId="0f2bf491-0617-4378-90b8-89af8fa381b9" providerId="ADAL" clId="{8E3D5D9D-CC05-4C7B-9A9C-2FFB7784C389}" dt="2024-02-08T04:12:42.906" v="58871"/>
          <ac:spMkLst>
            <pc:docMk/>
            <pc:sldMk cId="841303760" sldId="481"/>
            <ac:spMk id="77" creationId="{2F23F613-C0FF-FF17-129E-704F645F0559}"/>
          </ac:spMkLst>
        </pc:spChg>
        <pc:spChg chg="add del mod modVis">
          <ac:chgData name="Muchahary, Frankle" userId="0f2bf491-0617-4378-90b8-89af8fa381b9" providerId="ADAL" clId="{8E3D5D9D-CC05-4C7B-9A9C-2FFB7784C389}" dt="2024-02-08T04:13:03.335" v="59276"/>
          <ac:spMkLst>
            <pc:docMk/>
            <pc:sldMk cId="841303760" sldId="481"/>
            <ac:spMk id="81" creationId="{5F2721FC-A619-18F8-C1D6-1B5BCD280BF3}"/>
          </ac:spMkLst>
        </pc:spChg>
        <pc:spChg chg="add del mod modVis">
          <ac:chgData name="Muchahary, Frankle" userId="0f2bf491-0617-4378-90b8-89af8fa381b9" providerId="ADAL" clId="{8E3D5D9D-CC05-4C7B-9A9C-2FFB7784C389}" dt="2024-02-08T04:13:09.188" v="59490"/>
          <ac:spMkLst>
            <pc:docMk/>
            <pc:sldMk cId="841303760" sldId="481"/>
            <ac:spMk id="83" creationId="{C12E77A2-0640-BCBF-AF18-4C333FA23227}"/>
          </ac:spMkLst>
        </pc:spChg>
        <pc:spChg chg="add del mod modVis">
          <ac:chgData name="Muchahary, Frankle" userId="0f2bf491-0617-4378-90b8-89af8fa381b9" providerId="ADAL" clId="{8E3D5D9D-CC05-4C7B-9A9C-2FFB7784C389}" dt="2024-02-08T04:13:23.696" v="59671"/>
          <ac:spMkLst>
            <pc:docMk/>
            <pc:sldMk cId="841303760" sldId="481"/>
            <ac:spMk id="85" creationId="{7300D5A8-A512-C18F-4636-8EB5958CE21D}"/>
          </ac:spMkLst>
        </pc:spChg>
        <pc:spChg chg="add del mod modVis">
          <ac:chgData name="Muchahary, Frankle" userId="0f2bf491-0617-4378-90b8-89af8fa381b9" providerId="ADAL" clId="{8E3D5D9D-CC05-4C7B-9A9C-2FFB7784C389}" dt="2024-02-08T04:13:37.277" v="59875"/>
          <ac:spMkLst>
            <pc:docMk/>
            <pc:sldMk cId="841303760" sldId="481"/>
            <ac:spMk id="88" creationId="{DEAED6AE-A170-50D5-9B74-CBA4C4E00CE4}"/>
          </ac:spMkLst>
        </pc:spChg>
        <pc:spChg chg="add mod replST">
          <ac:chgData name="Muchahary, Frankle" userId="0f2bf491-0617-4378-90b8-89af8fa381b9" providerId="ADAL" clId="{8E3D5D9D-CC05-4C7B-9A9C-2FFB7784C389}" dt="2024-02-08T04:17:05.943" v="61778"/>
          <ac:spMkLst>
            <pc:docMk/>
            <pc:sldMk cId="841303760" sldId="481"/>
            <ac:spMk id="91" creationId="{F0F22441-08B1-23F7-D4F8-BAB536B2A076}"/>
          </ac:spMkLst>
        </pc:spChg>
        <pc:spChg chg="add mod replST">
          <ac:chgData name="Muchahary, Frankle" userId="0f2bf491-0617-4378-90b8-89af8fa381b9" providerId="ADAL" clId="{8E3D5D9D-CC05-4C7B-9A9C-2FFB7784C389}" dt="2024-02-08T04:17:05.944" v="61779"/>
          <ac:spMkLst>
            <pc:docMk/>
            <pc:sldMk cId="841303760" sldId="481"/>
            <ac:spMk id="92" creationId="{894961BB-FFAE-2A0B-B351-24AB59F1D843}"/>
          </ac:spMkLst>
        </pc:spChg>
        <pc:spChg chg="add mod replST">
          <ac:chgData name="Muchahary, Frankle" userId="0f2bf491-0617-4378-90b8-89af8fa381b9" providerId="ADAL" clId="{8E3D5D9D-CC05-4C7B-9A9C-2FFB7784C389}" dt="2024-02-08T04:17:05.944" v="61780"/>
          <ac:spMkLst>
            <pc:docMk/>
            <pc:sldMk cId="841303760" sldId="481"/>
            <ac:spMk id="93" creationId="{3DFE0365-B2D7-DE25-C699-48315D1FE1B6}"/>
          </ac:spMkLst>
        </pc:spChg>
        <pc:spChg chg="add mod replST">
          <ac:chgData name="Muchahary, Frankle" userId="0f2bf491-0617-4378-90b8-89af8fa381b9" providerId="ADAL" clId="{8E3D5D9D-CC05-4C7B-9A9C-2FFB7784C389}" dt="2024-02-08T04:17:05.945" v="61781"/>
          <ac:spMkLst>
            <pc:docMk/>
            <pc:sldMk cId="841303760" sldId="481"/>
            <ac:spMk id="94" creationId="{6D66271B-8C8F-E454-F82A-805BB7AEED24}"/>
          </ac:spMkLst>
        </pc:spChg>
        <pc:spChg chg="add mod replST">
          <ac:chgData name="Muchahary, Frankle" userId="0f2bf491-0617-4378-90b8-89af8fa381b9" providerId="ADAL" clId="{8E3D5D9D-CC05-4C7B-9A9C-2FFB7784C389}" dt="2024-02-08T04:17:05.945" v="61782"/>
          <ac:spMkLst>
            <pc:docMk/>
            <pc:sldMk cId="841303760" sldId="481"/>
            <ac:spMk id="95" creationId="{8345E771-3C69-BCD7-E9DE-90790FAF8A47}"/>
          </ac:spMkLst>
        </pc:spChg>
        <pc:spChg chg="add mod replST">
          <ac:chgData name="Muchahary, Frankle" userId="0f2bf491-0617-4378-90b8-89af8fa381b9" providerId="ADAL" clId="{8E3D5D9D-CC05-4C7B-9A9C-2FFB7784C389}" dt="2024-02-08T04:17:05.945" v="61783"/>
          <ac:spMkLst>
            <pc:docMk/>
            <pc:sldMk cId="841303760" sldId="481"/>
            <ac:spMk id="96" creationId="{A572C1F1-50B1-7190-AC69-8E7D175D99C6}"/>
          </ac:spMkLst>
        </pc:spChg>
        <pc:spChg chg="add mod replST">
          <ac:chgData name="Muchahary, Frankle" userId="0f2bf491-0617-4378-90b8-89af8fa381b9" providerId="ADAL" clId="{8E3D5D9D-CC05-4C7B-9A9C-2FFB7784C389}" dt="2024-02-08T04:17:05.947" v="61784"/>
          <ac:spMkLst>
            <pc:docMk/>
            <pc:sldMk cId="841303760" sldId="481"/>
            <ac:spMk id="97" creationId="{B8EF1295-9024-9CEF-2CFA-E4B52BD8DAB1}"/>
          </ac:spMkLst>
        </pc:spChg>
        <pc:spChg chg="add del mod replST">
          <ac:chgData name="Muchahary, Frankle" userId="0f2bf491-0617-4378-90b8-89af8fa381b9" providerId="ADAL" clId="{8E3D5D9D-CC05-4C7B-9A9C-2FFB7784C389}" dt="2024-02-08T04:14:14.457" v="60824"/>
          <ac:spMkLst>
            <pc:docMk/>
            <pc:sldMk cId="841303760" sldId="481"/>
            <ac:spMk id="98" creationId="{12B4BEE3-113E-3742-970C-F094CB33AB91}"/>
          </ac:spMkLst>
        </pc:spChg>
        <pc:spChg chg="add del mod replST">
          <ac:chgData name="Muchahary, Frankle" userId="0f2bf491-0617-4378-90b8-89af8fa381b9" providerId="ADAL" clId="{8E3D5D9D-CC05-4C7B-9A9C-2FFB7784C389}" dt="2024-02-08T04:14:14.458" v="60825"/>
          <ac:spMkLst>
            <pc:docMk/>
            <pc:sldMk cId="841303760" sldId="481"/>
            <ac:spMk id="99" creationId="{FE28A2A0-CD3F-3FDA-D72E-80FB2BB01773}"/>
          </ac:spMkLst>
        </pc:spChg>
        <pc:spChg chg="add del mod replST">
          <ac:chgData name="Muchahary, Frankle" userId="0f2bf491-0617-4378-90b8-89af8fa381b9" providerId="ADAL" clId="{8E3D5D9D-CC05-4C7B-9A9C-2FFB7784C389}" dt="2024-02-08T04:14:14.459" v="60826"/>
          <ac:spMkLst>
            <pc:docMk/>
            <pc:sldMk cId="841303760" sldId="481"/>
            <ac:spMk id="100" creationId="{3B8DE9C8-D32A-8654-86B2-4DC63A068272}"/>
          </ac:spMkLst>
        </pc:spChg>
        <pc:spChg chg="add del mod replST">
          <ac:chgData name="Muchahary, Frankle" userId="0f2bf491-0617-4378-90b8-89af8fa381b9" providerId="ADAL" clId="{8E3D5D9D-CC05-4C7B-9A9C-2FFB7784C389}" dt="2024-02-08T04:14:14.459" v="60827"/>
          <ac:spMkLst>
            <pc:docMk/>
            <pc:sldMk cId="841303760" sldId="481"/>
            <ac:spMk id="101" creationId="{374FF303-B341-CFC2-1583-07731AF70FA4}"/>
          </ac:spMkLst>
        </pc:spChg>
        <pc:spChg chg="add del mod replST">
          <ac:chgData name="Muchahary, Frankle" userId="0f2bf491-0617-4378-90b8-89af8fa381b9" providerId="ADAL" clId="{8E3D5D9D-CC05-4C7B-9A9C-2FFB7784C389}" dt="2024-02-08T04:14:14.460" v="60828"/>
          <ac:spMkLst>
            <pc:docMk/>
            <pc:sldMk cId="841303760" sldId="481"/>
            <ac:spMk id="102" creationId="{8BE01424-C843-D19E-4333-E16AB02D90CF}"/>
          </ac:spMkLst>
        </pc:spChg>
        <pc:spChg chg="add del mod replST">
          <ac:chgData name="Muchahary, Frankle" userId="0f2bf491-0617-4378-90b8-89af8fa381b9" providerId="ADAL" clId="{8E3D5D9D-CC05-4C7B-9A9C-2FFB7784C389}" dt="2024-02-08T04:14:14.460" v="60829"/>
          <ac:spMkLst>
            <pc:docMk/>
            <pc:sldMk cId="841303760" sldId="481"/>
            <ac:spMk id="103" creationId="{A416B62A-6521-E26F-1C5F-55F5D8F643D0}"/>
          </ac:spMkLst>
        </pc:spChg>
        <pc:spChg chg="add del mod replST">
          <ac:chgData name="Muchahary, Frankle" userId="0f2bf491-0617-4378-90b8-89af8fa381b9" providerId="ADAL" clId="{8E3D5D9D-CC05-4C7B-9A9C-2FFB7784C389}" dt="2024-02-08T04:14:14.461" v="60830"/>
          <ac:spMkLst>
            <pc:docMk/>
            <pc:sldMk cId="841303760" sldId="481"/>
            <ac:spMk id="104" creationId="{1172F767-01E3-01B9-0356-EFC4E3997E43}"/>
          </ac:spMkLst>
        </pc:spChg>
        <pc:spChg chg="add del mod modVis">
          <ac:chgData name="Muchahary, Frankle" userId="0f2bf491-0617-4378-90b8-89af8fa381b9" providerId="ADAL" clId="{8E3D5D9D-CC05-4C7B-9A9C-2FFB7784C389}" dt="2024-02-08T04:13:44.981" v="60377"/>
          <ac:spMkLst>
            <pc:docMk/>
            <pc:sldMk cId="841303760" sldId="481"/>
            <ac:spMk id="105" creationId="{3D3148B4-F0EA-F013-26D4-6849E86210DC}"/>
          </ac:spMkLst>
        </pc:spChg>
        <pc:spChg chg="add del mod modVis">
          <ac:chgData name="Muchahary, Frankle" userId="0f2bf491-0617-4378-90b8-89af8fa381b9" providerId="ADAL" clId="{8E3D5D9D-CC05-4C7B-9A9C-2FFB7784C389}" dt="2024-02-08T04:13:56.814" v="60600"/>
          <ac:spMkLst>
            <pc:docMk/>
            <pc:sldMk cId="841303760" sldId="481"/>
            <ac:spMk id="107" creationId="{2EA415EC-901F-6ACC-7DE9-C5B4BB0F43D6}"/>
          </ac:spMkLst>
        </pc:spChg>
        <pc:spChg chg="add del mod modVis">
          <ac:chgData name="Muchahary, Frankle" userId="0f2bf491-0617-4378-90b8-89af8fa381b9" providerId="ADAL" clId="{8E3D5D9D-CC05-4C7B-9A9C-2FFB7784C389}" dt="2024-02-08T04:14:14.506" v="60871"/>
          <ac:spMkLst>
            <pc:docMk/>
            <pc:sldMk cId="841303760" sldId="481"/>
            <ac:spMk id="110" creationId="{153C03FF-EEEA-A37F-B37C-2C23E45DA862}"/>
          </ac:spMkLst>
        </pc:spChg>
        <pc:spChg chg="add mod ord">
          <ac:chgData name="Muchahary, Frankle" userId="0f2bf491-0617-4378-90b8-89af8fa381b9" providerId="ADAL" clId="{8E3D5D9D-CC05-4C7B-9A9C-2FFB7784C389}" dt="2024-02-08T04:17:05.948" v="61786"/>
          <ac:spMkLst>
            <pc:docMk/>
            <pc:sldMk cId="841303760" sldId="481"/>
            <ac:spMk id="113" creationId="{F8D9764F-03DB-9A95-2E33-85E3906F53CA}"/>
          </ac:spMkLst>
        </pc:spChg>
        <pc:spChg chg="add mod">
          <ac:chgData name="Muchahary, Frankle" userId="0f2bf491-0617-4378-90b8-89af8fa381b9" providerId="ADAL" clId="{8E3D5D9D-CC05-4C7B-9A9C-2FFB7784C389}" dt="2024-02-08T04:15:07.146" v="60954"/>
          <ac:spMkLst>
            <pc:docMk/>
            <pc:sldMk cId="841303760" sldId="481"/>
            <ac:spMk id="114" creationId="{BBA1DAA0-0D44-E4C8-50DE-57B69E4B3D74}"/>
          </ac:spMkLst>
        </pc:spChg>
        <pc:spChg chg="add mod ord">
          <ac:chgData name="Muchahary, Frankle" userId="0f2bf491-0617-4378-90b8-89af8fa381b9" providerId="ADAL" clId="{8E3D5D9D-CC05-4C7B-9A9C-2FFB7784C389}" dt="2024-02-08T04:17:05.948" v="61788"/>
          <ac:spMkLst>
            <pc:docMk/>
            <pc:sldMk cId="841303760" sldId="481"/>
            <ac:spMk id="123" creationId="{58D206D7-DB89-9EAD-E3BC-0E744448A97E}"/>
          </ac:spMkLst>
        </pc:spChg>
        <pc:spChg chg="add mod">
          <ac:chgData name="Muchahary, Frankle" userId="0f2bf491-0617-4378-90b8-89af8fa381b9" providerId="ADAL" clId="{8E3D5D9D-CC05-4C7B-9A9C-2FFB7784C389}" dt="2024-02-08T04:20:41.603" v="62332" actId="20577"/>
          <ac:spMkLst>
            <pc:docMk/>
            <pc:sldMk cId="841303760" sldId="481"/>
            <ac:spMk id="127" creationId="{BBD37B03-1A27-DD07-547E-BB32EA267434}"/>
          </ac:spMkLst>
        </pc:spChg>
        <pc:graphicFrameChg chg="add del mod replST">
          <ac:chgData name="Muchahary, Frankle" userId="0f2bf491-0617-4378-90b8-89af8fa381b9" providerId="ADAL" clId="{8E3D5D9D-CC05-4C7B-9A9C-2FFB7784C389}" dt="2024-02-08T04:09:27.171" v="55296"/>
          <ac:graphicFrameMkLst>
            <pc:docMk/>
            <pc:sldMk cId="841303760" sldId="481"/>
            <ac:graphicFrameMk id="3" creationId="{5D2D7FD7-EC40-C7B5-B244-E486E955EF7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09:29.092" v="55340"/>
          <ac:graphicFrameMkLst>
            <pc:docMk/>
            <pc:sldMk cId="841303760" sldId="481"/>
            <ac:graphicFrameMk id="10" creationId="{EE27551B-1FD5-7491-3069-E76F9BB87F9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09:31.666" v="55380"/>
          <ac:graphicFrameMkLst>
            <pc:docMk/>
            <pc:sldMk cId="841303760" sldId="481"/>
            <ac:graphicFrameMk id="11" creationId="{2CE6AA64-DF45-B24B-E7E4-6F41183D866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09:33.434" v="55412"/>
          <ac:graphicFrameMkLst>
            <pc:docMk/>
            <pc:sldMk cId="841303760" sldId="481"/>
            <ac:graphicFrameMk id="12" creationId="{30BE49BD-3357-DD9A-258B-495217851D2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09:34.728" v="55454"/>
          <ac:graphicFrameMkLst>
            <pc:docMk/>
            <pc:sldMk cId="841303760" sldId="481"/>
            <ac:graphicFrameMk id="13" creationId="{7D93C427-E291-7801-87DD-38CF7CFF6DDD}"/>
          </ac:graphicFrameMkLst>
        </pc:graphicFrameChg>
        <pc:graphicFrameChg chg="mod">
          <ac:chgData name="Muchahary, Frankle" userId="0f2bf491-0617-4378-90b8-89af8fa381b9" providerId="ADAL" clId="{8E3D5D9D-CC05-4C7B-9A9C-2FFB7784C389}" dt="2024-02-08T04:17:05.959" v="61792"/>
          <ac:graphicFrameMkLst>
            <pc:docMk/>
            <pc:sldMk cId="841303760" sldId="481"/>
            <ac:graphicFrameMk id="14" creationId="{48BA84A5-F64B-6187-ED2A-3EBD35682A9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09:59.208" v="55698"/>
          <ac:graphicFrameMkLst>
            <pc:docMk/>
            <pc:sldMk cId="841303760" sldId="481"/>
            <ac:graphicFrameMk id="15" creationId="{3292EB14-4195-18C3-C078-A3A318F6FD9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0:27.723" v="55920"/>
          <ac:graphicFrameMkLst>
            <pc:docMk/>
            <pc:sldMk cId="841303760" sldId="481"/>
            <ac:graphicFrameMk id="22" creationId="{0238354C-B441-1DB2-8E46-46C99851C4C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0:46.426" v="56442"/>
          <ac:graphicFrameMkLst>
            <pc:docMk/>
            <pc:sldMk cId="841303760" sldId="481"/>
            <ac:graphicFrameMk id="29" creationId="{DF1B1B26-4B4F-59AF-4A36-E00115BE93B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0:50.632" v="56532"/>
          <ac:graphicFrameMkLst>
            <pc:docMk/>
            <pc:sldMk cId="841303760" sldId="481"/>
            <ac:graphicFrameMk id="38" creationId="{89E749D4-3F5E-2F23-3379-D210F15F72F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0:56.020" v="56634"/>
          <ac:graphicFrameMkLst>
            <pc:docMk/>
            <pc:sldMk cId="841303760" sldId="481"/>
            <ac:graphicFrameMk id="39" creationId="{9F039754-8047-4E83-943A-E06CBAF3089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0:58.865" v="56680"/>
          <ac:graphicFrameMkLst>
            <pc:docMk/>
            <pc:sldMk cId="841303760" sldId="481"/>
            <ac:graphicFrameMk id="40" creationId="{5175047E-9134-AB1B-976D-72928FE7E9A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16.368" v="56840"/>
          <ac:graphicFrameMkLst>
            <pc:docMk/>
            <pc:sldMk cId="841303760" sldId="481"/>
            <ac:graphicFrameMk id="41" creationId="{51845FFF-35CB-6776-A552-830E2F406B0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44.111" v="57018"/>
          <ac:graphicFrameMkLst>
            <pc:docMk/>
            <pc:sldMk cId="841303760" sldId="481"/>
            <ac:graphicFrameMk id="43" creationId="{98058034-AC7D-DDCD-F358-DB31808CAC4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48.828" v="57128"/>
          <ac:graphicFrameMkLst>
            <pc:docMk/>
            <pc:sldMk cId="841303760" sldId="481"/>
            <ac:graphicFrameMk id="45" creationId="{27882C4A-E51D-7C8D-8701-624F810C027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50.169" v="57230"/>
          <ac:graphicFrameMkLst>
            <pc:docMk/>
            <pc:sldMk cId="841303760" sldId="481"/>
            <ac:graphicFrameMk id="46" creationId="{6770D120-A2EF-3FE6-F0BB-D70CD917021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52.085" v="57337"/>
          <ac:graphicFrameMkLst>
            <pc:docMk/>
            <pc:sldMk cId="841303760" sldId="481"/>
            <ac:graphicFrameMk id="47" creationId="{78157E24-61FF-BB71-21A8-20B100C3C62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55.319" v="57411"/>
          <ac:graphicFrameMkLst>
            <pc:docMk/>
            <pc:sldMk cId="841303760" sldId="481"/>
            <ac:graphicFrameMk id="48" creationId="{D7CBEA1F-96F1-99C4-2901-E0A1351D204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56.943" v="57513"/>
          <ac:graphicFrameMkLst>
            <pc:docMk/>
            <pc:sldMk cId="841303760" sldId="481"/>
            <ac:graphicFrameMk id="49" creationId="{DACBD384-ADBD-DB39-03BA-D68B323564E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1:58.055" v="57587"/>
          <ac:graphicFrameMkLst>
            <pc:docMk/>
            <pc:sldMk cId="841303760" sldId="481"/>
            <ac:graphicFrameMk id="50" creationId="{ED049E61-A24C-0316-CE49-A08E5011044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09.550" v="57633"/>
          <ac:graphicFrameMkLst>
            <pc:docMk/>
            <pc:sldMk cId="841303760" sldId="481"/>
            <ac:graphicFrameMk id="51" creationId="{19D64986-EBB3-499A-B6A6-42E417BE097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14.650" v="57735"/>
          <ac:graphicFrameMkLst>
            <pc:docMk/>
            <pc:sldMk cId="841303760" sldId="481"/>
            <ac:graphicFrameMk id="52" creationId="{26ED9505-D288-67CF-B537-3B88C8221BD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15.898" v="57837"/>
          <ac:graphicFrameMkLst>
            <pc:docMk/>
            <pc:sldMk cId="841303760" sldId="481"/>
            <ac:graphicFrameMk id="53" creationId="{021F0F5F-325E-55A2-4695-55AAAE679F4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16.846" v="57939"/>
          <ac:graphicFrameMkLst>
            <pc:docMk/>
            <pc:sldMk cId="841303760" sldId="481"/>
            <ac:graphicFrameMk id="54" creationId="{0D23E584-7911-0110-DA63-788FFF08584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18.185" v="58013"/>
          <ac:graphicFrameMkLst>
            <pc:docMk/>
            <pc:sldMk cId="841303760" sldId="481"/>
            <ac:graphicFrameMk id="55" creationId="{63149C52-4407-C668-E593-5150AB91911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28.343" v="58481"/>
          <ac:graphicFrameMkLst>
            <pc:docMk/>
            <pc:sldMk cId="841303760" sldId="481"/>
            <ac:graphicFrameMk id="56" creationId="{021EBD88-75DD-5CBC-4CF0-7176FF41BE2F}"/>
          </ac:graphicFrameMkLst>
        </pc:graphicFrameChg>
        <pc:graphicFrameChg chg="add del mod replST">
          <ac:chgData name="Muchahary, Frankle" userId="0f2bf491-0617-4378-90b8-89af8fa381b9" providerId="ADAL" clId="{8E3D5D9D-CC05-4C7B-9A9C-2FFB7784C389}" dt="2024-02-08T04:12:24.773" v="58389"/>
          <ac:graphicFrameMkLst>
            <pc:docMk/>
            <pc:sldMk cId="841303760" sldId="481"/>
            <ac:graphicFrameMk id="57" creationId="{1EF6C424-4DAB-A4D0-7D64-4A11706BF61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03.276" v="59230"/>
          <ac:graphicFrameMkLst>
            <pc:docMk/>
            <pc:sldMk cId="841303760" sldId="481"/>
            <ac:graphicFrameMk id="73" creationId="{AB1F66B5-675B-C123-0CFC-BB0EFF998BC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29.938" v="58571"/>
          <ac:graphicFrameMkLst>
            <pc:docMk/>
            <pc:sldMk cId="841303760" sldId="481"/>
            <ac:graphicFrameMk id="74" creationId="{04C67CBB-D76F-AD21-3C45-05492114B90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34.621" v="58633"/>
          <ac:graphicFrameMkLst>
            <pc:docMk/>
            <pc:sldMk cId="841303760" sldId="481"/>
            <ac:graphicFrameMk id="75" creationId="{B1B67885-8C84-6DED-8132-AD5774B22BF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2:42.856" v="58825"/>
          <ac:graphicFrameMkLst>
            <pc:docMk/>
            <pc:sldMk cId="841303760" sldId="481"/>
            <ac:graphicFrameMk id="76" creationId="{B3B95931-7C56-6EE6-1243-DAD753F77FB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09.139" v="59460"/>
          <ac:graphicFrameMkLst>
            <pc:docMk/>
            <pc:sldMk cId="841303760" sldId="481"/>
            <ac:graphicFrameMk id="78" creationId="{B129A962-5758-3A94-3141-91392F5EF553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8T04:12:58.821" v="59066"/>
          <ac:graphicFrameMkLst>
            <pc:docMk/>
            <pc:sldMk cId="841303760" sldId="481"/>
            <ac:graphicFrameMk id="79" creationId="{D4C8A75F-E77F-08CE-28AE-CA355ECF5BB2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8T04:12:58.240" v="59051"/>
          <ac:graphicFrameMkLst>
            <pc:docMk/>
            <pc:sldMk cId="841303760" sldId="481"/>
            <ac:graphicFrameMk id="80" creationId="{4D41DBD3-756C-7F8D-9C84-072B152B4B0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06.332" v="59294"/>
          <ac:graphicFrameMkLst>
            <pc:docMk/>
            <pc:sldMk cId="841303760" sldId="481"/>
            <ac:graphicFrameMk id="82" creationId="{FFC4FBE3-83A2-F1E1-4AEA-F74B042B7ED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23.662" v="59641"/>
          <ac:graphicFrameMkLst>
            <pc:docMk/>
            <pc:sldMk cId="841303760" sldId="481"/>
            <ac:graphicFrameMk id="84" creationId="{29DABB50-6AA2-ED42-E1DA-9CF428F27DD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27.945" v="59689"/>
          <ac:graphicFrameMkLst>
            <pc:docMk/>
            <pc:sldMk cId="841303760" sldId="481"/>
            <ac:graphicFrameMk id="86" creationId="{4A20DB95-8FD4-CDB2-7549-C78DD9E5FDB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37.241" v="59845"/>
          <ac:graphicFrameMkLst>
            <pc:docMk/>
            <pc:sldMk cId="841303760" sldId="481"/>
            <ac:graphicFrameMk id="87" creationId="{BD73461B-3F2E-D72F-2BBA-3C23B276F0E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16.672" v="61046"/>
          <ac:graphicFrameMkLst>
            <pc:docMk/>
            <pc:sldMk cId="841303760" sldId="481"/>
            <ac:graphicFrameMk id="89" creationId="{86AF331F-AABD-42F1-9CF5-B985EA5C8281}"/>
          </ac:graphicFrameMkLst>
        </pc:graphicFrameChg>
        <pc:graphicFrameChg chg="add del mod replST">
          <ac:chgData name="Muchahary, Frankle" userId="0f2bf491-0617-4378-90b8-89af8fa381b9" providerId="ADAL" clId="{8E3D5D9D-CC05-4C7B-9A9C-2FFB7784C389}" dt="2024-02-08T04:13:44.909" v="60331"/>
          <ac:graphicFrameMkLst>
            <pc:docMk/>
            <pc:sldMk cId="841303760" sldId="481"/>
            <ac:graphicFrameMk id="90" creationId="{6E6D0A43-2026-EABC-FD99-395A776D801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3:56.759" v="60554"/>
          <ac:graphicFrameMkLst>
            <pc:docMk/>
            <pc:sldMk cId="841303760" sldId="481"/>
            <ac:graphicFrameMk id="106" creationId="{89951759-19DD-298E-EC32-484E5CD8DC4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4:04.425" v="60618"/>
          <ac:graphicFrameMkLst>
            <pc:docMk/>
            <pc:sldMk cId="841303760" sldId="481"/>
            <ac:graphicFrameMk id="108" creationId="{97C259FF-71A0-9C72-56C0-2AB9F229083B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4:14.464" v="60832"/>
          <ac:graphicFrameMkLst>
            <pc:docMk/>
            <pc:sldMk cId="841303760" sldId="481"/>
            <ac:graphicFrameMk id="109" creationId="{1716D943-ECE5-C0C2-520F-53E232A4302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4:35.205" v="60882"/>
          <ac:graphicFrameMkLst>
            <pc:docMk/>
            <pc:sldMk cId="841303760" sldId="481"/>
            <ac:graphicFrameMk id="111" creationId="{CC9F5C86-0E3A-E17E-3244-AAC275F33D7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12.169" v="60963"/>
          <ac:graphicFrameMkLst>
            <pc:docMk/>
            <pc:sldMk cId="841303760" sldId="481"/>
            <ac:graphicFrameMk id="112" creationId="{F65020A7-231A-DC5E-E959-13D1763DBA07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28.246" v="61223"/>
          <ac:graphicFrameMkLst>
            <pc:docMk/>
            <pc:sldMk cId="841303760" sldId="481"/>
            <ac:graphicFrameMk id="115" creationId="{9692DD77-30C3-A0E8-3DC8-A02118ED16C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24.897" v="61159"/>
          <ac:graphicFrameMkLst>
            <pc:docMk/>
            <pc:sldMk cId="841303760" sldId="481"/>
            <ac:graphicFrameMk id="116" creationId="{1A4400CF-BE42-BE0F-3899-8E2A17F70F5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6:42.490" v="61603"/>
          <ac:graphicFrameMkLst>
            <pc:docMk/>
            <pc:sldMk cId="841303760" sldId="481"/>
            <ac:graphicFrameMk id="117" creationId="{0C5983D1-ED36-FC72-D7EA-7BC7213C3BC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30.222" v="61287"/>
          <ac:graphicFrameMkLst>
            <pc:docMk/>
            <pc:sldMk cId="841303760" sldId="481"/>
            <ac:graphicFrameMk id="118" creationId="{9D23B993-AA37-77C1-2986-013EE2C0D31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34.762" v="61351"/>
          <ac:graphicFrameMkLst>
            <pc:docMk/>
            <pc:sldMk cId="841303760" sldId="481"/>
            <ac:graphicFrameMk id="119" creationId="{42525265-833E-6E24-227B-CA164347B23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40.693" v="61415"/>
          <ac:graphicFrameMkLst>
            <pc:docMk/>
            <pc:sldMk cId="841303760" sldId="481"/>
            <ac:graphicFrameMk id="120" creationId="{629CE63B-CE64-7088-90E1-188B94B9A1C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5:48.245" v="61494"/>
          <ac:graphicFrameMkLst>
            <pc:docMk/>
            <pc:sldMk cId="841303760" sldId="481"/>
            <ac:graphicFrameMk id="121" creationId="{5E906B7D-4B5B-68A6-B94A-676DE71D0C30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4:17:05.943" v="61777"/>
          <ac:graphicFrameMkLst>
            <pc:docMk/>
            <pc:sldMk cId="841303760" sldId="481"/>
            <ac:graphicFrameMk id="122" creationId="{F520FCBC-C93B-81FD-F239-76BE353A1D6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6:53.927" v="61676"/>
          <ac:graphicFrameMkLst>
            <pc:docMk/>
            <pc:sldMk cId="841303760" sldId="481"/>
            <ac:graphicFrameMk id="124" creationId="{C0DABE74-32E3-D854-45F0-A4016B80B3F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4:17:05.900" v="61749"/>
          <ac:graphicFrameMkLst>
            <pc:docMk/>
            <pc:sldMk cId="841303760" sldId="481"/>
            <ac:graphicFrameMk id="125" creationId="{C5E86910-DC5F-2E4F-6086-81D15CC2825D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4:17:05.935" v="61761"/>
          <ac:graphicFrameMkLst>
            <pc:docMk/>
            <pc:sldMk cId="841303760" sldId="481"/>
            <ac:graphicFrameMk id="126" creationId="{2E98A8FC-014B-AD27-4B89-84650AF8C62A}"/>
          </ac:graphicFrameMkLst>
        </pc:graphicFrame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918235384" sldId="481"/>
        </pc:sldMkLst>
      </pc:sldChg>
      <pc:sldChg chg="addSp delSp modSp add mod">
        <pc:chgData name="Muchahary, Frankle" userId="0f2bf491-0617-4378-90b8-89af8fa381b9" providerId="ADAL" clId="{8E3D5D9D-CC05-4C7B-9A9C-2FFB7784C389}" dt="2024-02-08T01:20:03.625" v="48596" actId="1076"/>
        <pc:sldMkLst>
          <pc:docMk/>
          <pc:sldMk cId="353574152" sldId="482"/>
        </pc:sldMkLst>
        <pc:spChg chg="mod">
          <ac:chgData name="Muchahary, Frankle" userId="0f2bf491-0617-4378-90b8-89af8fa381b9" providerId="ADAL" clId="{8E3D5D9D-CC05-4C7B-9A9C-2FFB7784C389}" dt="2024-02-07T03:40:22.033" v="24972" actId="20577"/>
          <ac:spMkLst>
            <pc:docMk/>
            <pc:sldMk cId="353574152" sldId="482"/>
            <ac:spMk id="2" creationId="{4253E4AA-EFC3-C052-DF2C-12C7E5BDBA71}"/>
          </ac:spMkLst>
        </pc:spChg>
        <pc:spChg chg="add mod">
          <ac:chgData name="Muchahary, Frankle" userId="0f2bf491-0617-4378-90b8-89af8fa381b9" providerId="ADAL" clId="{8E3D5D9D-CC05-4C7B-9A9C-2FFB7784C389}" dt="2024-02-08T01:18:58.816" v="48457" actId="20577"/>
          <ac:spMkLst>
            <pc:docMk/>
            <pc:sldMk cId="353574152" sldId="482"/>
            <ac:spMk id="6" creationId="{6A34734B-8C4F-53CA-9C49-466EEB06266C}"/>
          </ac:spMkLst>
        </pc:spChg>
        <pc:spChg chg="add mod">
          <ac:chgData name="Muchahary, Frankle" userId="0f2bf491-0617-4378-90b8-89af8fa381b9" providerId="ADAL" clId="{8E3D5D9D-CC05-4C7B-9A9C-2FFB7784C389}" dt="2024-02-08T01:20:03.625" v="48596" actId="1076"/>
          <ac:spMkLst>
            <pc:docMk/>
            <pc:sldMk cId="353574152" sldId="482"/>
            <ac:spMk id="8" creationId="{54FC91F2-D6B7-DEE3-10FE-D997D62DA7C5}"/>
          </ac:spMkLst>
        </pc:spChg>
        <pc:spChg chg="add mod">
          <ac:chgData name="Muchahary, Frankle" userId="0f2bf491-0617-4378-90b8-89af8fa381b9" providerId="ADAL" clId="{8E3D5D9D-CC05-4C7B-9A9C-2FFB7784C389}" dt="2024-02-08T01:18:04.973" v="48404" actId="1582"/>
          <ac:spMkLst>
            <pc:docMk/>
            <pc:sldMk cId="353574152" sldId="482"/>
            <ac:spMk id="9" creationId="{52A4BE1E-9928-2292-D9E2-98CBA59DAA40}"/>
          </ac:spMkLst>
        </pc:spChg>
        <pc:spChg chg="add del mod">
          <ac:chgData name="Muchahary, Frankle" userId="0f2bf491-0617-4378-90b8-89af8fa381b9" providerId="ADAL" clId="{8E3D5D9D-CC05-4C7B-9A9C-2FFB7784C389}" dt="2024-02-08T01:18:16.381" v="48409" actId="478"/>
          <ac:spMkLst>
            <pc:docMk/>
            <pc:sldMk cId="353574152" sldId="482"/>
            <ac:spMk id="10" creationId="{4F964101-50CB-2483-4167-77915E1FE319}"/>
          </ac:spMkLst>
        </pc:spChg>
        <pc:spChg chg="add del mod">
          <ac:chgData name="Muchahary, Frankle" userId="0f2bf491-0617-4378-90b8-89af8fa381b9" providerId="ADAL" clId="{8E3D5D9D-CC05-4C7B-9A9C-2FFB7784C389}" dt="2024-02-08T01:19:13.168" v="48462" actId="478"/>
          <ac:spMkLst>
            <pc:docMk/>
            <pc:sldMk cId="353574152" sldId="482"/>
            <ac:spMk id="11" creationId="{BF79348E-0924-62D2-AE0D-5AA74A37224E}"/>
          </ac:spMkLst>
        </pc:spChg>
        <pc:graphicFrameChg chg="add mod">
          <ac:chgData name="Muchahary, Frankle" userId="0f2bf491-0617-4378-90b8-89af8fa381b9" providerId="ADAL" clId="{8E3D5D9D-CC05-4C7B-9A9C-2FFB7784C389}" dt="2024-02-08T01:19:03.444" v="48458"/>
          <ac:graphicFrameMkLst>
            <pc:docMk/>
            <pc:sldMk cId="353574152" sldId="482"/>
            <ac:graphicFrameMk id="5" creationId="{D6729A34-5524-E5D5-FAD2-42E0310AE8B2}"/>
          </ac:graphicFrameMkLst>
        </pc:graphicFrameChg>
        <pc:graphicFrameChg chg="mod modGraphic">
          <ac:chgData name="Muchahary, Frankle" userId="0f2bf491-0617-4378-90b8-89af8fa381b9" providerId="ADAL" clId="{8E3D5D9D-CC05-4C7B-9A9C-2FFB7784C389}" dt="2024-02-08T01:13:56.973" v="48029" actId="57"/>
          <ac:graphicFrameMkLst>
            <pc:docMk/>
            <pc:sldMk cId="353574152" sldId="482"/>
            <ac:graphicFrameMk id="33" creationId="{78716B8E-B96E-6A90-266F-6701D4405824}"/>
          </ac:graphicFrameMkLst>
        </pc:graphicFrameChg>
        <pc:picChg chg="mod">
          <ac:chgData name="Muchahary, Frankle" userId="0f2bf491-0617-4378-90b8-89af8fa381b9" providerId="ADAL" clId="{8E3D5D9D-CC05-4C7B-9A9C-2FFB7784C389}" dt="2024-02-07T04:52:11.852" v="39239" actId="1076"/>
          <ac:picMkLst>
            <pc:docMk/>
            <pc:sldMk cId="353574152" sldId="482"/>
            <ac:picMk id="35" creationId="{92C20B87-EEC7-1B4B-5D19-F33DBF1ED01E}"/>
          </ac:picMkLst>
        </pc:pic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96183122" sldId="482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002536109" sldId="483"/>
        </pc:sldMkLst>
      </pc:sldChg>
      <pc:sldChg chg="addSp delSp modSp add mod">
        <pc:chgData name="Muchahary, Frankle" userId="0f2bf491-0617-4378-90b8-89af8fa381b9" providerId="ADAL" clId="{8E3D5D9D-CC05-4C7B-9A9C-2FFB7784C389}" dt="2024-02-08T02:56:17.122" v="52647"/>
        <pc:sldMkLst>
          <pc:docMk/>
          <pc:sldMk cId="2752600224" sldId="483"/>
        </pc:sldMkLst>
        <pc:spChg chg="mod ord">
          <ac:chgData name="Muchahary, Frankle" userId="0f2bf491-0617-4378-90b8-89af8fa381b9" providerId="ADAL" clId="{8E3D5D9D-CC05-4C7B-9A9C-2FFB7784C389}" dt="2024-02-08T02:56:17.092" v="52595"/>
          <ac:spMkLst>
            <pc:docMk/>
            <pc:sldMk cId="2752600224" sldId="483"/>
            <ac:spMk id="2" creationId="{BF61D701-20A6-8BBE-CCAE-B1C12B6F5BFD}"/>
          </ac:spMkLst>
        </pc:spChg>
        <pc:spChg chg="add del mod replST">
          <ac:chgData name="Muchahary, Frankle" userId="0f2bf491-0617-4378-90b8-89af8fa381b9" providerId="ADAL" clId="{8E3D5D9D-CC05-4C7B-9A9C-2FFB7784C389}" dt="2024-02-07T04:21:35.292" v="33661"/>
          <ac:spMkLst>
            <pc:docMk/>
            <pc:sldMk cId="2752600224" sldId="483"/>
            <ac:spMk id="3" creationId="{06BF4DD7-DE9A-8946-9C68-AD8A63735F6E}"/>
          </ac:spMkLst>
        </pc:spChg>
        <pc:spChg chg="add del mod modVis">
          <ac:chgData name="Muchahary, Frankle" userId="0f2bf491-0617-4378-90b8-89af8fa381b9" providerId="ADAL" clId="{8E3D5D9D-CC05-4C7B-9A9C-2FFB7784C389}" dt="2024-02-07T04:20:47.675" v="33478"/>
          <ac:spMkLst>
            <pc:docMk/>
            <pc:sldMk cId="2752600224" sldId="483"/>
            <ac:spMk id="4" creationId="{16840C1A-04BB-4F51-E34C-F1A89FA65991}"/>
          </ac:spMkLst>
        </pc:spChg>
        <pc:spChg chg="add del mod replST">
          <ac:chgData name="Muchahary, Frankle" userId="0f2bf491-0617-4378-90b8-89af8fa381b9" providerId="ADAL" clId="{8E3D5D9D-CC05-4C7B-9A9C-2FFB7784C389}" dt="2024-02-07T04:21:35.291" v="33659"/>
          <ac:spMkLst>
            <pc:docMk/>
            <pc:sldMk cId="2752600224" sldId="483"/>
            <ac:spMk id="5" creationId="{B805FBC6-3BC2-25F5-204A-A1CFCF96D73F}"/>
          </ac:spMkLst>
        </pc:spChg>
        <pc:spChg chg="add del mod replST">
          <ac:chgData name="Muchahary, Frankle" userId="0f2bf491-0617-4378-90b8-89af8fa381b9" providerId="ADAL" clId="{8E3D5D9D-CC05-4C7B-9A9C-2FFB7784C389}" dt="2024-02-07T04:21:35.293" v="33663"/>
          <ac:spMkLst>
            <pc:docMk/>
            <pc:sldMk cId="2752600224" sldId="483"/>
            <ac:spMk id="6" creationId="{DFE1281C-37D4-4000-AB76-0F324CBE397F}"/>
          </ac:spMkLst>
        </pc:spChg>
        <pc:spChg chg="mod ord">
          <ac:chgData name="Muchahary, Frankle" userId="0f2bf491-0617-4378-90b8-89af8fa381b9" providerId="ADAL" clId="{8E3D5D9D-CC05-4C7B-9A9C-2FFB7784C389}" dt="2024-02-08T02:56:17.093" v="52597"/>
          <ac:spMkLst>
            <pc:docMk/>
            <pc:sldMk cId="2752600224" sldId="483"/>
            <ac:spMk id="7" creationId="{E5B40960-B3F4-ABE8-4434-B2FDFF22DF08}"/>
          </ac:spMkLst>
        </pc:spChg>
        <pc:spChg chg="add del mod replST">
          <ac:chgData name="Muchahary, Frankle" userId="0f2bf491-0617-4378-90b8-89af8fa381b9" providerId="ADAL" clId="{8E3D5D9D-CC05-4C7B-9A9C-2FFB7784C389}" dt="2024-02-07T04:20:53.843" v="33519"/>
          <ac:spMkLst>
            <pc:docMk/>
            <pc:sldMk cId="2752600224" sldId="483"/>
            <ac:spMk id="8" creationId="{E9577EF4-5E5C-CA11-DA9E-64921CAAA23D}"/>
          </ac:spMkLst>
        </pc:spChg>
        <pc:spChg chg="add del mod replST">
          <ac:chgData name="Muchahary, Frankle" userId="0f2bf491-0617-4378-90b8-89af8fa381b9" providerId="ADAL" clId="{8E3D5D9D-CC05-4C7B-9A9C-2FFB7784C389}" dt="2024-02-07T04:20:53.846" v="33521"/>
          <ac:spMkLst>
            <pc:docMk/>
            <pc:sldMk cId="2752600224" sldId="483"/>
            <ac:spMk id="9" creationId="{DFBECF70-07B4-409C-DAE6-38474175C5CB}"/>
          </ac:spMkLst>
        </pc:spChg>
        <pc:spChg chg="add del mod replST">
          <ac:chgData name="Muchahary, Frankle" userId="0f2bf491-0617-4378-90b8-89af8fa381b9" providerId="ADAL" clId="{8E3D5D9D-CC05-4C7B-9A9C-2FFB7784C389}" dt="2024-02-07T04:21:35.292" v="33660"/>
          <ac:spMkLst>
            <pc:docMk/>
            <pc:sldMk cId="2752600224" sldId="483"/>
            <ac:spMk id="11" creationId="{820ECC2C-346B-3A15-0D50-E54CA424C0D2}"/>
          </ac:spMkLst>
        </pc:spChg>
        <pc:spChg chg="add del mod replST">
          <ac:chgData name="Muchahary, Frankle" userId="0f2bf491-0617-4378-90b8-89af8fa381b9" providerId="ADAL" clId="{8E3D5D9D-CC05-4C7B-9A9C-2FFB7784C389}" dt="2024-02-07T04:21:35.288" v="33658"/>
          <ac:spMkLst>
            <pc:docMk/>
            <pc:sldMk cId="2752600224" sldId="483"/>
            <ac:spMk id="12" creationId="{A309A87C-B1E5-15D8-DE0D-4BCF5C7808DE}"/>
          </ac:spMkLst>
        </pc:spChg>
        <pc:spChg chg="add del mod modVis">
          <ac:chgData name="Muchahary, Frankle" userId="0f2bf491-0617-4378-90b8-89af8fa381b9" providerId="ADAL" clId="{8E3D5D9D-CC05-4C7B-9A9C-2FFB7784C389}" dt="2024-02-07T04:20:53.886" v="33546"/>
          <ac:spMkLst>
            <pc:docMk/>
            <pc:sldMk cId="2752600224" sldId="483"/>
            <ac:spMk id="13" creationId="{E1814376-43AE-A656-7E3F-5338AC9D4F36}"/>
          </ac:spMkLst>
        </pc:spChg>
        <pc:spChg chg="add del mod replST">
          <ac:chgData name="Muchahary, Frankle" userId="0f2bf491-0617-4378-90b8-89af8fa381b9" providerId="ADAL" clId="{8E3D5D9D-CC05-4C7B-9A9C-2FFB7784C389}" dt="2024-02-07T04:21:35.293" v="33662"/>
          <ac:spMkLst>
            <pc:docMk/>
            <pc:sldMk cId="2752600224" sldId="483"/>
            <ac:spMk id="16" creationId="{4A857E47-54F3-7084-20F1-424A88A02708}"/>
          </ac:spMkLst>
        </pc:spChg>
        <pc:spChg chg="add del mod modVis">
          <ac:chgData name="Muchahary, Frankle" userId="0f2bf491-0617-4378-90b8-89af8fa381b9" providerId="ADAL" clId="{8E3D5D9D-CC05-4C7B-9A9C-2FFB7784C389}" dt="2024-02-07T04:20:58.018" v="33619"/>
          <ac:spMkLst>
            <pc:docMk/>
            <pc:sldMk cId="2752600224" sldId="483"/>
            <ac:spMk id="17" creationId="{27A041B1-194C-E82A-F93C-D22BD9C0146D}"/>
          </ac:spMkLst>
        </pc:spChg>
        <pc:spChg chg="add mod replST">
          <ac:chgData name="Muchahary, Frankle" userId="0f2bf491-0617-4378-90b8-89af8fa381b9" providerId="ADAL" clId="{8E3D5D9D-CC05-4C7B-9A9C-2FFB7784C389}" dt="2024-02-08T02:56:17.096" v="52606"/>
          <ac:spMkLst>
            <pc:docMk/>
            <pc:sldMk cId="2752600224" sldId="483"/>
            <ac:spMk id="21" creationId="{D17F9698-26EA-7D41-4110-F462896EB8D6}"/>
          </ac:spMkLst>
        </pc:spChg>
        <pc:spChg chg="add mod replST">
          <ac:chgData name="Muchahary, Frankle" userId="0f2bf491-0617-4378-90b8-89af8fa381b9" providerId="ADAL" clId="{8E3D5D9D-CC05-4C7B-9A9C-2FFB7784C389}" dt="2024-02-08T02:56:17.097" v="52607"/>
          <ac:spMkLst>
            <pc:docMk/>
            <pc:sldMk cId="2752600224" sldId="483"/>
            <ac:spMk id="22" creationId="{DAD6EA0A-5D16-CCBC-C446-F49D63E62D97}"/>
          </ac:spMkLst>
        </pc:spChg>
        <pc:spChg chg="add del mod replST">
          <ac:chgData name="Muchahary, Frankle" userId="0f2bf491-0617-4378-90b8-89af8fa381b9" providerId="ADAL" clId="{8E3D5D9D-CC05-4C7B-9A9C-2FFB7784C389}" dt="2024-02-07T04:27:55.595" v="34514"/>
          <ac:spMkLst>
            <pc:docMk/>
            <pc:sldMk cId="2752600224" sldId="483"/>
            <ac:spMk id="23" creationId="{A875E926-1482-0AC7-8F0A-F7BFD1611411}"/>
          </ac:spMkLst>
        </pc:spChg>
        <pc:spChg chg="add del mod replST">
          <ac:chgData name="Muchahary, Frankle" userId="0f2bf491-0617-4378-90b8-89af8fa381b9" providerId="ADAL" clId="{8E3D5D9D-CC05-4C7B-9A9C-2FFB7784C389}" dt="2024-02-07T04:27:55.597" v="34515"/>
          <ac:spMkLst>
            <pc:docMk/>
            <pc:sldMk cId="2752600224" sldId="483"/>
            <ac:spMk id="24" creationId="{524F1E6B-9271-1864-9F40-747A5450DFBF}"/>
          </ac:spMkLst>
        </pc:spChg>
        <pc:spChg chg="add del mod modVis">
          <ac:chgData name="Muchahary, Frankle" userId="0f2bf491-0617-4378-90b8-89af8fa381b9" providerId="ADAL" clId="{8E3D5D9D-CC05-4C7B-9A9C-2FFB7784C389}" dt="2024-02-07T04:21:39.552" v="33779"/>
          <ac:spMkLst>
            <pc:docMk/>
            <pc:sldMk cId="2752600224" sldId="483"/>
            <ac:spMk id="25" creationId="{DF817CC5-298B-B90C-1823-449513458B60}"/>
          </ac:spMkLst>
        </pc:spChg>
        <pc:spChg chg="add mod replST">
          <ac:chgData name="Muchahary, Frankle" userId="0f2bf491-0617-4378-90b8-89af8fa381b9" providerId="ADAL" clId="{8E3D5D9D-CC05-4C7B-9A9C-2FFB7784C389}" dt="2024-02-08T02:56:17.102" v="52618"/>
          <ac:spMkLst>
            <pc:docMk/>
            <pc:sldMk cId="2752600224" sldId="483"/>
            <ac:spMk id="29" creationId="{A3C43E77-B999-F264-3E36-6BD87C2BF814}"/>
          </ac:spMkLst>
        </pc:spChg>
        <pc:spChg chg="add mod replST">
          <ac:chgData name="Muchahary, Frankle" userId="0f2bf491-0617-4378-90b8-89af8fa381b9" providerId="ADAL" clId="{8E3D5D9D-CC05-4C7B-9A9C-2FFB7784C389}" dt="2024-02-08T02:56:17.102" v="52619"/>
          <ac:spMkLst>
            <pc:docMk/>
            <pc:sldMk cId="2752600224" sldId="483"/>
            <ac:spMk id="30" creationId="{5FEF275B-2D10-D02C-3518-30C793C0CB45}"/>
          </ac:spMkLst>
        </pc:spChg>
        <pc:spChg chg="add del mod replST">
          <ac:chgData name="Muchahary, Frankle" userId="0f2bf491-0617-4378-90b8-89af8fa381b9" providerId="ADAL" clId="{8E3D5D9D-CC05-4C7B-9A9C-2FFB7784C389}" dt="2024-02-07T04:29:48.201" v="35093"/>
          <ac:spMkLst>
            <pc:docMk/>
            <pc:sldMk cId="2752600224" sldId="483"/>
            <ac:spMk id="31" creationId="{27BA494F-68BB-C5E5-1C78-9D1F073128D6}"/>
          </ac:spMkLst>
        </pc:spChg>
        <pc:spChg chg="add del mod replST">
          <ac:chgData name="Muchahary, Frankle" userId="0f2bf491-0617-4378-90b8-89af8fa381b9" providerId="ADAL" clId="{8E3D5D9D-CC05-4C7B-9A9C-2FFB7784C389}" dt="2024-02-07T04:29:48.201" v="35094"/>
          <ac:spMkLst>
            <pc:docMk/>
            <pc:sldMk cId="2752600224" sldId="483"/>
            <ac:spMk id="32" creationId="{955F21CB-C15D-D51D-A8B2-E9D36757825B}"/>
          </ac:spMkLst>
        </pc:spChg>
        <pc:spChg chg="del">
          <ac:chgData name="Muchahary, Frankle" userId="0f2bf491-0617-4378-90b8-89af8fa381b9" providerId="ADAL" clId="{8E3D5D9D-CC05-4C7B-9A9C-2FFB7784C389}" dt="2024-02-07T04:20:37.106" v="33095"/>
          <ac:spMkLst>
            <pc:docMk/>
            <pc:sldMk cId="2752600224" sldId="483"/>
            <ac:spMk id="33" creationId="{3AD36261-DF53-FB85-40A1-46F48608812A}"/>
          </ac:spMkLst>
        </pc:spChg>
        <pc:spChg chg="add del mod modVis">
          <ac:chgData name="Muchahary, Frankle" userId="0f2bf491-0617-4378-90b8-89af8fa381b9" providerId="ADAL" clId="{8E3D5D9D-CC05-4C7B-9A9C-2FFB7784C389}" dt="2024-02-07T04:25:59.139" v="34013"/>
          <ac:spMkLst>
            <pc:docMk/>
            <pc:sldMk cId="2752600224" sldId="483"/>
            <ac:spMk id="34" creationId="{D1EDA8AB-115C-35B6-EE2C-765E1E3F6F31}"/>
          </ac:spMkLst>
        </pc:spChg>
        <pc:spChg chg="add del mod modVis">
          <ac:chgData name="Muchahary, Frankle" userId="0f2bf491-0617-4378-90b8-89af8fa381b9" providerId="ADAL" clId="{8E3D5D9D-CC05-4C7B-9A9C-2FFB7784C389}" dt="2024-02-07T04:27:23.013" v="34085"/>
          <ac:spMkLst>
            <pc:docMk/>
            <pc:sldMk cId="2752600224" sldId="483"/>
            <ac:spMk id="36" creationId="{2885ABFA-A66E-D1E2-410C-8C9E5DA07D66}"/>
          </ac:spMkLst>
        </pc:spChg>
        <pc:spChg chg="add del mod modVis">
          <ac:chgData name="Muchahary, Frankle" userId="0f2bf491-0617-4378-90b8-89af8fa381b9" providerId="ADAL" clId="{8E3D5D9D-CC05-4C7B-9A9C-2FFB7784C389}" dt="2024-02-07T04:27:25.618" v="34153"/>
          <ac:spMkLst>
            <pc:docMk/>
            <pc:sldMk cId="2752600224" sldId="483"/>
            <ac:spMk id="38" creationId="{E00C0B6C-D714-3B4B-D089-E86F2160B4C9}"/>
          </ac:spMkLst>
        </pc:spChg>
        <pc:spChg chg="add del mod modVis">
          <ac:chgData name="Muchahary, Frankle" userId="0f2bf491-0617-4378-90b8-89af8fa381b9" providerId="ADAL" clId="{8E3D5D9D-CC05-4C7B-9A9C-2FFB7784C389}" dt="2024-02-07T04:27:27.943" v="34221"/>
          <ac:spMkLst>
            <pc:docMk/>
            <pc:sldMk cId="2752600224" sldId="483"/>
            <ac:spMk id="40" creationId="{6DF68A8D-4910-44C7-D9D5-25E2B48AE894}"/>
          </ac:spMkLst>
        </pc:spChg>
        <pc:spChg chg="add del mod modVis">
          <ac:chgData name="Muchahary, Frankle" userId="0f2bf491-0617-4378-90b8-89af8fa381b9" providerId="ADAL" clId="{8E3D5D9D-CC05-4C7B-9A9C-2FFB7784C389}" dt="2024-02-07T04:27:29.859" v="34289"/>
          <ac:spMkLst>
            <pc:docMk/>
            <pc:sldMk cId="2752600224" sldId="483"/>
            <ac:spMk id="42" creationId="{D0DC37F7-0BF4-8F16-4B5F-7862639963CA}"/>
          </ac:spMkLst>
        </pc:spChg>
        <pc:spChg chg="del">
          <ac:chgData name="Muchahary, Frankle" userId="0f2bf491-0617-4378-90b8-89af8fa381b9" providerId="ADAL" clId="{8E3D5D9D-CC05-4C7B-9A9C-2FFB7784C389}" dt="2024-02-07T04:20:37.105" v="33093"/>
          <ac:spMkLst>
            <pc:docMk/>
            <pc:sldMk cId="2752600224" sldId="483"/>
            <ac:spMk id="48" creationId="{E2A5395F-999E-26FF-9497-592EEAB0C475}"/>
          </ac:spMkLst>
        </pc:spChg>
        <pc:spChg chg="add del mod modVis">
          <ac:chgData name="Muchahary, Frankle" userId="0f2bf491-0617-4378-90b8-89af8fa381b9" providerId="ADAL" clId="{8E3D5D9D-CC05-4C7B-9A9C-2FFB7784C389}" dt="2024-02-07T04:27:55.637" v="34541"/>
          <ac:spMkLst>
            <pc:docMk/>
            <pc:sldMk cId="2752600224" sldId="483"/>
            <ac:spMk id="50" creationId="{5FC3A372-727E-1239-D6C0-83A55DB0496A}"/>
          </ac:spMkLst>
        </pc:spChg>
        <pc:spChg chg="add mod ord">
          <ac:chgData name="Muchahary, Frankle" userId="0f2bf491-0617-4378-90b8-89af8fa381b9" providerId="ADAL" clId="{8E3D5D9D-CC05-4C7B-9A9C-2FFB7784C389}" dt="2024-02-08T02:56:17.104" v="52623"/>
          <ac:spMkLst>
            <pc:docMk/>
            <pc:sldMk cId="2752600224" sldId="483"/>
            <ac:spMk id="56" creationId="{C3222E45-18F8-0E11-AF49-AE24DD4B24F0}"/>
          </ac:spMkLst>
        </pc:spChg>
        <pc:spChg chg="add mod ord">
          <ac:chgData name="Muchahary, Frankle" userId="0f2bf491-0617-4378-90b8-89af8fa381b9" providerId="ADAL" clId="{8E3D5D9D-CC05-4C7B-9A9C-2FFB7784C389}" dt="2024-02-08T02:56:17.105" v="52625"/>
          <ac:spMkLst>
            <pc:docMk/>
            <pc:sldMk cId="2752600224" sldId="483"/>
            <ac:spMk id="57" creationId="{C4E016F3-4A58-3C19-7633-731BF5C4D637}"/>
          </ac:spMkLst>
        </pc:spChg>
        <pc:spChg chg="add del mod modVis">
          <ac:chgData name="Muchahary, Frankle" userId="0f2bf491-0617-4378-90b8-89af8fa381b9" providerId="ADAL" clId="{8E3D5D9D-CC05-4C7B-9A9C-2FFB7784C389}" dt="2024-02-07T04:29:48.242" v="35122"/>
          <ac:spMkLst>
            <pc:docMk/>
            <pc:sldMk cId="2752600224" sldId="483"/>
            <ac:spMk id="64" creationId="{1D08FCEB-7EA2-04E0-F6DD-8C8D9AD8A04E}"/>
          </ac:spMkLst>
        </pc:spChg>
        <pc:spChg chg="add del mod modVis">
          <ac:chgData name="Muchahary, Frankle" userId="0f2bf491-0617-4378-90b8-89af8fa381b9" providerId="ADAL" clId="{8E3D5D9D-CC05-4C7B-9A9C-2FFB7784C389}" dt="2024-02-07T04:29:56.962" v="35174"/>
          <ac:spMkLst>
            <pc:docMk/>
            <pc:sldMk cId="2752600224" sldId="483"/>
            <ac:spMk id="66" creationId="{DDF4B681-43B0-A3BB-6C2C-EEFE40BD5D26}"/>
          </ac:spMkLst>
        </pc:spChg>
        <pc:spChg chg="del">
          <ac:chgData name="Muchahary, Frankle" userId="0f2bf491-0617-4378-90b8-89af8fa381b9" providerId="ADAL" clId="{8E3D5D9D-CC05-4C7B-9A9C-2FFB7784C389}" dt="2024-02-07T04:20:37.105" v="33094"/>
          <ac:spMkLst>
            <pc:docMk/>
            <pc:sldMk cId="2752600224" sldId="483"/>
            <ac:spMk id="68" creationId="{40DFA24F-7F20-5561-08B6-6EB77BEB98AF}"/>
          </ac:spMkLst>
        </pc:spChg>
        <pc:spChg chg="del">
          <ac:chgData name="Muchahary, Frankle" userId="0f2bf491-0617-4378-90b8-89af8fa381b9" providerId="ADAL" clId="{8E3D5D9D-CC05-4C7B-9A9C-2FFB7784C389}" dt="2024-02-07T04:20:37.103" v="33092"/>
          <ac:spMkLst>
            <pc:docMk/>
            <pc:sldMk cId="2752600224" sldId="483"/>
            <ac:spMk id="69" creationId="{D08894FF-863F-BFD8-945E-CD976925B1FD}"/>
          </ac:spMkLst>
        </pc:spChg>
        <pc:spChg chg="add del mod modVis">
          <ac:chgData name="Muchahary, Frankle" userId="0f2bf491-0617-4378-90b8-89af8fa381b9" providerId="ADAL" clId="{8E3D5D9D-CC05-4C7B-9A9C-2FFB7784C389}" dt="2024-02-07T04:30:07.187" v="35256"/>
          <ac:spMkLst>
            <pc:docMk/>
            <pc:sldMk cId="2752600224" sldId="483"/>
            <ac:spMk id="71" creationId="{12AAC20D-3B5C-8CCF-9CE5-85917FCADF10}"/>
          </ac:spMkLst>
        </pc:spChg>
        <pc:spChg chg="add del mod modVis">
          <ac:chgData name="Muchahary, Frankle" userId="0f2bf491-0617-4378-90b8-89af8fa381b9" providerId="ADAL" clId="{8E3D5D9D-CC05-4C7B-9A9C-2FFB7784C389}" dt="2024-02-07T04:30:08.474" v="35308"/>
          <ac:spMkLst>
            <pc:docMk/>
            <pc:sldMk cId="2752600224" sldId="483"/>
            <ac:spMk id="73" creationId="{969D5AD5-C80C-7496-41C3-6C5B6B484E31}"/>
          </ac:spMkLst>
        </pc:spChg>
        <pc:spChg chg="add del mod replST">
          <ac:chgData name="Muchahary, Frankle" userId="0f2bf491-0617-4378-90b8-89af8fa381b9" providerId="ADAL" clId="{8E3D5D9D-CC05-4C7B-9A9C-2FFB7784C389}" dt="2024-02-07T04:30:16.727" v="35424"/>
          <ac:spMkLst>
            <pc:docMk/>
            <pc:sldMk cId="2752600224" sldId="483"/>
            <ac:spMk id="75" creationId="{9ED8A854-A23E-81DD-08A8-7255C4C6DB35}"/>
          </ac:spMkLst>
        </pc:spChg>
        <pc:spChg chg="add del mod modVis">
          <ac:chgData name="Muchahary, Frankle" userId="0f2bf491-0617-4378-90b8-89af8fa381b9" providerId="ADAL" clId="{8E3D5D9D-CC05-4C7B-9A9C-2FFB7784C389}" dt="2024-02-07T04:30:15.463" v="35418"/>
          <ac:spMkLst>
            <pc:docMk/>
            <pc:sldMk cId="2752600224" sldId="483"/>
            <ac:spMk id="76" creationId="{35BABD31-BC66-92EA-0A88-F6270AED7F08}"/>
          </ac:spMkLst>
        </pc:spChg>
        <pc:spChg chg="add del mod modVis">
          <ac:chgData name="Muchahary, Frankle" userId="0f2bf491-0617-4378-90b8-89af8fa381b9" providerId="ADAL" clId="{8E3D5D9D-CC05-4C7B-9A9C-2FFB7784C389}" dt="2024-02-07T04:30:22.062" v="35504"/>
          <ac:spMkLst>
            <pc:docMk/>
            <pc:sldMk cId="2752600224" sldId="483"/>
            <ac:spMk id="79" creationId="{88689719-EDF5-1931-8289-124D9D8F7581}"/>
          </ac:spMkLst>
        </pc:spChg>
        <pc:spChg chg="add del mod replST">
          <ac:chgData name="Muchahary, Frankle" userId="0f2bf491-0617-4378-90b8-89af8fa381b9" providerId="ADAL" clId="{8E3D5D9D-CC05-4C7B-9A9C-2FFB7784C389}" dt="2024-02-07T05:03:42.310" v="39560"/>
          <ac:spMkLst>
            <pc:docMk/>
            <pc:sldMk cId="2752600224" sldId="483"/>
            <ac:spMk id="85" creationId="{35F9834C-1B02-15BB-A5D8-4948501BDC21}"/>
          </ac:spMkLst>
        </pc:spChg>
        <pc:spChg chg="add del mod modVis">
          <ac:chgData name="Muchahary, Frankle" userId="0f2bf491-0617-4378-90b8-89af8fa381b9" providerId="ADAL" clId="{8E3D5D9D-CC05-4C7B-9A9C-2FFB7784C389}" dt="2024-02-07T05:03:41.041" v="39554"/>
          <ac:spMkLst>
            <pc:docMk/>
            <pc:sldMk cId="2752600224" sldId="483"/>
            <ac:spMk id="86" creationId="{CAEE8C04-3A56-469F-91E4-D5EFED5C6BCD}"/>
          </ac:spMkLst>
        </pc:spChg>
        <pc:spChg chg="add mod ord replST delST">
          <ac:chgData name="Muchahary, Frankle" userId="0f2bf491-0617-4378-90b8-89af8fa381b9" providerId="ADAL" clId="{8E3D5D9D-CC05-4C7B-9A9C-2FFB7784C389}" dt="2024-02-07T05:03:54.726" v="39825"/>
          <ac:spMkLst>
            <pc:docMk/>
            <pc:sldMk cId="2752600224" sldId="483"/>
            <ac:spMk id="89" creationId="{FDC28DF7-DAB7-51F9-E6E7-E6E5205F7F3B}"/>
          </ac:spMkLst>
        </pc:spChg>
        <pc:spChg chg="add del mod modVis">
          <ac:chgData name="Muchahary, Frankle" userId="0f2bf491-0617-4378-90b8-89af8fa381b9" providerId="ADAL" clId="{8E3D5D9D-CC05-4C7B-9A9C-2FFB7784C389}" dt="2024-02-07T05:03:54.726" v="39825"/>
          <ac:spMkLst>
            <pc:docMk/>
            <pc:sldMk cId="2752600224" sldId="483"/>
            <ac:spMk id="90" creationId="{4601E75C-4B0F-1331-6C04-405A0681B7EA}"/>
          </ac:spMkLst>
        </pc:spChg>
        <pc:spChg chg="add del mod modVis">
          <ac:chgData name="Muchahary, Frankle" userId="0f2bf491-0617-4378-90b8-89af8fa381b9" providerId="ADAL" clId="{8E3D5D9D-CC05-4C7B-9A9C-2FFB7784C389}" dt="2024-02-07T05:03:59.483" v="40028"/>
          <ac:spMkLst>
            <pc:docMk/>
            <pc:sldMk cId="2752600224" sldId="483"/>
            <ac:spMk id="93" creationId="{506F7963-5461-E738-D46C-0854D55077BD}"/>
          </ac:spMkLst>
        </pc:spChg>
        <pc:spChg chg="add mod ord replST">
          <ac:chgData name="Muchahary, Frankle" userId="0f2bf491-0617-4378-90b8-89af8fa381b9" providerId="ADAL" clId="{8E3D5D9D-CC05-4C7B-9A9C-2FFB7784C389}" dt="2024-02-08T02:56:17.098" v="52609"/>
          <ac:spMkLst>
            <pc:docMk/>
            <pc:sldMk cId="2752600224" sldId="483"/>
            <ac:spMk id="94" creationId="{696905F0-17F8-B8FF-1ADF-FD1468009B30}"/>
          </ac:spMkLst>
        </pc:spChg>
        <pc:spChg chg="add del mod modVis">
          <ac:chgData name="Muchahary, Frankle" userId="0f2bf491-0617-4378-90b8-89af8fa381b9" providerId="ADAL" clId="{8E3D5D9D-CC05-4C7B-9A9C-2FFB7784C389}" dt="2024-02-08T01:53:30.074" v="50234"/>
          <ac:spMkLst>
            <pc:docMk/>
            <pc:sldMk cId="2752600224" sldId="483"/>
            <ac:spMk id="102" creationId="{7F659E60-D023-2832-5323-B0E35911D7C3}"/>
          </ac:spMkLst>
        </pc:spChg>
        <pc:spChg chg="add del mod ord replST">
          <ac:chgData name="Muchahary, Frankle" userId="0f2bf491-0617-4378-90b8-89af8fa381b9" providerId="ADAL" clId="{8E3D5D9D-CC05-4C7B-9A9C-2FFB7784C389}" dt="2024-02-08T01:53:37.506" v="50436"/>
          <ac:spMkLst>
            <pc:docMk/>
            <pc:sldMk cId="2752600224" sldId="483"/>
            <ac:spMk id="103" creationId="{0C0A9269-6EF9-1A73-051D-86890A7C9D71}"/>
          </ac:spMkLst>
        </pc:spChg>
        <pc:spChg chg="add mod ord replST">
          <ac:chgData name="Muchahary, Frankle" userId="0f2bf491-0617-4378-90b8-89af8fa381b9" providerId="ADAL" clId="{8E3D5D9D-CC05-4C7B-9A9C-2FFB7784C389}" dt="2024-02-08T02:56:17.103" v="52621"/>
          <ac:spMkLst>
            <pc:docMk/>
            <pc:sldMk cId="2752600224" sldId="483"/>
            <ac:spMk id="108" creationId="{3773757E-8F39-A711-F644-FEF604C1369A}"/>
          </ac:spMkLst>
        </pc:spChg>
        <pc:spChg chg="add del mod modVis">
          <ac:chgData name="Muchahary, Frankle" userId="0f2bf491-0617-4378-90b8-89af8fa381b9" providerId="ADAL" clId="{8E3D5D9D-CC05-4C7B-9A9C-2FFB7784C389}" dt="2024-02-08T01:53:33.254" v="50426"/>
          <ac:spMkLst>
            <pc:docMk/>
            <pc:sldMk cId="2752600224" sldId="483"/>
            <ac:spMk id="109" creationId="{CB264B0B-2C6B-0D23-47FF-46281F3A9AA0}"/>
          </ac:spMkLst>
        </pc:spChg>
        <pc:spChg chg="add mod ord">
          <ac:chgData name="Muchahary, Frankle" userId="0f2bf491-0617-4378-90b8-89af8fa381b9" providerId="ADAL" clId="{8E3D5D9D-CC05-4C7B-9A9C-2FFB7784C389}" dt="2024-02-08T02:56:17.106" v="52627"/>
          <ac:spMkLst>
            <pc:docMk/>
            <pc:sldMk cId="2752600224" sldId="483"/>
            <ac:spMk id="117" creationId="{568F1A26-E2AE-2585-59E3-811D916422AD}"/>
          </ac:spMkLst>
        </pc:spChg>
        <pc:spChg chg="add mod replST">
          <ac:chgData name="Muchahary, Frankle" userId="0f2bf491-0617-4378-90b8-89af8fa381b9" providerId="ADAL" clId="{8E3D5D9D-CC05-4C7B-9A9C-2FFB7784C389}" dt="2024-02-08T02:56:17.110" v="52636"/>
          <ac:spMkLst>
            <pc:docMk/>
            <pc:sldMk cId="2752600224" sldId="483"/>
            <ac:spMk id="122" creationId="{90AC9565-1E56-A369-C6EE-F20D677B09EB}"/>
          </ac:spMkLst>
        </pc:spChg>
        <pc:spChg chg="add mod replST">
          <ac:chgData name="Muchahary, Frankle" userId="0f2bf491-0617-4378-90b8-89af8fa381b9" providerId="ADAL" clId="{8E3D5D9D-CC05-4C7B-9A9C-2FFB7784C389}" dt="2024-02-08T02:56:17.111" v="52637"/>
          <ac:spMkLst>
            <pc:docMk/>
            <pc:sldMk cId="2752600224" sldId="483"/>
            <ac:spMk id="123" creationId="{C17B73AC-E75C-3ED1-4A19-E2D3A27D3EF3}"/>
          </ac:spMkLst>
        </pc:spChg>
        <pc:spChg chg="add mod ord replST">
          <ac:chgData name="Muchahary, Frankle" userId="0f2bf491-0617-4378-90b8-89af8fa381b9" providerId="ADAL" clId="{8E3D5D9D-CC05-4C7B-9A9C-2FFB7784C389}" dt="2024-02-08T02:56:17.112" v="52639"/>
          <ac:spMkLst>
            <pc:docMk/>
            <pc:sldMk cId="2752600224" sldId="483"/>
            <ac:spMk id="124" creationId="{1EE51175-42AF-0A32-36EC-1B5A4A2B4274}"/>
          </ac:spMkLst>
        </pc:spChg>
        <pc:spChg chg="add del mod modVis">
          <ac:chgData name="Muchahary, Frankle" userId="0f2bf491-0617-4378-90b8-89af8fa381b9" providerId="ADAL" clId="{8E3D5D9D-CC05-4C7B-9A9C-2FFB7784C389}" dt="2024-02-08T02:52:19.837" v="52053"/>
          <ac:spMkLst>
            <pc:docMk/>
            <pc:sldMk cId="2752600224" sldId="483"/>
            <ac:spMk id="125" creationId="{B0E5858A-EE9C-26FB-4EA6-58ADF1EC8486}"/>
          </ac:spMkLst>
        </pc:spChg>
        <pc:spChg chg="add mod ord">
          <ac:chgData name="Muchahary, Frankle" userId="0f2bf491-0617-4378-90b8-89af8fa381b9" providerId="ADAL" clId="{8E3D5D9D-CC05-4C7B-9A9C-2FFB7784C389}" dt="2024-02-08T02:56:17.112" v="52641"/>
          <ac:spMkLst>
            <pc:docMk/>
            <pc:sldMk cId="2752600224" sldId="483"/>
            <ac:spMk id="127" creationId="{244CFE5A-91D0-A2B9-F815-528FFBAC943B}"/>
          </ac:spMkLst>
        </pc:spChg>
        <pc:spChg chg="add del mod replST">
          <ac:chgData name="Muchahary, Frankle" userId="0f2bf491-0617-4378-90b8-89af8fa381b9" providerId="ADAL" clId="{8E3D5D9D-CC05-4C7B-9A9C-2FFB7784C389}" dt="2024-02-08T02:55:17.991" v="52235"/>
          <ac:spMkLst>
            <pc:docMk/>
            <pc:sldMk cId="2752600224" sldId="483"/>
            <ac:spMk id="128" creationId="{32EB7652-CDF5-24D1-50B1-74C19161AD5F}"/>
          </ac:spMkLst>
        </pc:spChg>
        <pc:spChg chg="add del mod modVis">
          <ac:chgData name="Muchahary, Frankle" userId="0f2bf491-0617-4378-90b8-89af8fa381b9" providerId="ADAL" clId="{8E3D5D9D-CC05-4C7B-9A9C-2FFB7784C389}" dt="2024-02-08T02:55:10.255" v="52229"/>
          <ac:spMkLst>
            <pc:docMk/>
            <pc:sldMk cId="2752600224" sldId="483"/>
            <ac:spMk id="129" creationId="{AB38E373-3263-72A5-2A08-350A5D548FEB}"/>
          </ac:spMkLst>
        </pc:spChg>
        <pc:spChg chg="add del mod modVis">
          <ac:chgData name="Muchahary, Frankle" userId="0f2bf491-0617-4378-90b8-89af8fa381b9" providerId="ADAL" clId="{8E3D5D9D-CC05-4C7B-9A9C-2FFB7784C389}" dt="2024-02-08T02:56:09.434" v="52411"/>
          <ac:spMkLst>
            <pc:docMk/>
            <pc:sldMk cId="2752600224" sldId="483"/>
            <ac:spMk id="132" creationId="{D9E424C0-00B8-6CD0-BCB9-D7E9DD047BF9}"/>
          </ac:spMkLst>
        </pc:spChg>
        <pc:spChg chg="add del mod modVis">
          <ac:chgData name="Muchahary, Frankle" userId="0f2bf491-0617-4378-90b8-89af8fa381b9" providerId="ADAL" clId="{8E3D5D9D-CC05-4C7B-9A9C-2FFB7784C389}" dt="2024-02-08T02:56:13.252" v="52528"/>
          <ac:spMkLst>
            <pc:docMk/>
            <pc:sldMk cId="2752600224" sldId="483"/>
            <ac:spMk id="134" creationId="{D9C02EA8-12F7-8240-3E86-B60A0B48D99D}"/>
          </ac:spMkLst>
        </pc:spChg>
        <pc:spChg chg="add del mod modVis">
          <ac:chgData name="Muchahary, Frankle" userId="0f2bf491-0617-4378-90b8-89af8fa381b9" providerId="ADAL" clId="{8E3D5D9D-CC05-4C7B-9A9C-2FFB7784C389}" dt="2024-02-08T02:56:17.115" v="52645"/>
          <ac:spMkLst>
            <pc:docMk/>
            <pc:sldMk cId="2752600224" sldId="483"/>
            <ac:spMk id="136" creationId="{595A7863-13EC-F52F-7D27-48C498174F70}"/>
          </ac:spMkLst>
        </pc:spChg>
        <pc:graphicFrameChg chg="add del mod ord replST">
          <ac:chgData name="Muchahary, Frankle" userId="0f2bf491-0617-4378-90b8-89af8fa381b9" providerId="ADAL" clId="{8E3D5D9D-CC05-4C7B-9A9C-2FFB7784C389}" dt="2024-02-07T04:20:53.850" v="33525"/>
          <ac:graphicFrameMkLst>
            <pc:docMk/>
            <pc:sldMk cId="2752600224" sldId="483"/>
            <ac:graphicFrameMk id="10" creationId="{81547397-DD99-39F8-36BE-5434C5E7B15C}"/>
          </ac:graphicFrameMkLst>
        </pc:graphicFrameChg>
        <pc:graphicFrameChg chg="mod">
          <ac:chgData name="Muchahary, Frankle" userId="0f2bf491-0617-4378-90b8-89af8fa381b9" providerId="ADAL" clId="{8E3D5D9D-CC05-4C7B-9A9C-2FFB7784C389}" dt="2024-02-08T02:56:17.122" v="52647"/>
          <ac:graphicFrameMkLst>
            <pc:docMk/>
            <pc:sldMk cId="2752600224" sldId="483"/>
            <ac:graphicFrameMk id="14" creationId="{F2391E31-9A6C-6210-8BEF-7CDC84AA2AB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0:57.982" v="33597"/>
          <ac:graphicFrameMkLst>
            <pc:docMk/>
            <pc:sldMk cId="2752600224" sldId="483"/>
            <ac:graphicFrameMk id="15" creationId="{1D0D7FDE-869C-738D-C91F-5E55AE40335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1:00.038" v="33627"/>
          <ac:graphicFrameMkLst>
            <pc:docMk/>
            <pc:sldMk cId="2752600224" sldId="483"/>
            <ac:graphicFrameMk id="18" creationId="{31E61D7F-34E1-486A-AD6A-EDA0607F21D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1:35.295" v="33665"/>
          <ac:graphicFrameMkLst>
            <pc:docMk/>
            <pc:sldMk cId="2752600224" sldId="483"/>
            <ac:graphicFrameMk id="19" creationId="{19C4FAEC-8150-5D13-D8A3-DBA98673AE36}"/>
          </ac:graphicFrameMkLst>
        </pc:graphicFrameChg>
        <pc:graphicFrameChg chg="add del mod replST">
          <ac:chgData name="Muchahary, Frankle" userId="0f2bf491-0617-4378-90b8-89af8fa381b9" providerId="ADAL" clId="{8E3D5D9D-CC05-4C7B-9A9C-2FFB7784C389}" dt="2024-02-07T04:21:39.517" v="33759"/>
          <ac:graphicFrameMkLst>
            <pc:docMk/>
            <pc:sldMk cId="2752600224" sldId="483"/>
            <ac:graphicFrameMk id="20" creationId="{E2ED51BA-7591-9BCE-9B42-7F4E7B6987A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1:41.050" v="33803"/>
          <ac:graphicFrameMkLst>
            <pc:docMk/>
            <pc:sldMk cId="2752600224" sldId="483"/>
            <ac:graphicFrameMk id="26" creationId="{37992B74-BF25-0741-98C6-8F6C58AB8B5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22.972" v="34059"/>
          <ac:graphicFrameMkLst>
            <pc:docMk/>
            <pc:sldMk cId="2752600224" sldId="483"/>
            <ac:graphicFrameMk id="27" creationId="{2F04960F-47D8-CE75-5993-3C23C49EB2DE}"/>
          </ac:graphicFrameMkLst>
        </pc:graphicFrameChg>
        <pc:graphicFrameChg chg="add del mod replST">
          <ac:chgData name="Muchahary, Frankle" userId="0f2bf491-0617-4378-90b8-89af8fa381b9" providerId="ADAL" clId="{8E3D5D9D-CC05-4C7B-9A9C-2FFB7784C389}" dt="2024-02-07T04:25:59.104" v="33987"/>
          <ac:graphicFrameMkLst>
            <pc:docMk/>
            <pc:sldMk cId="2752600224" sldId="483"/>
            <ac:graphicFrameMk id="28" creationId="{383B6426-3C6E-9DDC-E747-F41620FE1EC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17.126" v="34778"/>
          <ac:graphicFrameMkLst>
            <pc:docMk/>
            <pc:sldMk cId="2752600224" sldId="483"/>
            <ac:graphicFrameMk id="35" creationId="{8B43DE24-6649-E95E-A6F6-2120672A966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25.579" v="34127"/>
          <ac:graphicFrameMkLst>
            <pc:docMk/>
            <pc:sldMk cId="2752600224" sldId="483"/>
            <ac:graphicFrameMk id="37" creationId="{F02515E9-D981-18F5-1B25-DEF728B72F3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27.907" v="34195"/>
          <ac:graphicFrameMkLst>
            <pc:docMk/>
            <pc:sldMk cId="2752600224" sldId="483"/>
            <ac:graphicFrameMk id="39" creationId="{BD9744A3-906A-07ED-732A-CC713B91320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29.818" v="34263"/>
          <ac:graphicFrameMkLst>
            <pc:docMk/>
            <pc:sldMk cId="2752600224" sldId="483"/>
            <ac:graphicFrameMk id="41" creationId="{E146DB97-D2E3-5D00-F63A-F773206B9A16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34.368" v="34299"/>
          <ac:graphicFrameMkLst>
            <pc:docMk/>
            <pc:sldMk cId="2752600224" sldId="483"/>
            <ac:graphicFrameMk id="43" creationId="{224777F0-F111-752E-9095-6671987E654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36.672" v="34333"/>
          <ac:graphicFrameMkLst>
            <pc:docMk/>
            <pc:sldMk cId="2752600224" sldId="483"/>
            <ac:graphicFrameMk id="44" creationId="{2911F05A-6C14-DD60-4CAC-B48A7588FCD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40.178" v="34367"/>
          <ac:graphicFrameMkLst>
            <pc:docMk/>
            <pc:sldMk cId="2752600224" sldId="483"/>
            <ac:graphicFrameMk id="45" creationId="{CD5A4168-994A-233A-064C-EB118AF752F0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43.458" v="34401"/>
          <ac:graphicFrameMkLst>
            <pc:docMk/>
            <pc:sldMk cId="2752600224" sldId="483"/>
            <ac:graphicFrameMk id="46" creationId="{1E7A9A41-CC97-E9EE-130A-729DE568F781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49.288" v="34433"/>
          <ac:graphicFrameMkLst>
            <pc:docMk/>
            <pc:sldMk cId="2752600224" sldId="483"/>
            <ac:graphicFrameMk id="47" creationId="{92599823-08E5-900E-FE31-3A7F6428BC7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7:55.599" v="34517"/>
          <ac:graphicFrameMkLst>
            <pc:docMk/>
            <pc:sldMk cId="2752600224" sldId="483"/>
            <ac:graphicFrameMk id="49" creationId="{FAFC3E7A-5F7C-7E53-9428-59B495676A8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8:03.680" v="34547"/>
          <ac:graphicFrameMkLst>
            <pc:docMk/>
            <pc:sldMk cId="2752600224" sldId="483"/>
            <ac:graphicFrameMk id="51" creationId="{E5DB8A38-0953-3820-7FCB-94E2B121AEE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8:07.731" v="34575"/>
          <ac:graphicFrameMkLst>
            <pc:docMk/>
            <pc:sldMk cId="2752600224" sldId="483"/>
            <ac:graphicFrameMk id="52" creationId="{36537BED-DDDB-DD37-F9EE-F1BF823179E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8:21.247" v="34607"/>
          <ac:graphicFrameMkLst>
            <pc:docMk/>
            <pc:sldMk cId="2752600224" sldId="483"/>
            <ac:graphicFrameMk id="53" creationId="{5130F9CC-1BAF-CE2F-A6B1-381C07649C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8:23.680" v="34643"/>
          <ac:graphicFrameMkLst>
            <pc:docMk/>
            <pc:sldMk cId="2752600224" sldId="483"/>
            <ac:graphicFrameMk id="54" creationId="{A117A7E5-93BD-B0EA-B329-FCB1DBB566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27.852" v="35514"/>
          <ac:graphicFrameMkLst>
            <pc:docMk/>
            <pc:sldMk cId="2752600224" sldId="483"/>
            <ac:graphicFrameMk id="55" creationId="{E43F8377-80F2-31C0-A993-3D7AF4438E1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18.604" v="34828"/>
          <ac:graphicFrameMkLst>
            <pc:docMk/>
            <pc:sldMk cId="2752600224" sldId="483"/>
            <ac:graphicFrameMk id="58" creationId="{7DCFC4B4-B761-978D-73CB-01C05893E8C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20.526" v="34870"/>
          <ac:graphicFrameMkLst>
            <pc:docMk/>
            <pc:sldMk cId="2752600224" sldId="483"/>
            <ac:graphicFrameMk id="59" creationId="{4BFA2153-E03D-BA06-B51E-B826FF46FA4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25.074" v="34912"/>
          <ac:graphicFrameMkLst>
            <pc:docMk/>
            <pc:sldMk cId="2752600224" sldId="483"/>
            <ac:graphicFrameMk id="60" creationId="{865BABE1-43FF-4CE3-F2F9-48F4C119C8F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43.801" v="34976"/>
          <ac:graphicFrameMkLst>
            <pc:docMk/>
            <pc:sldMk cId="2752600224" sldId="483"/>
            <ac:graphicFrameMk id="61" creationId="{E792F084-39B4-2CB6-5C82-C3ED134E596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45.356" v="35010"/>
          <ac:graphicFrameMkLst>
            <pc:docMk/>
            <pc:sldMk cId="2752600224" sldId="483"/>
            <ac:graphicFrameMk id="62" creationId="{C0B40D2E-9008-6BCE-ED5B-590D60745E6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48.204" v="35096"/>
          <ac:graphicFrameMkLst>
            <pc:docMk/>
            <pc:sldMk cId="2752600224" sldId="483"/>
            <ac:graphicFrameMk id="63" creationId="{7B77690F-236E-12B4-5A5D-B5F609D3269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29:56.898" v="35148"/>
          <ac:graphicFrameMkLst>
            <pc:docMk/>
            <pc:sldMk cId="2752600224" sldId="483"/>
            <ac:graphicFrameMk id="65" creationId="{D39C4739-670B-AD00-121A-FD679701291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00.631" v="35180"/>
          <ac:graphicFrameMkLst>
            <pc:docMk/>
            <pc:sldMk cId="2752600224" sldId="483"/>
            <ac:graphicFrameMk id="67" creationId="{D9E2DF98-FE6F-712F-4E10-2FBD16BC436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07.144" v="35230"/>
          <ac:graphicFrameMkLst>
            <pc:docMk/>
            <pc:sldMk cId="2752600224" sldId="483"/>
            <ac:graphicFrameMk id="70" creationId="{6E8B92D1-76C5-7F53-2B74-8102FD130D2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08.431" v="35282"/>
          <ac:graphicFrameMkLst>
            <pc:docMk/>
            <pc:sldMk cId="2752600224" sldId="483"/>
            <ac:graphicFrameMk id="72" creationId="{F828741E-5981-2C7E-E6C0-F8E7F071940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15.425" v="35391"/>
          <ac:graphicFrameMkLst>
            <pc:docMk/>
            <pc:sldMk cId="2752600224" sldId="483"/>
            <ac:graphicFrameMk id="74" creationId="{FB6894A0-85F4-DC29-4674-9A0B9F6D296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16.729" v="35426"/>
          <ac:graphicFrameMkLst>
            <pc:docMk/>
            <pc:sldMk cId="2752600224" sldId="483"/>
            <ac:graphicFrameMk id="77" creationId="{F707A9D3-B056-D20A-4600-97D6F7C5F47E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22.026" v="35478"/>
          <ac:graphicFrameMkLst>
            <pc:docMk/>
            <pc:sldMk cId="2752600224" sldId="483"/>
            <ac:graphicFrameMk id="78" creationId="{3BA2DAE4-870F-8225-0E30-ECC67DB0257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4:30:30.788" v="35548"/>
          <ac:graphicFrameMkLst>
            <pc:docMk/>
            <pc:sldMk cId="2752600224" sldId="483"/>
            <ac:graphicFrameMk id="80" creationId="{537EF262-337C-3ABB-F1B0-D8844CF9B27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3:34.045" v="39419"/>
          <ac:graphicFrameMkLst>
            <pc:docMk/>
            <pc:sldMk cId="2752600224" sldId="483"/>
            <ac:graphicFrameMk id="81" creationId="{00DD9676-54FD-7E2E-184D-B282AD5A0E46}"/>
          </ac:graphicFrameMkLst>
        </pc:graphicFrameChg>
        <pc:graphicFrameChg chg="del">
          <ac:chgData name="Muchahary, Frankle" userId="0f2bf491-0617-4378-90b8-89af8fa381b9" providerId="ADAL" clId="{8E3D5D9D-CC05-4C7B-9A9C-2FFB7784C389}" dt="2024-02-07T04:20:37.108" v="33097"/>
          <ac:graphicFrameMkLst>
            <pc:docMk/>
            <pc:sldMk cId="2752600224" sldId="483"/>
            <ac:graphicFrameMk id="82" creationId="{7B70E8C2-6602-1B51-B822-389A95C7A909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53:30.033" v="50192"/>
          <ac:graphicFrameMkLst>
            <pc:docMk/>
            <pc:sldMk cId="2752600224" sldId="483"/>
            <ac:graphicFrameMk id="83" creationId="{C921F8C6-0994-3160-2A19-689F1D1F3D5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3:41" v="39527"/>
          <ac:graphicFrameMkLst>
            <pc:docMk/>
            <pc:sldMk cId="2752600224" sldId="483"/>
            <ac:graphicFrameMk id="84" creationId="{6BB35640-ED7D-B3F3-79EE-4E33BBE7993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3:42.312" v="39562"/>
          <ac:graphicFrameMkLst>
            <pc:docMk/>
            <pc:sldMk cId="2752600224" sldId="483"/>
            <ac:graphicFrameMk id="87" creationId="{CB4B13B6-1E72-94FE-0F4B-8191F6DACD98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3:59.441" v="39994"/>
          <ac:graphicFrameMkLst>
            <pc:docMk/>
            <pc:sldMk cId="2752600224" sldId="483"/>
            <ac:graphicFrameMk id="88" creationId="{8990A8AB-167B-8F70-5CDA-62A5E02B4B23}"/>
          </ac:graphicFrameMkLst>
        </pc:graphicFrameChg>
        <pc:graphicFrameChg chg="add mod ord replST delST">
          <ac:chgData name="Muchahary, Frankle" userId="0f2bf491-0617-4378-90b8-89af8fa381b9" providerId="ADAL" clId="{8E3D5D9D-CC05-4C7B-9A9C-2FFB7784C389}" dt="2024-02-07T05:03:54.726" v="39825"/>
          <ac:graphicFrameMkLst>
            <pc:docMk/>
            <pc:sldMk cId="2752600224" sldId="483"/>
            <ac:graphicFrameMk id="92" creationId="{E91389E3-D1BD-93B3-DE7D-4C3A0A10653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4:05.494" v="40056"/>
          <ac:graphicFrameMkLst>
            <pc:docMk/>
            <pc:sldMk cId="2752600224" sldId="483"/>
            <ac:graphicFrameMk id="98" creationId="{4CE435A5-0FC2-44E9-DFBD-0DAFF326683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4:06.611" v="40104"/>
          <ac:graphicFrameMkLst>
            <pc:docMk/>
            <pc:sldMk cId="2752600224" sldId="483"/>
            <ac:graphicFrameMk id="99" creationId="{9D931ACD-4A8F-B8EA-EE0F-002591E3FE8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7T05:04:14.140" v="40165"/>
          <ac:graphicFrameMkLst>
            <pc:docMk/>
            <pc:sldMk cId="2752600224" sldId="483"/>
            <ac:graphicFrameMk id="100" creationId="{3D022E08-45B2-75F6-47E7-BDDF559132C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54:49.837" v="50521"/>
          <ac:graphicFrameMkLst>
            <pc:docMk/>
            <pc:sldMk cId="2752600224" sldId="483"/>
            <ac:graphicFrameMk id="101" creationId="{47062F27-9F44-562F-53D9-5963B667877F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53:33.210" v="50376"/>
          <ac:graphicFrameMkLst>
            <pc:docMk/>
            <pc:sldMk cId="2752600224" sldId="483"/>
            <ac:graphicFrameMk id="107" creationId="{F34B74C1-1789-3EB9-C8DC-221B8524F26A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53:37.516" v="50441"/>
          <ac:graphicFrameMkLst>
            <pc:docMk/>
            <pc:sldMk cId="2752600224" sldId="483"/>
            <ac:graphicFrameMk id="113" creationId="{1198A34B-D482-859D-510C-6E15DC9EF15C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1:54:57.428" v="50589"/>
          <ac:graphicFrameMkLst>
            <pc:docMk/>
            <pc:sldMk cId="2752600224" sldId="483"/>
            <ac:graphicFrameMk id="114" creationId="{B32F0479-6EE3-63B1-1388-B35800FCB98D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2:56:17.093" v="52599"/>
          <ac:graphicFrameMkLst>
            <pc:docMk/>
            <pc:sldMk cId="2752600224" sldId="483"/>
            <ac:graphicFrameMk id="115" creationId="{3BBAA461-9BCC-2B90-DC15-5B5B596D9CCC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2:56:17.099" v="52611"/>
          <ac:graphicFrameMkLst>
            <pc:docMk/>
            <pc:sldMk cId="2752600224" sldId="483"/>
            <ac:graphicFrameMk id="116" creationId="{8094E439-7A0D-54E2-BE5E-07D5D7A6DD1E}"/>
          </ac:graphicFrameMkLst>
        </pc:graphicFrameChg>
        <pc:graphicFrameChg chg="add del mod replST">
          <ac:chgData name="Muchahary, Frankle" userId="0f2bf491-0617-4378-90b8-89af8fa381b9" providerId="ADAL" clId="{8E3D5D9D-CC05-4C7B-9A9C-2FFB7784C389}" dt="2024-02-08T02:52:19.783" v="51997"/>
          <ac:graphicFrameMkLst>
            <pc:docMk/>
            <pc:sldMk cId="2752600224" sldId="483"/>
            <ac:graphicFrameMk id="118" creationId="{B7CBAA8B-B125-FEE6-E911-6EB39D2C9D53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2:55:10.202" v="52170"/>
          <ac:graphicFrameMkLst>
            <pc:docMk/>
            <pc:sldMk cId="2752600224" sldId="483"/>
            <ac:graphicFrameMk id="126" creationId="{893816BA-1A64-2E34-597E-2461F7F5DD94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2:55:17.995" v="52238"/>
          <ac:graphicFrameMkLst>
            <pc:docMk/>
            <pc:sldMk cId="2752600224" sldId="483"/>
            <ac:graphicFrameMk id="130" creationId="{4227357D-C727-C23F-7C6D-C347643DAC35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2:56:09.381" v="52353"/>
          <ac:graphicFrameMkLst>
            <pc:docMk/>
            <pc:sldMk cId="2752600224" sldId="483"/>
            <ac:graphicFrameMk id="131" creationId="{EC2EC0FF-E591-4EC9-B8DE-3957EDAAB41D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2:56:13.199" v="52470"/>
          <ac:graphicFrameMkLst>
            <pc:docMk/>
            <pc:sldMk cId="2752600224" sldId="483"/>
            <ac:graphicFrameMk id="133" creationId="{53E28A2A-7E59-AE86-1AB3-142DC0D69792}"/>
          </ac:graphicFrameMkLst>
        </pc:graphicFrameChg>
        <pc:graphicFrameChg chg="add del mod ord replST">
          <ac:chgData name="Muchahary, Frankle" userId="0f2bf491-0617-4378-90b8-89af8fa381b9" providerId="ADAL" clId="{8E3D5D9D-CC05-4C7B-9A9C-2FFB7784C389}" dt="2024-02-08T02:56:17.061" v="52587"/>
          <ac:graphicFrameMkLst>
            <pc:docMk/>
            <pc:sldMk cId="2752600224" sldId="483"/>
            <ac:graphicFrameMk id="135" creationId="{75398AE9-369B-FB95-3F17-C30B357C300F}"/>
          </ac:graphicFrameMkLst>
        </pc:graphicFrameChg>
        <pc:graphicFrameChg chg="add mod ord replST">
          <ac:chgData name="Muchahary, Frankle" userId="0f2bf491-0617-4378-90b8-89af8fa381b9" providerId="ADAL" clId="{8E3D5D9D-CC05-4C7B-9A9C-2FFB7784C389}" dt="2024-02-08T02:56:17.107" v="52629"/>
          <ac:graphicFrameMkLst>
            <pc:docMk/>
            <pc:sldMk cId="2752600224" sldId="483"/>
            <ac:graphicFrameMk id="137" creationId="{1EA5688A-3116-5A7E-91A4-AEC261E85610}"/>
          </ac:graphicFrameMkLst>
        </pc:graphicFrameChg>
        <pc:cxnChg chg="add mod ord replST delST">
          <ac:chgData name="Muchahary, Frankle" userId="0f2bf491-0617-4378-90b8-89af8fa381b9" providerId="ADAL" clId="{8E3D5D9D-CC05-4C7B-9A9C-2FFB7784C389}" dt="2024-02-07T05:03:54.726" v="39825"/>
          <ac:cxnSpMkLst>
            <pc:docMk/>
            <pc:sldMk cId="2752600224" sldId="483"/>
            <ac:cxnSpMk id="91" creationId="{10AEF078-630D-7592-99C4-F9EEB1E69AB3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094" v="52601"/>
          <ac:cxnSpMkLst>
            <pc:docMk/>
            <pc:sldMk cId="2752600224" sldId="483"/>
            <ac:cxnSpMk id="95" creationId="{CEE02EF8-24D7-1EC9-1710-31527C72EE1A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095" v="52603"/>
          <ac:cxnSpMkLst>
            <pc:docMk/>
            <pc:sldMk cId="2752600224" sldId="483"/>
            <ac:cxnSpMk id="96" creationId="{6CBBD9C9-37A6-E32E-7E6D-3548EFC4B052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096" v="52605"/>
          <ac:cxnSpMkLst>
            <pc:docMk/>
            <pc:sldMk cId="2752600224" sldId="483"/>
            <ac:cxnSpMk id="97" creationId="{51B7151B-D9B7-E50A-9471-54CC2E174A9E}"/>
          </ac:cxnSpMkLst>
        </pc:cxnChg>
        <pc:cxnChg chg="add del mod ord replST">
          <ac:chgData name="Muchahary, Frankle" userId="0f2bf491-0617-4378-90b8-89af8fa381b9" providerId="ADAL" clId="{8E3D5D9D-CC05-4C7B-9A9C-2FFB7784C389}" dt="2024-02-08T01:53:37.506" v="50434"/>
          <ac:cxnSpMkLst>
            <pc:docMk/>
            <pc:sldMk cId="2752600224" sldId="483"/>
            <ac:cxnSpMk id="104" creationId="{7FA6861D-B540-23B8-1E2C-2650AF3D423A}"/>
          </ac:cxnSpMkLst>
        </pc:cxnChg>
        <pc:cxnChg chg="add del mod ord replST">
          <ac:chgData name="Muchahary, Frankle" userId="0f2bf491-0617-4378-90b8-89af8fa381b9" providerId="ADAL" clId="{8E3D5D9D-CC05-4C7B-9A9C-2FFB7784C389}" dt="2024-02-08T01:53:37.505" v="50432"/>
          <ac:cxnSpMkLst>
            <pc:docMk/>
            <pc:sldMk cId="2752600224" sldId="483"/>
            <ac:cxnSpMk id="105" creationId="{7935D99A-46B5-88AB-BBA8-D62FD0B13910}"/>
          </ac:cxnSpMkLst>
        </pc:cxnChg>
        <pc:cxnChg chg="add del mod ord replST">
          <ac:chgData name="Muchahary, Frankle" userId="0f2bf491-0617-4378-90b8-89af8fa381b9" providerId="ADAL" clId="{8E3D5D9D-CC05-4C7B-9A9C-2FFB7784C389}" dt="2024-02-08T01:53:37.503" v="50430"/>
          <ac:cxnSpMkLst>
            <pc:docMk/>
            <pc:sldMk cId="2752600224" sldId="483"/>
            <ac:cxnSpMk id="106" creationId="{F2E50C8A-2DBA-D8FB-FCB4-012AE90690AB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099" v="52613"/>
          <ac:cxnSpMkLst>
            <pc:docMk/>
            <pc:sldMk cId="2752600224" sldId="483"/>
            <ac:cxnSpMk id="110" creationId="{0B29E440-567F-1686-BEA8-249888B26177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101" v="52615"/>
          <ac:cxnSpMkLst>
            <pc:docMk/>
            <pc:sldMk cId="2752600224" sldId="483"/>
            <ac:cxnSpMk id="111" creationId="{47A277DA-238F-8BC5-8B49-ABEE882018AA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101" v="52617"/>
          <ac:cxnSpMkLst>
            <pc:docMk/>
            <pc:sldMk cId="2752600224" sldId="483"/>
            <ac:cxnSpMk id="112" creationId="{57D30142-0276-4EBE-8E54-DCF91CDA2A6C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108" v="52631"/>
          <ac:cxnSpMkLst>
            <pc:docMk/>
            <pc:sldMk cId="2752600224" sldId="483"/>
            <ac:cxnSpMk id="119" creationId="{AE7CCC02-9B87-F71F-2A27-C199C117B355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109" v="52633"/>
          <ac:cxnSpMkLst>
            <pc:docMk/>
            <pc:sldMk cId="2752600224" sldId="483"/>
            <ac:cxnSpMk id="120" creationId="{12BCE66D-2336-4861-643D-59046C3D8AF6}"/>
          </ac:cxnSpMkLst>
        </pc:cxnChg>
        <pc:cxnChg chg="add mod ord replST">
          <ac:chgData name="Muchahary, Frankle" userId="0f2bf491-0617-4378-90b8-89af8fa381b9" providerId="ADAL" clId="{8E3D5D9D-CC05-4C7B-9A9C-2FFB7784C389}" dt="2024-02-08T02:56:17.110" v="52635"/>
          <ac:cxnSpMkLst>
            <pc:docMk/>
            <pc:sldMk cId="2752600224" sldId="483"/>
            <ac:cxnSpMk id="121" creationId="{D1BB89D8-80A4-F595-FE22-A4EA80AB0C36}"/>
          </ac:cxnSpMkLst>
        </pc:cxnChg>
      </pc:sldChg>
      <pc:sldChg chg="delSp modSp add mod">
        <pc:chgData name="Muchahary, Frankle" userId="0f2bf491-0617-4378-90b8-89af8fa381b9" providerId="ADAL" clId="{8E3D5D9D-CC05-4C7B-9A9C-2FFB7784C389}" dt="2024-02-08T04:03:57.693" v="55206" actId="20577"/>
        <pc:sldMkLst>
          <pc:docMk/>
          <pc:sldMk cId="3358799017" sldId="484"/>
        </pc:sldMkLst>
        <pc:spChg chg="mod">
          <ac:chgData name="Muchahary, Frankle" userId="0f2bf491-0617-4378-90b8-89af8fa381b9" providerId="ADAL" clId="{8E3D5D9D-CC05-4C7B-9A9C-2FFB7784C389}" dt="2024-02-08T04:03:57.693" v="55206" actId="20577"/>
          <ac:spMkLst>
            <pc:docMk/>
            <pc:sldMk cId="3358799017" sldId="484"/>
            <ac:spMk id="2" creationId="{57F429D7-919A-7D1D-0C8C-AC885C51E53E}"/>
          </ac:spMkLst>
        </pc:spChg>
        <pc:graphicFrameChg chg="del">
          <ac:chgData name="Muchahary, Frankle" userId="0f2bf491-0617-4378-90b8-89af8fa381b9" providerId="ADAL" clId="{8E3D5D9D-CC05-4C7B-9A9C-2FFB7784C389}" dt="2024-02-07T05:06:48.847" v="40201" actId="478"/>
          <ac:graphicFrameMkLst>
            <pc:docMk/>
            <pc:sldMk cId="3358799017" sldId="484"/>
            <ac:graphicFrameMk id="33" creationId="{4FA0A8F8-924A-E123-B129-96861AC10485}"/>
          </ac:graphicFrameMkLst>
        </pc:graphicFrameChg>
        <pc:graphicFrameChg chg="del">
          <ac:chgData name="Muchahary, Frankle" userId="0f2bf491-0617-4378-90b8-89af8fa381b9" providerId="ADAL" clId="{8E3D5D9D-CC05-4C7B-9A9C-2FFB7784C389}" dt="2024-02-07T05:06:48.847" v="40201" actId="478"/>
          <ac:graphicFrameMkLst>
            <pc:docMk/>
            <pc:sldMk cId="3358799017" sldId="484"/>
            <ac:graphicFrameMk id="36" creationId="{56830745-A67D-635F-47B2-7A3E13BFB03A}"/>
          </ac:graphicFrameMkLst>
        </pc:graphicFrameChg>
        <pc:picChg chg="del">
          <ac:chgData name="Muchahary, Frankle" userId="0f2bf491-0617-4378-90b8-89af8fa381b9" providerId="ADAL" clId="{8E3D5D9D-CC05-4C7B-9A9C-2FFB7784C389}" dt="2024-02-07T05:06:50.663" v="40202" actId="478"/>
          <ac:picMkLst>
            <pc:docMk/>
            <pc:sldMk cId="3358799017" sldId="484"/>
            <ac:picMk id="35" creationId="{6A7FDE35-BC00-353C-EEFA-70CDF877CF96}"/>
          </ac:picMkLst>
        </pc:pic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3565858118" sldId="484"/>
        </pc:sldMkLst>
      </pc:sldChg>
      <pc:sldChg chg="modSp add mod ord">
        <pc:chgData name="Muchahary, Frankle" userId="0f2bf491-0617-4378-90b8-89af8fa381b9" providerId="ADAL" clId="{8E3D5D9D-CC05-4C7B-9A9C-2FFB7784C389}" dt="2024-02-08T04:02:49.096" v="55201" actId="20577"/>
        <pc:sldMkLst>
          <pc:docMk/>
          <pc:sldMk cId="1019381096" sldId="485"/>
        </pc:sldMkLst>
        <pc:spChg chg="mod">
          <ac:chgData name="Muchahary, Frankle" userId="0f2bf491-0617-4378-90b8-89af8fa381b9" providerId="ADAL" clId="{8E3D5D9D-CC05-4C7B-9A9C-2FFB7784C389}" dt="2024-02-08T04:02:49.096" v="55201" actId="20577"/>
          <ac:spMkLst>
            <pc:docMk/>
            <pc:sldMk cId="1019381096" sldId="485"/>
            <ac:spMk id="2" creationId="{8EFC0FC1-7809-5D10-DF35-3FDE6D51DB83}"/>
          </ac:spMkLst>
        </pc:sp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343251724" sldId="485"/>
        </pc:sldMkLst>
      </pc:sldChg>
      <pc:sldChg chg="add del">
        <pc:chgData name="Muchahary, Frankle" userId="0f2bf491-0617-4378-90b8-89af8fa381b9" providerId="ADAL" clId="{8E3D5D9D-CC05-4C7B-9A9C-2FFB7784C389}" dt="2024-02-07T05:08:11.310" v="40208"/>
        <pc:sldMkLst>
          <pc:docMk/>
          <pc:sldMk cId="4154610622" sldId="485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2735697471" sldId="486"/>
        </pc:sldMkLst>
      </pc:sldChg>
      <pc:sldChg chg="addSp delSp modSp add mod">
        <pc:chgData name="Muchahary, Frankle" userId="0f2bf491-0617-4378-90b8-89af8fa381b9" providerId="ADAL" clId="{8E3D5D9D-CC05-4C7B-9A9C-2FFB7784C389}" dt="2024-02-08T01:39:37.092" v="49890"/>
        <pc:sldMkLst>
          <pc:docMk/>
          <pc:sldMk cId="3433030978" sldId="486"/>
        </pc:sldMkLst>
        <pc:spChg chg="mod">
          <ac:chgData name="Muchahary, Frankle" userId="0f2bf491-0617-4378-90b8-89af8fa381b9" providerId="ADAL" clId="{8E3D5D9D-CC05-4C7B-9A9C-2FFB7784C389}" dt="2024-02-08T01:39:37.062" v="49865" actId="948"/>
          <ac:spMkLst>
            <pc:docMk/>
            <pc:sldMk cId="3433030978" sldId="486"/>
            <ac:spMk id="3" creationId="{19A85601-A2FE-0CC6-AB00-9646363A5B75}"/>
          </ac:spMkLst>
        </pc:spChg>
        <pc:spChg chg="add del mod modVis">
          <ac:chgData name="Muchahary, Frankle" userId="0f2bf491-0617-4378-90b8-89af8fa381b9" providerId="ADAL" clId="{8E3D5D9D-CC05-4C7B-9A9C-2FFB7784C389}" dt="2024-02-08T00:49:12.832" v="41890" actId="962"/>
          <ac:spMkLst>
            <pc:docMk/>
            <pc:sldMk cId="3433030978" sldId="486"/>
            <ac:spMk id="7" creationId="{54831840-3250-9668-227F-35D090BBC4D1}"/>
          </ac:spMkLst>
        </pc:spChg>
        <pc:spChg chg="add del mod modVis">
          <ac:chgData name="Muchahary, Frankle" userId="0f2bf491-0617-4378-90b8-89af8fa381b9" providerId="ADAL" clId="{8E3D5D9D-CC05-4C7B-9A9C-2FFB7784C389}" dt="2024-02-08T00:49:19.761" v="41933"/>
          <ac:spMkLst>
            <pc:docMk/>
            <pc:sldMk cId="3433030978" sldId="486"/>
            <ac:spMk id="8" creationId="{C5705498-B99D-0C8B-B144-638D47EFF48E}"/>
          </ac:spMkLst>
        </pc:spChg>
        <pc:spChg chg="add del mod modVis">
          <ac:chgData name="Muchahary, Frankle" userId="0f2bf491-0617-4378-90b8-89af8fa381b9" providerId="ADAL" clId="{8E3D5D9D-CC05-4C7B-9A9C-2FFB7784C389}" dt="2024-02-08T00:49:20.363" v="41960"/>
          <ac:spMkLst>
            <pc:docMk/>
            <pc:sldMk cId="3433030978" sldId="486"/>
            <ac:spMk id="9" creationId="{6E27B5DD-95C6-A8FA-C4C8-7D674B8D32EE}"/>
          </ac:spMkLst>
        </pc:spChg>
        <pc:spChg chg="mod">
          <ac:chgData name="Muchahary, Frankle" userId="0f2bf491-0617-4378-90b8-89af8fa381b9" providerId="ADAL" clId="{8E3D5D9D-CC05-4C7B-9A9C-2FFB7784C389}" dt="2024-02-08T01:05:45.225" v="47957" actId="113"/>
          <ac:spMkLst>
            <pc:docMk/>
            <pc:sldMk cId="3433030978" sldId="486"/>
            <ac:spMk id="10" creationId="{CEF91F9E-763F-0571-05E6-17DE46DFA68A}"/>
          </ac:spMkLst>
        </pc:spChg>
        <pc:spChg chg="add del mod modVis">
          <ac:chgData name="Muchahary, Frankle" userId="0f2bf491-0617-4378-90b8-89af8fa381b9" providerId="ADAL" clId="{8E3D5D9D-CC05-4C7B-9A9C-2FFB7784C389}" dt="2024-02-08T00:49:21.095" v="41987"/>
          <ac:spMkLst>
            <pc:docMk/>
            <pc:sldMk cId="3433030978" sldId="486"/>
            <ac:spMk id="11" creationId="{8FFC01B3-7FF7-08C3-81B8-BF76E808EA95}"/>
          </ac:spMkLst>
        </pc:spChg>
        <pc:spChg chg="mod">
          <ac:chgData name="Muchahary, Frankle" userId="0f2bf491-0617-4378-90b8-89af8fa381b9" providerId="ADAL" clId="{8E3D5D9D-CC05-4C7B-9A9C-2FFB7784C389}" dt="2024-02-08T01:05:47.507" v="47958" actId="113"/>
          <ac:spMkLst>
            <pc:docMk/>
            <pc:sldMk cId="3433030978" sldId="486"/>
            <ac:spMk id="12" creationId="{5D287E9E-CE9F-2CF0-B449-FFB980D5B914}"/>
          </ac:spMkLst>
        </pc:spChg>
        <pc:spChg chg="add del mod modVis">
          <ac:chgData name="Muchahary, Frankle" userId="0f2bf491-0617-4378-90b8-89af8fa381b9" providerId="ADAL" clId="{8E3D5D9D-CC05-4C7B-9A9C-2FFB7784C389}" dt="2024-02-08T00:49:22.468" v="42018"/>
          <ac:spMkLst>
            <pc:docMk/>
            <pc:sldMk cId="3433030978" sldId="486"/>
            <ac:spMk id="20" creationId="{CD8E86B4-13C4-19FC-4355-301B91A5D1B6}"/>
          </ac:spMkLst>
        </pc:spChg>
        <pc:spChg chg="add del mod modVis">
          <ac:chgData name="Muchahary, Frankle" userId="0f2bf491-0617-4378-90b8-89af8fa381b9" providerId="ADAL" clId="{8E3D5D9D-CC05-4C7B-9A9C-2FFB7784C389}" dt="2024-02-08T00:49:25.303" v="42045"/>
          <ac:spMkLst>
            <pc:docMk/>
            <pc:sldMk cId="3433030978" sldId="486"/>
            <ac:spMk id="21" creationId="{480CE156-DEB5-0089-AFD4-E1D133725D21}"/>
          </ac:spMkLst>
        </pc:spChg>
        <pc:spChg chg="add del mod modVis">
          <ac:chgData name="Muchahary, Frankle" userId="0f2bf491-0617-4378-90b8-89af8fa381b9" providerId="ADAL" clId="{8E3D5D9D-CC05-4C7B-9A9C-2FFB7784C389}" dt="2024-02-08T00:49:27.264" v="42074"/>
          <ac:spMkLst>
            <pc:docMk/>
            <pc:sldMk cId="3433030978" sldId="486"/>
            <ac:spMk id="22" creationId="{0AF1A936-4768-6157-293D-2DA636757615}"/>
          </ac:spMkLst>
        </pc:spChg>
        <pc:spChg chg="add del mod modVis">
          <ac:chgData name="Muchahary, Frankle" userId="0f2bf491-0617-4378-90b8-89af8fa381b9" providerId="ADAL" clId="{8E3D5D9D-CC05-4C7B-9A9C-2FFB7784C389}" dt="2024-02-08T00:49:28.914" v="42103"/>
          <ac:spMkLst>
            <pc:docMk/>
            <pc:sldMk cId="3433030978" sldId="486"/>
            <ac:spMk id="23" creationId="{8055AB68-CB83-FDB5-0984-D99EAE4DA07B}"/>
          </ac:spMkLst>
        </pc:spChg>
        <pc:spChg chg="add del mod modVis">
          <ac:chgData name="Muchahary, Frankle" userId="0f2bf491-0617-4378-90b8-89af8fa381b9" providerId="ADAL" clId="{8E3D5D9D-CC05-4C7B-9A9C-2FFB7784C389}" dt="2024-02-08T00:49:30.997" v="42139"/>
          <ac:spMkLst>
            <pc:docMk/>
            <pc:sldMk cId="3433030978" sldId="486"/>
            <ac:spMk id="24" creationId="{EC50AED2-75BE-83C6-7DF9-E4265F10D0A7}"/>
          </ac:spMkLst>
        </pc:spChg>
        <pc:spChg chg="add del mod modVis">
          <ac:chgData name="Muchahary, Frankle" userId="0f2bf491-0617-4378-90b8-89af8fa381b9" providerId="ADAL" clId="{8E3D5D9D-CC05-4C7B-9A9C-2FFB7784C389}" dt="2024-02-08T00:49:34.121" v="42169"/>
          <ac:spMkLst>
            <pc:docMk/>
            <pc:sldMk cId="3433030978" sldId="486"/>
            <ac:spMk id="25" creationId="{C26035F0-2157-32B1-6F4C-9CAEDE2871EC}"/>
          </ac:spMkLst>
        </pc:spChg>
        <pc:spChg chg="add del mod modVis">
          <ac:chgData name="Muchahary, Frankle" userId="0f2bf491-0617-4378-90b8-89af8fa381b9" providerId="ADAL" clId="{8E3D5D9D-CC05-4C7B-9A9C-2FFB7784C389}" dt="2024-02-08T00:49:35.130" v="42199"/>
          <ac:spMkLst>
            <pc:docMk/>
            <pc:sldMk cId="3433030978" sldId="486"/>
            <ac:spMk id="26" creationId="{596478BD-1C5C-716B-9B43-68BECCC5D6E6}"/>
          </ac:spMkLst>
        </pc:spChg>
        <pc:spChg chg="add del mod modVis">
          <ac:chgData name="Muchahary, Frankle" userId="0f2bf491-0617-4378-90b8-89af8fa381b9" providerId="ADAL" clId="{8E3D5D9D-CC05-4C7B-9A9C-2FFB7784C389}" dt="2024-02-08T00:49:36.876" v="42229"/>
          <ac:spMkLst>
            <pc:docMk/>
            <pc:sldMk cId="3433030978" sldId="486"/>
            <ac:spMk id="27" creationId="{8EF261FC-813F-F862-0FCA-A4A5FDC9F66C}"/>
          </ac:spMkLst>
        </pc:spChg>
        <pc:spChg chg="add del mod modVis">
          <ac:chgData name="Muchahary, Frankle" userId="0f2bf491-0617-4378-90b8-89af8fa381b9" providerId="ADAL" clId="{8E3D5D9D-CC05-4C7B-9A9C-2FFB7784C389}" dt="2024-02-08T00:49:40.539" v="42257"/>
          <ac:spMkLst>
            <pc:docMk/>
            <pc:sldMk cId="3433030978" sldId="486"/>
            <ac:spMk id="31" creationId="{92A5A8F5-BB9A-41EC-A525-408F32AA5520}"/>
          </ac:spMkLst>
        </pc:spChg>
        <pc:spChg chg="add del mod modVis">
          <ac:chgData name="Muchahary, Frankle" userId="0f2bf491-0617-4378-90b8-89af8fa381b9" providerId="ADAL" clId="{8E3D5D9D-CC05-4C7B-9A9C-2FFB7784C389}" dt="2024-02-08T00:49:42.290" v="42291"/>
          <ac:spMkLst>
            <pc:docMk/>
            <pc:sldMk cId="3433030978" sldId="486"/>
            <ac:spMk id="32" creationId="{1B501376-DCE0-3746-3CEF-30ED103753D5}"/>
          </ac:spMkLst>
        </pc:spChg>
        <pc:spChg chg="add del mod modVis">
          <ac:chgData name="Muchahary, Frankle" userId="0f2bf491-0617-4378-90b8-89af8fa381b9" providerId="ADAL" clId="{8E3D5D9D-CC05-4C7B-9A9C-2FFB7784C389}" dt="2024-02-08T00:55:18.871" v="42531"/>
          <ac:spMkLst>
            <pc:docMk/>
            <pc:sldMk cId="3433030978" sldId="486"/>
            <ac:spMk id="33" creationId="{F0379A0F-6E1E-E8E4-674A-3FC8C5FBB3D9}"/>
          </ac:spMkLst>
        </pc:spChg>
        <pc:spChg chg="add del mod modVis">
          <ac:chgData name="Muchahary, Frankle" userId="0f2bf491-0617-4378-90b8-89af8fa381b9" providerId="ADAL" clId="{8E3D5D9D-CC05-4C7B-9A9C-2FFB7784C389}" dt="2024-02-08T01:39:16.327" v="49753"/>
          <ac:spMkLst>
            <pc:docMk/>
            <pc:sldMk cId="3433030978" sldId="486"/>
            <ac:spMk id="34" creationId="{7B34FE09-6DF9-448B-BFD4-9828F0ACC6C1}"/>
          </ac:spMkLst>
        </pc:spChg>
        <pc:spChg chg="add del mod modVis">
          <ac:chgData name="Muchahary, Frankle" userId="0f2bf491-0617-4378-90b8-89af8fa381b9" providerId="ADAL" clId="{8E3D5D9D-CC05-4C7B-9A9C-2FFB7784C389}" dt="2024-02-08T01:39:22.970" v="49780"/>
          <ac:spMkLst>
            <pc:docMk/>
            <pc:sldMk cId="3433030978" sldId="486"/>
            <ac:spMk id="35" creationId="{915A3795-0324-C0A9-8BB7-5CFC37313BF1}"/>
          </ac:spMkLst>
        </pc:spChg>
        <pc:spChg chg="add del mod modVis">
          <ac:chgData name="Muchahary, Frankle" userId="0f2bf491-0617-4378-90b8-89af8fa381b9" providerId="ADAL" clId="{8E3D5D9D-CC05-4C7B-9A9C-2FFB7784C389}" dt="2024-02-08T01:39:24.617" v="49807"/>
          <ac:spMkLst>
            <pc:docMk/>
            <pc:sldMk cId="3433030978" sldId="486"/>
            <ac:spMk id="36" creationId="{2E7A8EA4-FC01-E7DC-F378-76EE0F25CDD9}"/>
          </ac:spMkLst>
        </pc:spChg>
        <pc:spChg chg="add del mod modVis">
          <ac:chgData name="Muchahary, Frankle" userId="0f2bf491-0617-4378-90b8-89af8fa381b9" providerId="ADAL" clId="{8E3D5D9D-CC05-4C7B-9A9C-2FFB7784C389}" dt="2024-02-08T01:39:25.875" v="49834"/>
          <ac:spMkLst>
            <pc:docMk/>
            <pc:sldMk cId="3433030978" sldId="486"/>
            <ac:spMk id="37" creationId="{C5F4AC8A-3709-0094-7BC4-AAD3B324DD07}"/>
          </ac:spMkLst>
        </pc:spChg>
        <pc:spChg chg="add del mod modVis">
          <ac:chgData name="Muchahary, Frankle" userId="0f2bf491-0617-4378-90b8-89af8fa381b9" providerId="ADAL" clId="{8E3D5D9D-CC05-4C7B-9A9C-2FFB7784C389}" dt="2024-02-08T01:39:28.859" v="49861"/>
          <ac:spMkLst>
            <pc:docMk/>
            <pc:sldMk cId="3433030978" sldId="486"/>
            <ac:spMk id="38" creationId="{971B7E32-0E66-CC24-9EF5-8E8FFB6D610B}"/>
          </ac:spMkLst>
        </pc:spChg>
        <pc:spChg chg="add del mod modVis">
          <ac:chgData name="Muchahary, Frankle" userId="0f2bf491-0617-4378-90b8-89af8fa381b9" providerId="ADAL" clId="{8E3D5D9D-CC05-4C7B-9A9C-2FFB7784C389}" dt="2024-02-08T01:39:37.089" v="49888"/>
          <ac:spMkLst>
            <pc:docMk/>
            <pc:sldMk cId="3433030978" sldId="486"/>
            <ac:spMk id="39" creationId="{48DFEABB-7755-8F1D-39A9-6F38D07650F1}"/>
          </ac:spMkLst>
        </pc:spChg>
        <pc:grpChg chg="del">
          <ac:chgData name="Muchahary, Frankle" userId="0f2bf491-0617-4378-90b8-89af8fa381b9" providerId="ADAL" clId="{8E3D5D9D-CC05-4C7B-9A9C-2FFB7784C389}" dt="2024-02-08T01:05:40.818" v="47956" actId="478"/>
          <ac:grpSpMkLst>
            <pc:docMk/>
            <pc:sldMk cId="3433030978" sldId="486"/>
            <ac:grpSpMk id="19" creationId="{F3CA3527-FB43-C60D-357A-32E234C54872}"/>
          </ac:grpSpMkLst>
        </pc:grpChg>
        <pc:graphicFrameChg chg="mod">
          <ac:chgData name="Muchahary, Frankle" userId="0f2bf491-0617-4378-90b8-89af8fa381b9" providerId="ADAL" clId="{8E3D5D9D-CC05-4C7B-9A9C-2FFB7784C389}" dt="2024-02-08T01:39:37.092" v="49890"/>
          <ac:graphicFrameMkLst>
            <pc:docMk/>
            <pc:sldMk cId="3433030978" sldId="486"/>
            <ac:graphicFrameMk id="4" creationId="{A58DF76B-BB1C-17D2-C460-A86701018777}"/>
          </ac:graphicFrameMkLst>
        </pc:graphicFrameChg>
        <pc:graphicFrameChg chg="mod modGraphic">
          <ac:chgData name="Muchahary, Frankle" userId="0f2bf491-0617-4378-90b8-89af8fa381b9" providerId="ADAL" clId="{8E3D5D9D-CC05-4C7B-9A9C-2FFB7784C389}" dt="2024-02-08T01:28:53.219" v="49218" actId="113"/>
          <ac:graphicFrameMkLst>
            <pc:docMk/>
            <pc:sldMk cId="3433030978" sldId="486"/>
            <ac:graphicFrameMk id="16" creationId="{58BF5606-59F7-83C1-A8D0-D7A36E7164BD}"/>
          </ac:graphicFrameMkLst>
        </pc:graphicFrameChg>
        <pc:picChg chg="del">
          <ac:chgData name="Muchahary, Frankle" userId="0f2bf491-0617-4378-90b8-89af8fa381b9" providerId="ADAL" clId="{8E3D5D9D-CC05-4C7B-9A9C-2FFB7784C389}" dt="2024-02-08T01:05:16.509" v="47954" actId="478"/>
          <ac:picMkLst>
            <pc:docMk/>
            <pc:sldMk cId="3433030978" sldId="486"/>
            <ac:picMk id="2" creationId="{119D62EB-A75F-961C-66BB-2CA416DB734D}"/>
          </ac:picMkLst>
        </pc:picChg>
        <pc:picChg chg="del">
          <ac:chgData name="Muchahary, Frankle" userId="0f2bf491-0617-4378-90b8-89af8fa381b9" providerId="ADAL" clId="{8E3D5D9D-CC05-4C7B-9A9C-2FFB7784C389}" dt="2024-02-08T01:05:26.224" v="47955" actId="478"/>
          <ac:picMkLst>
            <pc:docMk/>
            <pc:sldMk cId="3433030978" sldId="486"/>
            <ac:picMk id="15" creationId="{95207437-3FB7-4F70-B2ED-22350A95062D}"/>
          </ac:picMkLst>
        </pc:picChg>
        <pc:picChg chg="del">
          <ac:chgData name="Muchahary, Frankle" userId="0f2bf491-0617-4378-90b8-89af8fa381b9" providerId="ADAL" clId="{8E3D5D9D-CC05-4C7B-9A9C-2FFB7784C389}" dt="2024-02-08T01:05:40.818" v="47956" actId="478"/>
          <ac:picMkLst>
            <pc:docMk/>
            <pc:sldMk cId="3433030978" sldId="486"/>
            <ac:picMk id="17" creationId="{FB833D14-71E3-E29F-99B5-BD3ED621C068}"/>
          </ac:picMkLst>
        </pc:picChg>
        <pc:picChg chg="del">
          <ac:chgData name="Muchahary, Frankle" userId="0f2bf491-0617-4378-90b8-89af8fa381b9" providerId="ADAL" clId="{8E3D5D9D-CC05-4C7B-9A9C-2FFB7784C389}" dt="2024-02-08T01:05:05.766" v="47953" actId="478"/>
          <ac:picMkLst>
            <pc:docMk/>
            <pc:sldMk cId="3433030978" sldId="486"/>
            <ac:picMk id="18" creationId="{6AA760B7-4653-E67B-9255-197C9456D6E0}"/>
          </ac:picMkLst>
        </pc:pic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1008347484" sldId="487"/>
        </pc:sldMkLst>
      </pc:sldChg>
      <pc:sldChg chg="addSp delSp modSp add mod">
        <pc:chgData name="Muchahary, Frankle" userId="0f2bf491-0617-4378-90b8-89af8fa381b9" providerId="ADAL" clId="{8E3D5D9D-CC05-4C7B-9A9C-2FFB7784C389}" dt="2024-02-08T04:02:13.956" v="55198" actId="1037"/>
        <pc:sldMkLst>
          <pc:docMk/>
          <pc:sldMk cId="3136799684" sldId="487"/>
        </pc:sldMkLst>
        <pc:spChg chg="mod">
          <ac:chgData name="Muchahary, Frankle" userId="0f2bf491-0617-4378-90b8-89af8fa381b9" providerId="ADAL" clId="{8E3D5D9D-CC05-4C7B-9A9C-2FFB7784C389}" dt="2024-02-08T03:42:40.897" v="55102" actId="20577"/>
          <ac:spMkLst>
            <pc:docMk/>
            <pc:sldMk cId="3136799684" sldId="487"/>
            <ac:spMk id="2" creationId="{5CA0E3FF-A1CA-4794-8C1A-5CA21E8F7CE5}"/>
          </ac:spMkLst>
        </pc:spChg>
        <pc:spChg chg="del">
          <ac:chgData name="Muchahary, Frankle" userId="0f2bf491-0617-4378-90b8-89af8fa381b9" providerId="ADAL" clId="{8E3D5D9D-CC05-4C7B-9A9C-2FFB7784C389}" dt="2024-02-08T03:42:23.878" v="55058" actId="478"/>
          <ac:spMkLst>
            <pc:docMk/>
            <pc:sldMk cId="3136799684" sldId="487"/>
            <ac:spMk id="6" creationId="{2C357465-EC5A-B6C5-50D5-C80DA228403D}"/>
          </ac:spMkLst>
        </pc:spChg>
        <pc:spChg chg="del">
          <ac:chgData name="Muchahary, Frankle" userId="0f2bf491-0617-4378-90b8-89af8fa381b9" providerId="ADAL" clId="{8E3D5D9D-CC05-4C7B-9A9C-2FFB7784C389}" dt="2024-02-08T03:42:24.870" v="55059" actId="478"/>
          <ac:spMkLst>
            <pc:docMk/>
            <pc:sldMk cId="3136799684" sldId="487"/>
            <ac:spMk id="8" creationId="{E99212C7-D2A5-83A5-E418-BBBBD1C6FE13}"/>
          </ac:spMkLst>
        </pc:spChg>
        <pc:spChg chg="del">
          <ac:chgData name="Muchahary, Frankle" userId="0f2bf491-0617-4378-90b8-89af8fa381b9" providerId="ADAL" clId="{8E3D5D9D-CC05-4C7B-9A9C-2FFB7784C389}" dt="2024-02-08T03:42:25.729" v="55060" actId="478"/>
          <ac:spMkLst>
            <pc:docMk/>
            <pc:sldMk cId="3136799684" sldId="487"/>
            <ac:spMk id="11" creationId="{B2047F60-3E20-6A6B-21BE-9A8B790BCF67}"/>
          </ac:spMkLst>
        </pc:spChg>
        <pc:spChg chg="del">
          <ac:chgData name="Muchahary, Frankle" userId="0f2bf491-0617-4378-90b8-89af8fa381b9" providerId="ADAL" clId="{8E3D5D9D-CC05-4C7B-9A9C-2FFB7784C389}" dt="2024-02-08T03:42:26.217" v="55061" actId="478"/>
          <ac:spMkLst>
            <pc:docMk/>
            <pc:sldMk cId="3136799684" sldId="487"/>
            <ac:spMk id="12" creationId="{5F75EFB2-48C5-5F10-5AB2-080FF4790C14}"/>
          </ac:spMkLst>
        </pc:spChg>
        <pc:spChg chg="add mod">
          <ac:chgData name="Muchahary, Frankle" userId="0f2bf491-0617-4378-90b8-89af8fa381b9" providerId="ADAL" clId="{8E3D5D9D-CC05-4C7B-9A9C-2FFB7784C389}" dt="2024-02-08T04:02:13.956" v="55198" actId="1037"/>
          <ac:spMkLst>
            <pc:docMk/>
            <pc:sldMk cId="3136799684" sldId="487"/>
            <ac:spMk id="18" creationId="{BB0BAAB2-85F5-E847-DF4C-282BA7728ACC}"/>
          </ac:spMkLst>
        </pc:spChg>
        <pc:spChg chg="add del mod">
          <ac:chgData name="Muchahary, Frankle" userId="0f2bf491-0617-4378-90b8-89af8fa381b9" providerId="ADAL" clId="{8E3D5D9D-CC05-4C7B-9A9C-2FFB7784C389}" dt="2024-02-08T03:59:50.103" v="55171" actId="478"/>
          <ac:spMkLst>
            <pc:docMk/>
            <pc:sldMk cId="3136799684" sldId="487"/>
            <ac:spMk id="19" creationId="{759D0805-8160-F63C-C0E3-0653743734BB}"/>
          </ac:spMkLst>
        </pc:spChg>
        <pc:spChg chg="add mod">
          <ac:chgData name="Muchahary, Frankle" userId="0f2bf491-0617-4378-90b8-89af8fa381b9" providerId="ADAL" clId="{8E3D5D9D-CC05-4C7B-9A9C-2FFB7784C389}" dt="2024-02-08T03:59:12.944" v="55163"/>
          <ac:spMkLst>
            <pc:docMk/>
            <pc:sldMk cId="3136799684" sldId="487"/>
            <ac:spMk id="21" creationId="{D542FB7D-1CFD-A12B-2FCA-D30AE76468B5}"/>
          </ac:spMkLst>
        </pc:spChg>
        <pc:spChg chg="add del mod">
          <ac:chgData name="Muchahary, Frankle" userId="0f2bf491-0617-4378-90b8-89af8fa381b9" providerId="ADAL" clId="{8E3D5D9D-CC05-4C7B-9A9C-2FFB7784C389}" dt="2024-02-08T03:59:48.392" v="55170" actId="478"/>
          <ac:spMkLst>
            <pc:docMk/>
            <pc:sldMk cId="3136799684" sldId="487"/>
            <ac:spMk id="22" creationId="{07C3C360-DD12-86EC-5C03-83BE3378A4D7}"/>
          </ac:spMkLst>
        </pc:spChg>
        <pc:spChg chg="add mod">
          <ac:chgData name="Muchahary, Frankle" userId="0f2bf491-0617-4378-90b8-89af8fa381b9" providerId="ADAL" clId="{8E3D5D9D-CC05-4C7B-9A9C-2FFB7784C389}" dt="2024-02-08T04:00:05.874" v="55174" actId="1076"/>
          <ac:spMkLst>
            <pc:docMk/>
            <pc:sldMk cId="3136799684" sldId="487"/>
            <ac:spMk id="23" creationId="{E007D920-EB9C-036A-6095-38F8A111A1FA}"/>
          </ac:spMkLst>
        </pc:spChg>
        <pc:spChg chg="add mod">
          <ac:chgData name="Muchahary, Frankle" userId="0f2bf491-0617-4378-90b8-89af8fa381b9" providerId="ADAL" clId="{8E3D5D9D-CC05-4C7B-9A9C-2FFB7784C389}" dt="2024-02-08T04:00:13.354" v="55176" actId="1076"/>
          <ac:spMkLst>
            <pc:docMk/>
            <pc:sldMk cId="3136799684" sldId="487"/>
            <ac:spMk id="24" creationId="{0A862E1E-2B7E-10FF-9C1F-2C1DA64979CD}"/>
          </ac:spMkLst>
        </pc:spChg>
        <pc:grpChg chg="del">
          <ac:chgData name="Muchahary, Frankle" userId="0f2bf491-0617-4378-90b8-89af8fa381b9" providerId="ADAL" clId="{8E3D5D9D-CC05-4C7B-9A9C-2FFB7784C389}" dt="2024-02-08T03:42:27.278" v="55062" actId="478"/>
          <ac:grpSpMkLst>
            <pc:docMk/>
            <pc:sldMk cId="3136799684" sldId="487"/>
            <ac:grpSpMk id="10" creationId="{B1CC971B-597F-2210-F5D5-298D0858034F}"/>
          </ac:grpSpMkLst>
        </pc:grpChg>
        <pc:grpChg chg="del">
          <ac:chgData name="Muchahary, Frankle" userId="0f2bf491-0617-4378-90b8-89af8fa381b9" providerId="ADAL" clId="{8E3D5D9D-CC05-4C7B-9A9C-2FFB7784C389}" dt="2024-02-08T03:42:21.833" v="55057" actId="478"/>
          <ac:grpSpMkLst>
            <pc:docMk/>
            <pc:sldMk cId="3136799684" sldId="487"/>
            <ac:grpSpMk id="51" creationId="{7BBC4E02-2762-D43A-131E-165BAE1819EB}"/>
          </ac:grpSpMkLst>
        </pc:grpChg>
        <pc:graphicFrameChg chg="add mod">
          <ac:chgData name="Muchahary, Frankle" userId="0f2bf491-0617-4378-90b8-89af8fa381b9" providerId="ADAL" clId="{8E3D5D9D-CC05-4C7B-9A9C-2FFB7784C389}" dt="2024-02-08T03:47:04.121" v="55103"/>
          <ac:graphicFrameMkLst>
            <pc:docMk/>
            <pc:sldMk cId="3136799684" sldId="487"/>
            <ac:graphicFrameMk id="13" creationId="{70C73413-BF8C-4C22-BCB2-34625611A90A}"/>
          </ac:graphicFrameMkLst>
        </pc:graphicFrameChg>
        <pc:graphicFrameChg chg="add del mod modGraphic">
          <ac:chgData name="Muchahary, Frankle" userId="0f2bf491-0617-4378-90b8-89af8fa381b9" providerId="ADAL" clId="{8E3D5D9D-CC05-4C7B-9A9C-2FFB7784C389}" dt="2024-02-08T03:51:45.840" v="55108" actId="478"/>
          <ac:graphicFrameMkLst>
            <pc:docMk/>
            <pc:sldMk cId="3136799684" sldId="487"/>
            <ac:graphicFrameMk id="15" creationId="{1667F535-5F92-2485-642E-541D3AF7D16F}"/>
          </ac:graphicFrameMkLst>
        </pc:graphicFrameChg>
        <pc:picChg chg="add del mod">
          <ac:chgData name="Muchahary, Frankle" userId="0f2bf491-0617-4378-90b8-89af8fa381b9" providerId="ADAL" clId="{8E3D5D9D-CC05-4C7B-9A9C-2FFB7784C389}" dt="2024-02-08T03:52:38.130" v="55117" actId="478"/>
          <ac:picMkLst>
            <pc:docMk/>
            <pc:sldMk cId="3136799684" sldId="487"/>
            <ac:picMk id="16" creationId="{DAB4C1BC-FFA2-DEB1-76B7-A0B1ED57DF5D}"/>
          </ac:picMkLst>
        </pc:picChg>
        <pc:picChg chg="add mod">
          <ac:chgData name="Muchahary, Frankle" userId="0f2bf491-0617-4378-90b8-89af8fa381b9" providerId="ADAL" clId="{8E3D5D9D-CC05-4C7B-9A9C-2FFB7784C389}" dt="2024-02-08T03:52:44.877" v="55120" actId="1076"/>
          <ac:picMkLst>
            <pc:docMk/>
            <pc:sldMk cId="3136799684" sldId="487"/>
            <ac:picMk id="17" creationId="{0FEADBF9-E4E6-6CBB-6682-BFBA5DE83803}"/>
          </ac:picMkLst>
        </pc:picChg>
        <pc:picChg chg="add mod">
          <ac:chgData name="Muchahary, Frankle" userId="0f2bf491-0617-4378-90b8-89af8fa381b9" providerId="ADAL" clId="{8E3D5D9D-CC05-4C7B-9A9C-2FFB7784C389}" dt="2024-02-08T03:59:12.944" v="55163"/>
          <ac:picMkLst>
            <pc:docMk/>
            <pc:sldMk cId="3136799684" sldId="487"/>
            <ac:picMk id="20" creationId="{FEAC63F6-426A-7905-F2DD-8B1AD1B2ACBD}"/>
          </ac:picMkLst>
        </pc:picChg>
        <pc:cxnChg chg="add mod">
          <ac:chgData name="Muchahary, Frankle" userId="0f2bf491-0617-4378-90b8-89af8fa381b9" providerId="ADAL" clId="{8E3D5D9D-CC05-4C7B-9A9C-2FFB7784C389}" dt="2024-02-08T04:01:27.077" v="55190" actId="14100"/>
          <ac:cxnSpMkLst>
            <pc:docMk/>
            <pc:sldMk cId="3136799684" sldId="487"/>
            <ac:cxnSpMk id="27" creationId="{DF718F10-F920-B64B-5D6C-3F744CE9CCC7}"/>
          </ac:cxnSpMkLst>
        </pc:cxnChg>
        <pc:cxnChg chg="add mod">
          <ac:chgData name="Muchahary, Frankle" userId="0f2bf491-0617-4378-90b8-89af8fa381b9" providerId="ADAL" clId="{8E3D5D9D-CC05-4C7B-9A9C-2FFB7784C389}" dt="2024-02-08T04:02:13.956" v="55198" actId="1037"/>
          <ac:cxnSpMkLst>
            <pc:docMk/>
            <pc:sldMk cId="3136799684" sldId="487"/>
            <ac:cxnSpMk id="29" creationId="{4144F1AB-8990-820F-E678-205230A2F85C}"/>
          </ac:cxnSpMkLst>
        </pc:cxnChg>
        <pc:cxnChg chg="add mod">
          <ac:chgData name="Muchahary, Frankle" userId="0f2bf491-0617-4378-90b8-89af8fa381b9" providerId="ADAL" clId="{8E3D5D9D-CC05-4C7B-9A9C-2FFB7784C389}" dt="2024-02-08T04:01:39.118" v="55192" actId="14100"/>
          <ac:cxnSpMkLst>
            <pc:docMk/>
            <pc:sldMk cId="3136799684" sldId="487"/>
            <ac:cxnSpMk id="33" creationId="{4FB97731-B8AF-8DE9-D001-0779BBAA0633}"/>
          </ac:cxnSpMkLst>
        </pc:cxn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876163158" sldId="488"/>
        </pc:sldMkLst>
      </pc:sldChg>
      <pc:sldChg chg="addSp delSp modSp add mod">
        <pc:chgData name="Muchahary, Frankle" userId="0f2bf491-0617-4378-90b8-89af8fa381b9" providerId="ADAL" clId="{8E3D5D9D-CC05-4C7B-9A9C-2FFB7784C389}" dt="2024-02-08T03:39:20.901" v="54488"/>
        <pc:sldMkLst>
          <pc:docMk/>
          <pc:sldMk cId="2242640340" sldId="488"/>
        </pc:sldMkLst>
        <pc:spChg chg="add del mod modVis">
          <ac:chgData name="Muchahary, Frankle" userId="0f2bf491-0617-4378-90b8-89af8fa381b9" providerId="ADAL" clId="{8E3D5D9D-CC05-4C7B-9A9C-2FFB7784C389}" dt="2024-02-08T03:39:18.690" v="54425"/>
          <ac:spMkLst>
            <pc:docMk/>
            <pc:sldMk cId="2242640340" sldId="488"/>
            <ac:spMk id="2" creationId="{95A0689F-7CD3-D5BA-B233-F7F7CCCEE953}"/>
          </ac:spMkLst>
        </pc:spChg>
        <pc:spChg chg="mod">
          <ac:chgData name="Muchahary, Frankle" userId="0f2bf491-0617-4378-90b8-89af8fa381b9" providerId="ADAL" clId="{8E3D5D9D-CC05-4C7B-9A9C-2FFB7784C389}" dt="2024-02-08T03:39:20.871" v="54463" actId="948"/>
          <ac:spMkLst>
            <pc:docMk/>
            <pc:sldMk cId="2242640340" sldId="488"/>
            <ac:spMk id="3" creationId="{8884533A-B136-8105-3807-96FC4D524C42}"/>
          </ac:spMkLst>
        </pc:spChg>
        <pc:spChg chg="add del mod modVis">
          <ac:chgData name="Muchahary, Frankle" userId="0f2bf491-0617-4378-90b8-89af8fa381b9" providerId="ADAL" clId="{8E3D5D9D-CC05-4C7B-9A9C-2FFB7784C389}" dt="2024-02-08T03:39:19" v="54452"/>
          <ac:spMkLst>
            <pc:docMk/>
            <pc:sldMk cId="2242640340" sldId="488"/>
            <ac:spMk id="5" creationId="{467E7489-9FA2-3697-6756-B0D4AC20C0F6}"/>
          </ac:spMkLst>
        </pc:spChg>
        <pc:spChg chg="add del mod modVis">
          <ac:chgData name="Muchahary, Frankle" userId="0f2bf491-0617-4378-90b8-89af8fa381b9" providerId="ADAL" clId="{8E3D5D9D-CC05-4C7B-9A9C-2FFB7784C389}" dt="2024-02-08T03:39:20.899" v="54486"/>
          <ac:spMkLst>
            <pc:docMk/>
            <pc:sldMk cId="2242640340" sldId="488"/>
            <ac:spMk id="7" creationId="{E22A1D46-E047-CBD0-0BF5-9D732E33FCF6}"/>
          </ac:spMkLst>
        </pc:spChg>
        <pc:graphicFrameChg chg="mod">
          <ac:chgData name="Muchahary, Frankle" userId="0f2bf491-0617-4378-90b8-89af8fa381b9" providerId="ADAL" clId="{8E3D5D9D-CC05-4C7B-9A9C-2FFB7784C389}" dt="2024-02-08T03:39:20.901" v="54488"/>
          <ac:graphicFrameMkLst>
            <pc:docMk/>
            <pc:sldMk cId="2242640340" sldId="488"/>
            <ac:graphicFrameMk id="4" creationId="{78CDE238-7461-B4FC-06F6-FC46D520B65A}"/>
          </ac:graphicFrameMkLst>
        </pc:graphicFrame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53695002" sldId="489"/>
        </pc:sldMkLst>
      </pc:sldChg>
      <pc:sldChg chg="modSp add mod">
        <pc:chgData name="Muchahary, Frankle" userId="0f2bf491-0617-4378-90b8-89af8fa381b9" providerId="ADAL" clId="{8E3D5D9D-CC05-4C7B-9A9C-2FFB7784C389}" dt="2024-02-08T03:42:10.932" v="55056" actId="20577"/>
        <pc:sldMkLst>
          <pc:docMk/>
          <pc:sldMk cId="2320697523" sldId="489"/>
        </pc:sldMkLst>
        <pc:spChg chg="mod">
          <ac:chgData name="Muchahary, Frankle" userId="0f2bf491-0617-4378-90b8-89af8fa381b9" providerId="ADAL" clId="{8E3D5D9D-CC05-4C7B-9A9C-2FFB7784C389}" dt="2024-02-08T03:39:40.758" v="54561" actId="20577"/>
          <ac:spMkLst>
            <pc:docMk/>
            <pc:sldMk cId="2320697523" sldId="489"/>
            <ac:spMk id="2" creationId="{50104CD8-7945-47DF-A632-64DD0BE4D005}"/>
          </ac:spMkLst>
        </pc:spChg>
        <pc:spChg chg="mod">
          <ac:chgData name="Muchahary, Frankle" userId="0f2bf491-0617-4378-90b8-89af8fa381b9" providerId="ADAL" clId="{8E3D5D9D-CC05-4C7B-9A9C-2FFB7784C389}" dt="2024-02-08T03:39:59.550" v="54594" actId="20577"/>
          <ac:spMkLst>
            <pc:docMk/>
            <pc:sldMk cId="2320697523" sldId="489"/>
            <ac:spMk id="9" creationId="{88A72936-7012-E86B-F8D6-19C70E9CA3CE}"/>
          </ac:spMkLst>
        </pc:spChg>
        <pc:spChg chg="mod">
          <ac:chgData name="Muchahary, Frankle" userId="0f2bf491-0617-4378-90b8-89af8fa381b9" providerId="ADAL" clId="{8E3D5D9D-CC05-4C7B-9A9C-2FFB7784C389}" dt="2024-02-08T03:40:11.662" v="54646" actId="20577"/>
          <ac:spMkLst>
            <pc:docMk/>
            <pc:sldMk cId="2320697523" sldId="489"/>
            <ac:spMk id="10" creationId="{18D3ABEC-9E49-E1B3-BE91-CAA58FB25074}"/>
          </ac:spMkLst>
        </pc:spChg>
        <pc:spChg chg="mod">
          <ac:chgData name="Muchahary, Frankle" userId="0f2bf491-0617-4378-90b8-89af8fa381b9" providerId="ADAL" clId="{8E3D5D9D-CC05-4C7B-9A9C-2FFB7784C389}" dt="2024-02-08T03:40:18.366" v="54658" actId="20577"/>
          <ac:spMkLst>
            <pc:docMk/>
            <pc:sldMk cId="2320697523" sldId="489"/>
            <ac:spMk id="11" creationId="{806FDF07-2174-7628-2EE5-D4F96915F7C0}"/>
          </ac:spMkLst>
        </pc:spChg>
        <pc:spChg chg="mod">
          <ac:chgData name="Muchahary, Frankle" userId="0f2bf491-0617-4378-90b8-89af8fa381b9" providerId="ADAL" clId="{8E3D5D9D-CC05-4C7B-9A9C-2FFB7784C389}" dt="2024-02-08T03:42:10.932" v="55056" actId="20577"/>
          <ac:spMkLst>
            <pc:docMk/>
            <pc:sldMk cId="2320697523" sldId="489"/>
            <ac:spMk id="12" creationId="{3C2437D5-5450-291E-B035-3A2ABB927B00}"/>
          </ac:spMkLst>
        </pc:spChg>
        <pc:spChg chg="mod">
          <ac:chgData name="Muchahary, Frankle" userId="0f2bf491-0617-4378-90b8-89af8fa381b9" providerId="ADAL" clId="{8E3D5D9D-CC05-4C7B-9A9C-2FFB7784C389}" dt="2024-02-08T03:41:04.891" v="54810" actId="20577"/>
          <ac:spMkLst>
            <pc:docMk/>
            <pc:sldMk cId="2320697523" sldId="489"/>
            <ac:spMk id="13" creationId="{0EF88E3F-4417-46B6-3842-EE4BE158FB2F}"/>
          </ac:spMkLst>
        </pc:spChg>
        <pc:spChg chg="mod">
          <ac:chgData name="Muchahary, Frankle" userId="0f2bf491-0617-4378-90b8-89af8fa381b9" providerId="ADAL" clId="{8E3D5D9D-CC05-4C7B-9A9C-2FFB7784C389}" dt="2024-02-08T03:42:06.265" v="55050" actId="20577"/>
          <ac:spMkLst>
            <pc:docMk/>
            <pc:sldMk cId="2320697523" sldId="489"/>
            <ac:spMk id="15" creationId="{F02CBD86-65E7-A525-2D2D-4CF5AAF268F7}"/>
          </ac:spMkLst>
        </pc:spChg>
        <pc:spChg chg="mod">
          <ac:chgData name="Muchahary, Frankle" userId="0f2bf491-0617-4378-90b8-89af8fa381b9" providerId="ADAL" clId="{8E3D5D9D-CC05-4C7B-9A9C-2FFB7784C389}" dt="2024-02-08T03:40:43.895" v="54746" actId="20577"/>
          <ac:spMkLst>
            <pc:docMk/>
            <pc:sldMk cId="2320697523" sldId="489"/>
            <ac:spMk id="18" creationId="{1ABE0BE5-9D92-8102-0483-4DF09BB88A3B}"/>
          </ac:spMkLst>
        </pc:spChg>
        <pc:spChg chg="mod">
          <ac:chgData name="Muchahary, Frankle" userId="0f2bf491-0617-4378-90b8-89af8fa381b9" providerId="ADAL" clId="{8E3D5D9D-CC05-4C7B-9A9C-2FFB7784C389}" dt="2024-02-08T03:41:16.866" v="54837" actId="20577"/>
          <ac:spMkLst>
            <pc:docMk/>
            <pc:sldMk cId="2320697523" sldId="489"/>
            <ac:spMk id="19" creationId="{5BC044EA-6599-FA4D-CA3E-9D422C1287C3}"/>
          </ac:spMkLst>
        </pc:spChg>
        <pc:spChg chg="mod">
          <ac:chgData name="Muchahary, Frankle" userId="0f2bf491-0617-4378-90b8-89af8fa381b9" providerId="ADAL" clId="{8E3D5D9D-CC05-4C7B-9A9C-2FFB7784C389}" dt="2024-02-08T03:41:45.270" v="54980" actId="20577"/>
          <ac:spMkLst>
            <pc:docMk/>
            <pc:sldMk cId="2320697523" sldId="489"/>
            <ac:spMk id="20" creationId="{8E02AAED-9A37-04AC-3C5A-9F1FC2809577}"/>
          </ac:spMkLst>
        </pc:spChg>
        <pc:spChg chg="mod">
          <ac:chgData name="Muchahary, Frankle" userId="0f2bf491-0617-4378-90b8-89af8fa381b9" providerId="ADAL" clId="{8E3D5D9D-CC05-4C7B-9A9C-2FFB7784C389}" dt="2024-02-08T03:40:34.372" v="54722" actId="20577"/>
          <ac:spMkLst>
            <pc:docMk/>
            <pc:sldMk cId="2320697523" sldId="489"/>
            <ac:spMk id="21" creationId="{4A1C5826-6AAD-F53A-6C4C-88410F16997C}"/>
          </ac:spMkLst>
        </pc:spChg>
      </pc:sldChg>
      <pc:sldChg chg="modSp add mod">
        <pc:chgData name="Muchahary, Frankle" userId="0f2bf491-0617-4378-90b8-89af8fa381b9" providerId="ADAL" clId="{8E3D5D9D-CC05-4C7B-9A9C-2FFB7784C389}" dt="2024-02-08T04:21:59.377" v="62440" actId="20577"/>
        <pc:sldMkLst>
          <pc:docMk/>
          <pc:sldMk cId="4078416900" sldId="490"/>
        </pc:sldMkLst>
        <pc:spChg chg="mod">
          <ac:chgData name="Muchahary, Frankle" userId="0f2bf491-0617-4378-90b8-89af8fa381b9" providerId="ADAL" clId="{8E3D5D9D-CC05-4C7B-9A9C-2FFB7784C389}" dt="2024-02-08T04:21:59.377" v="62440" actId="20577"/>
          <ac:spMkLst>
            <pc:docMk/>
            <pc:sldMk cId="4078416900" sldId="490"/>
            <ac:spMk id="2" creationId="{D48318E4-0C62-6D40-A2EB-5B725434D279}"/>
          </ac:spMkLst>
        </pc:spChg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528521342" sldId="491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961198796" sldId="492"/>
        </pc:sldMkLst>
      </pc:sldChg>
      <pc:sldChg chg="del">
        <pc:chgData name="Muchahary, Frankle" userId="0f2bf491-0617-4378-90b8-89af8fa381b9" providerId="ADAL" clId="{8E3D5D9D-CC05-4C7B-9A9C-2FFB7784C389}" dt="2024-02-04T23:29:16.412" v="181" actId="47"/>
        <pc:sldMkLst>
          <pc:docMk/>
          <pc:sldMk cId="4174953564" sldId="493"/>
        </pc:sldMkLst>
      </pc:sldChg>
    </pc:docChg>
  </pc:docChgLst>
  <pc:docChgLst>
    <pc:chgData name="Roy Chowdhury, Ritwik" userId="bfb84a7f-f393-43f0-840f-80c362df9247" providerId="ADAL" clId="{05D9D429-1D37-4E7D-8EE2-727A06E6901C}"/>
    <pc:docChg chg="undo custSel addSld delSld modSld modSection">
      <pc:chgData name="Roy Chowdhury, Ritwik" userId="bfb84a7f-f393-43f0-840f-80c362df9247" providerId="ADAL" clId="{05D9D429-1D37-4E7D-8EE2-727A06E6901C}" dt="2024-01-27T08:19:43.013" v="54" actId="2696"/>
      <pc:docMkLst>
        <pc:docMk/>
      </pc:docMkLst>
      <pc:sldChg chg="modSp mod">
        <pc:chgData name="Roy Chowdhury, Ritwik" userId="bfb84a7f-f393-43f0-840f-80c362df9247" providerId="ADAL" clId="{05D9D429-1D37-4E7D-8EE2-727A06E6901C}" dt="2024-01-27T08:07:26.285" v="52" actId="20577"/>
        <pc:sldMkLst>
          <pc:docMk/>
          <pc:sldMk cId="722401933" sldId="374"/>
        </pc:sldMkLst>
        <pc:spChg chg="mod">
          <ac:chgData name="Roy Chowdhury, Ritwik" userId="bfb84a7f-f393-43f0-840f-80c362df9247" providerId="ADAL" clId="{05D9D429-1D37-4E7D-8EE2-727A06E6901C}" dt="2024-01-27T08:07:24.823" v="50" actId="20577"/>
          <ac:spMkLst>
            <pc:docMk/>
            <pc:sldMk cId="722401933" sldId="374"/>
            <ac:spMk id="26" creationId="{DFEDFFEC-19C7-99E4-ED32-0CC83A36F6A4}"/>
          </ac:spMkLst>
        </pc:spChg>
        <pc:spChg chg="mod">
          <ac:chgData name="Roy Chowdhury, Ritwik" userId="bfb84a7f-f393-43f0-840f-80c362df9247" providerId="ADAL" clId="{05D9D429-1D37-4E7D-8EE2-727A06E6901C}" dt="2024-01-27T08:07:26.285" v="52" actId="20577"/>
          <ac:spMkLst>
            <pc:docMk/>
            <pc:sldMk cId="722401933" sldId="374"/>
            <ac:spMk id="51" creationId="{71A1A608-2C81-4CB7-2AE1-49A426A57F6B}"/>
          </ac:spMkLst>
        </pc:spChg>
      </pc:sldChg>
      <pc:sldChg chg="add del">
        <pc:chgData name="Roy Chowdhury, Ritwik" userId="bfb84a7f-f393-43f0-840f-80c362df9247" providerId="ADAL" clId="{05D9D429-1D37-4E7D-8EE2-727A06E6901C}" dt="2024-01-27T08:19:43.013" v="54" actId="2696"/>
        <pc:sldMkLst>
          <pc:docMk/>
          <pc:sldMk cId="125580691" sldId="494"/>
        </pc:sldMkLst>
      </pc:sldChg>
    </pc:docChg>
  </pc:docChgLst>
  <pc:docChgLst>
    <pc:chgData name="Tan, Roger" userId="f6f33758-bd69-4951-8148-181de3b92474" providerId="ADAL" clId="{A436842E-EA5C-4A6D-B51D-DDAE8BC6E9BD}"/>
    <pc:docChg chg="undo redo custSel addSld delSld modSld sldOrd modMainMaster modSection replTag">
      <pc:chgData name="Tan, Roger" userId="f6f33758-bd69-4951-8148-181de3b92474" providerId="ADAL" clId="{A436842E-EA5C-4A6D-B51D-DDAE8BC6E9BD}" dt="2023-11-09T03:43:57.775" v="85877" actId="14861"/>
      <pc:docMkLst>
        <pc:docMk/>
      </pc:docMkLst>
      <pc:sldChg chg="addSp modSp mod">
        <pc:chgData name="Tan, Roger" userId="f6f33758-bd69-4951-8148-181de3b92474" providerId="ADAL" clId="{A436842E-EA5C-4A6D-B51D-DDAE8BC6E9BD}" dt="2023-11-08T06:36:53.487" v="77277"/>
        <pc:sldMkLst>
          <pc:docMk/>
          <pc:sldMk cId="0" sldId="256"/>
        </pc:sldMkLst>
        <pc:spChg chg="mod">
          <ac:chgData name="Tan, Roger" userId="f6f33758-bd69-4951-8148-181de3b92474" providerId="ADAL" clId="{A436842E-EA5C-4A6D-B51D-DDAE8BC6E9BD}" dt="2023-11-08T01:28:32.525" v="76177" actId="20577"/>
          <ac:spMkLst>
            <pc:docMk/>
            <pc:sldMk cId="0" sldId="256"/>
            <ac:spMk id="396" creationId="{00000000-0000-0000-0000-000000000000}"/>
          </ac:spMkLst>
        </pc:spChg>
        <pc:graphicFrameChg chg="add mod ord modVis replST">
          <ac:chgData name="Tan, Roger" userId="f6f33758-bd69-4951-8148-181de3b92474" providerId="ADAL" clId="{A436842E-EA5C-4A6D-B51D-DDAE8BC6E9BD}" dt="2023-11-08T06:36:53.487" v="77277"/>
          <ac:graphicFrameMkLst>
            <pc:docMk/>
            <pc:sldMk cId="0" sldId="256"/>
            <ac:graphicFrameMk id="2" creationId="{D241C281-927B-033C-6163-7263A8C2B77E}"/>
          </ac:graphicFrameMkLst>
        </pc:graphicFrameChg>
        <pc:picChg chg="add mod">
          <ac:chgData name="Tan, Roger" userId="f6f33758-bd69-4951-8148-181de3b92474" providerId="ADAL" clId="{A436842E-EA5C-4A6D-B51D-DDAE8BC6E9BD}" dt="2023-11-08T06:13:33.739" v="76889" actId="14100"/>
          <ac:picMkLst>
            <pc:docMk/>
            <pc:sldMk cId="0" sldId="256"/>
            <ac:picMk id="7170" creationId="{15DE2139-05DF-873B-F356-7B241597BF3C}"/>
          </ac:picMkLst>
        </pc:picChg>
        <pc:picChg chg="add mod">
          <ac:chgData name="Tan, Roger" userId="f6f33758-bd69-4951-8148-181de3b92474" providerId="ADAL" clId="{A436842E-EA5C-4A6D-B51D-DDAE8BC6E9BD}" dt="2023-11-08T06:14:15.430" v="76897" actId="1076"/>
          <ac:picMkLst>
            <pc:docMk/>
            <pc:sldMk cId="0" sldId="256"/>
            <ac:picMk id="7172" creationId="{83F27859-7B42-DD80-A1C9-3C248999B7A1}"/>
          </ac:picMkLst>
        </pc:picChg>
      </pc:sldChg>
      <pc:sldChg chg="modSp mod">
        <pc:chgData name="Tan, Roger" userId="f6f33758-bd69-4951-8148-181de3b92474" providerId="ADAL" clId="{A436842E-EA5C-4A6D-B51D-DDAE8BC6E9BD}" dt="2023-11-07T10:10:04.208" v="73326" actId="20577"/>
        <pc:sldMkLst>
          <pc:docMk/>
          <pc:sldMk cId="2679979960" sldId="306"/>
        </pc:sldMkLst>
        <pc:spChg chg="mod">
          <ac:chgData name="Tan, Roger" userId="f6f33758-bd69-4951-8148-181de3b92474" providerId="ADAL" clId="{A436842E-EA5C-4A6D-B51D-DDAE8BC6E9BD}" dt="2023-11-07T10:08:57.639" v="73325" actId="20577"/>
          <ac:spMkLst>
            <pc:docMk/>
            <pc:sldMk cId="2679979960" sldId="306"/>
            <ac:spMk id="423" creationId="{149440DB-2FD6-9E9B-226F-91E10854C85D}"/>
          </ac:spMkLst>
        </pc:spChg>
        <pc:spChg chg="mod">
          <ac:chgData name="Tan, Roger" userId="f6f33758-bd69-4951-8148-181de3b92474" providerId="ADAL" clId="{A436842E-EA5C-4A6D-B51D-DDAE8BC6E9BD}" dt="2023-11-07T10:10:04.208" v="73326" actId="20577"/>
          <ac:spMkLst>
            <pc:docMk/>
            <pc:sldMk cId="2679979960" sldId="306"/>
            <ac:spMk id="424" creationId="{960B564F-14D0-D72F-DEF4-0568091A334A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09.935" v="81350"/>
        <pc:sldMkLst>
          <pc:docMk/>
          <pc:sldMk cId="890081163" sldId="317"/>
        </pc:sldMkLst>
        <pc:spChg chg="add del mod">
          <ac:chgData name="Tan, Roger" userId="f6f33758-bd69-4951-8148-181de3b92474" providerId="ADAL" clId="{A436842E-EA5C-4A6D-B51D-DDAE8BC6E9BD}" dt="2023-11-08T21:57:21.761" v="81145" actId="478"/>
          <ac:spMkLst>
            <pc:docMk/>
            <pc:sldMk cId="890081163" sldId="317"/>
            <ac:spMk id="6" creationId="{EA4E2633-33ED-8E82-7C6A-05C22EF04C5F}"/>
          </ac:spMkLst>
        </pc:spChg>
        <pc:spChg chg="add mod">
          <ac:chgData name="Tan, Roger" userId="f6f33758-bd69-4951-8148-181de3b92474" providerId="ADAL" clId="{A436842E-EA5C-4A6D-B51D-DDAE8BC6E9BD}" dt="2023-11-08T22:17:09.935" v="81350"/>
          <ac:spMkLst>
            <pc:docMk/>
            <pc:sldMk cId="890081163" sldId="317"/>
            <ac:spMk id="7" creationId="{7A6D04E4-5975-7C15-43AE-365D9B263929}"/>
          </ac:spMkLst>
        </pc:spChg>
      </pc:sldChg>
      <pc:sldChg chg="modSp mod modTransition modShow">
        <pc:chgData name="Tan, Roger" userId="f6f33758-bd69-4951-8148-181de3b92474" providerId="ADAL" clId="{A436842E-EA5C-4A6D-B51D-DDAE8BC6E9BD}" dt="2023-11-08T03:29:53.983" v="76309"/>
        <pc:sldMkLst>
          <pc:docMk/>
          <pc:sldMk cId="2676058872" sldId="318"/>
        </pc:sldMkLst>
        <pc:graphicFrameChg chg="mod">
          <ac:chgData name="Tan, Roger" userId="f6f33758-bd69-4951-8148-181de3b92474" providerId="ADAL" clId="{A436842E-EA5C-4A6D-B51D-DDAE8BC6E9BD}" dt="2023-11-08T01:28:32.572" v="76182"/>
          <ac:graphicFrameMkLst>
            <pc:docMk/>
            <pc:sldMk cId="2676058872" sldId="318"/>
            <ac:graphicFrameMk id="2" creationId="{AD821E07-0C78-9EAC-03E8-B886F21594F7}"/>
          </ac:graphicFrameMkLst>
        </pc:graphicFrameChg>
      </pc:sldChg>
      <pc:sldChg chg="addSp delSp modSp add del mod modTransition modClrScheme modShow chgLayout">
        <pc:chgData name="Tan, Roger" userId="f6f33758-bd69-4951-8148-181de3b92474" providerId="ADAL" clId="{A436842E-EA5C-4A6D-B51D-DDAE8BC6E9BD}" dt="2023-11-07T19:26:48.221" v="75864" actId="47"/>
        <pc:sldMkLst>
          <pc:docMk/>
          <pc:sldMk cId="911451114" sldId="333"/>
        </pc:sldMkLst>
        <pc:spChg chg="add mod ord">
          <ac:chgData name="Tan, Roger" userId="f6f33758-bd69-4951-8148-181de3b92474" providerId="ADAL" clId="{A436842E-EA5C-4A6D-B51D-DDAE8BC6E9BD}" dt="2023-11-06T20:53:03" v="31576"/>
          <ac:spMkLst>
            <pc:docMk/>
            <pc:sldMk cId="911451114" sldId="333"/>
            <ac:spMk id="2" creationId="{5E3DE094-EAE6-C5A8-BAE0-2029ACB647BC}"/>
          </ac:spMkLst>
        </pc:spChg>
        <pc:spChg chg="add del mod modVis">
          <ac:chgData name="Tan, Roger" userId="f6f33758-bd69-4951-8148-181de3b92474" providerId="ADAL" clId="{A436842E-EA5C-4A6D-B51D-DDAE8BC6E9BD}" dt="2023-11-06T20:53:03.001" v="31580"/>
          <ac:spMkLst>
            <pc:docMk/>
            <pc:sldMk cId="911451114" sldId="333"/>
            <ac:spMk id="3" creationId="{D3265C70-BF6A-9026-D06F-A39C56007F06}"/>
          </ac:spMkLst>
        </pc:spChg>
        <pc:spChg chg="mod">
          <ac:chgData name="Tan, Roger" userId="f6f33758-bd69-4951-8148-181de3b92474" providerId="ADAL" clId="{A436842E-EA5C-4A6D-B51D-DDAE8BC6E9BD}" dt="2023-11-06T20:53:02.990" v="31538"/>
          <ac:spMkLst>
            <pc:docMk/>
            <pc:sldMk cId="911451114" sldId="333"/>
            <ac:spMk id="28" creationId="{60923BF9-51E5-CBB4-DC09-A2285E468C34}"/>
          </ac:spMkLst>
        </pc:spChg>
        <pc:spChg chg="mod">
          <ac:chgData name="Tan, Roger" userId="f6f33758-bd69-4951-8148-181de3b92474" providerId="ADAL" clId="{A436842E-EA5C-4A6D-B51D-DDAE8BC6E9BD}" dt="2023-11-06T20:53:02.990" v="31539"/>
          <ac:spMkLst>
            <pc:docMk/>
            <pc:sldMk cId="911451114" sldId="333"/>
            <ac:spMk id="31" creationId="{92A94E77-7A30-3C04-609D-BDCD0776E05F}"/>
          </ac:spMkLst>
        </pc:spChg>
        <pc:spChg chg="mod">
          <ac:chgData name="Tan, Roger" userId="f6f33758-bd69-4951-8148-181de3b92474" providerId="ADAL" clId="{A436842E-EA5C-4A6D-B51D-DDAE8BC6E9BD}" dt="2023-11-06T20:53:02.991" v="31541"/>
          <ac:spMkLst>
            <pc:docMk/>
            <pc:sldMk cId="911451114" sldId="333"/>
            <ac:spMk id="34" creationId="{26E6F0B1-EAB3-E15E-AC9C-D91DC72764D5}"/>
          </ac:spMkLst>
        </pc:spChg>
        <pc:spChg chg="mod">
          <ac:chgData name="Tan, Roger" userId="f6f33758-bd69-4951-8148-181de3b92474" providerId="ADAL" clId="{A436842E-EA5C-4A6D-B51D-DDAE8BC6E9BD}" dt="2023-11-06T20:53:02.991" v="31542"/>
          <ac:spMkLst>
            <pc:docMk/>
            <pc:sldMk cId="911451114" sldId="333"/>
            <ac:spMk id="37" creationId="{EBAD2C7F-073F-15F2-974B-902606AAC996}"/>
          </ac:spMkLst>
        </pc:spChg>
        <pc:spChg chg="mod">
          <ac:chgData name="Tan, Roger" userId="f6f33758-bd69-4951-8148-181de3b92474" providerId="ADAL" clId="{A436842E-EA5C-4A6D-B51D-DDAE8BC6E9BD}" dt="2023-11-06T20:53:02.992" v="31545"/>
          <ac:spMkLst>
            <pc:docMk/>
            <pc:sldMk cId="911451114" sldId="333"/>
            <ac:spMk id="161" creationId="{0A8FB5D8-6744-FC22-7E68-89398F14D02B}"/>
          </ac:spMkLst>
        </pc:spChg>
        <pc:spChg chg="mod">
          <ac:chgData name="Tan, Roger" userId="f6f33758-bd69-4951-8148-181de3b92474" providerId="ADAL" clId="{A436842E-EA5C-4A6D-B51D-DDAE8BC6E9BD}" dt="2023-11-06T20:53:02.993" v="31546"/>
          <ac:spMkLst>
            <pc:docMk/>
            <pc:sldMk cId="911451114" sldId="333"/>
            <ac:spMk id="162" creationId="{DB073147-8F00-EBEA-F4AA-25312FE302D9}"/>
          </ac:spMkLst>
        </pc:spChg>
        <pc:spChg chg="mod">
          <ac:chgData name="Tan, Roger" userId="f6f33758-bd69-4951-8148-181de3b92474" providerId="ADAL" clId="{A436842E-EA5C-4A6D-B51D-DDAE8BC6E9BD}" dt="2023-11-06T20:53:02.993" v="31548"/>
          <ac:spMkLst>
            <pc:docMk/>
            <pc:sldMk cId="911451114" sldId="333"/>
            <ac:spMk id="163" creationId="{53AB2AA0-33C8-C86C-1C47-0A9D5BCCCA41}"/>
          </ac:spMkLst>
        </pc:spChg>
        <pc:spChg chg="mod">
          <ac:chgData name="Tan, Roger" userId="f6f33758-bd69-4951-8148-181de3b92474" providerId="ADAL" clId="{A436842E-EA5C-4A6D-B51D-DDAE8BC6E9BD}" dt="2023-11-06T20:53:02.994" v="31549"/>
          <ac:spMkLst>
            <pc:docMk/>
            <pc:sldMk cId="911451114" sldId="333"/>
            <ac:spMk id="164" creationId="{B4492960-2F0B-78EE-7AC7-E3C3995B9808}"/>
          </ac:spMkLst>
        </pc:spChg>
        <pc:spChg chg="mod">
          <ac:chgData name="Tan, Roger" userId="f6f33758-bd69-4951-8148-181de3b92474" providerId="ADAL" clId="{A436842E-EA5C-4A6D-B51D-DDAE8BC6E9BD}" dt="2023-11-06T20:53:02.994" v="31550"/>
          <ac:spMkLst>
            <pc:docMk/>
            <pc:sldMk cId="911451114" sldId="333"/>
            <ac:spMk id="166" creationId="{1A1113B8-6752-6674-3C93-9B8AA3A09570}"/>
          </ac:spMkLst>
        </pc:spChg>
        <pc:spChg chg="mod">
          <ac:chgData name="Tan, Roger" userId="f6f33758-bd69-4951-8148-181de3b92474" providerId="ADAL" clId="{A436842E-EA5C-4A6D-B51D-DDAE8BC6E9BD}" dt="2023-11-06T20:53:02.994" v="31551"/>
          <ac:spMkLst>
            <pc:docMk/>
            <pc:sldMk cId="911451114" sldId="333"/>
            <ac:spMk id="167" creationId="{4218EC9E-E37E-DF04-D482-34DC04D22557}"/>
          </ac:spMkLst>
        </pc:spChg>
        <pc:spChg chg="mod">
          <ac:chgData name="Tan, Roger" userId="f6f33758-bd69-4951-8148-181de3b92474" providerId="ADAL" clId="{A436842E-EA5C-4A6D-B51D-DDAE8BC6E9BD}" dt="2023-11-06T20:53:02.995" v="31553"/>
          <ac:spMkLst>
            <pc:docMk/>
            <pc:sldMk cId="911451114" sldId="333"/>
            <ac:spMk id="168" creationId="{BBE5DE74-4E1F-A78E-6630-81B26E253890}"/>
          </ac:spMkLst>
        </pc:spChg>
        <pc:spChg chg="mod">
          <ac:chgData name="Tan, Roger" userId="f6f33758-bd69-4951-8148-181de3b92474" providerId="ADAL" clId="{A436842E-EA5C-4A6D-B51D-DDAE8BC6E9BD}" dt="2023-11-06T20:53:02.996" v="31554"/>
          <ac:spMkLst>
            <pc:docMk/>
            <pc:sldMk cId="911451114" sldId="333"/>
            <ac:spMk id="169" creationId="{493B8A6E-B251-F1FB-7DF8-DB0719247935}"/>
          </ac:spMkLst>
        </pc:spChg>
        <pc:spChg chg="mod">
          <ac:chgData name="Tan, Roger" userId="f6f33758-bd69-4951-8148-181de3b92474" providerId="ADAL" clId="{A436842E-EA5C-4A6D-B51D-DDAE8BC6E9BD}" dt="2023-11-06T20:53:02.991" v="31540"/>
          <ac:spMkLst>
            <pc:docMk/>
            <pc:sldMk cId="911451114" sldId="333"/>
            <ac:spMk id="205" creationId="{E5CEEBDA-EB0A-7B21-7F69-90CC1659879E}"/>
          </ac:spMkLst>
        </pc:spChg>
        <pc:spChg chg="mod">
          <ac:chgData name="Tan, Roger" userId="f6f33758-bd69-4951-8148-181de3b92474" providerId="ADAL" clId="{A436842E-EA5C-4A6D-B51D-DDAE8BC6E9BD}" dt="2023-11-06T20:53:02.993" v="31547"/>
          <ac:spMkLst>
            <pc:docMk/>
            <pc:sldMk cId="911451114" sldId="333"/>
            <ac:spMk id="209" creationId="{B1D486CF-B225-C706-0A74-339291291955}"/>
          </ac:spMkLst>
        </pc:spChg>
        <pc:spChg chg="mod">
          <ac:chgData name="Tan, Roger" userId="f6f33758-bd69-4951-8148-181de3b92474" providerId="ADAL" clId="{A436842E-EA5C-4A6D-B51D-DDAE8BC6E9BD}" dt="2023-11-06T20:53:02.995" v="31552"/>
          <ac:spMkLst>
            <pc:docMk/>
            <pc:sldMk cId="911451114" sldId="333"/>
            <ac:spMk id="210" creationId="{8BE9A6B1-268C-81ED-636F-FED860E11FE5}"/>
          </ac:spMkLst>
        </pc:spChg>
        <pc:spChg chg="mod ord">
          <ac:chgData name="Tan, Roger" userId="f6f33758-bd69-4951-8148-181de3b92474" providerId="ADAL" clId="{A436842E-EA5C-4A6D-B51D-DDAE8BC6E9BD}" dt="2023-11-06T20:53:02.996" v="31556"/>
          <ac:spMkLst>
            <pc:docMk/>
            <pc:sldMk cId="911451114" sldId="333"/>
            <ac:spMk id="228" creationId="{D2D10EBA-82D0-AF9D-12E9-3F8D82B8B2F4}"/>
          </ac:spMkLst>
        </pc:spChg>
        <pc:spChg chg="mod">
          <ac:chgData name="Tan, Roger" userId="f6f33758-bd69-4951-8148-181de3b92474" providerId="ADAL" clId="{A436842E-EA5C-4A6D-B51D-DDAE8BC6E9BD}" dt="2023-11-06T20:53:02.989" v="31537"/>
          <ac:spMkLst>
            <pc:docMk/>
            <pc:sldMk cId="911451114" sldId="333"/>
            <ac:spMk id="326" creationId="{6A98CF09-09E3-75F6-57DC-64E1E1678C47}"/>
          </ac:spMkLst>
        </pc:spChg>
        <pc:spChg chg="del mod">
          <ac:chgData name="Tan, Roger" userId="f6f33758-bd69-4951-8148-181de3b92474" providerId="ADAL" clId="{A436842E-EA5C-4A6D-B51D-DDAE8BC6E9BD}" dt="2023-11-06T20:53:02.967" v="31520"/>
          <ac:spMkLst>
            <pc:docMk/>
            <pc:sldMk cId="911451114" sldId="333"/>
            <ac:spMk id="347" creationId="{D7EE0142-84EA-00B4-12F0-E99955714E39}"/>
          </ac:spMkLst>
        </pc:spChg>
        <pc:spChg chg="del">
          <ac:chgData name="Tan, Roger" userId="f6f33758-bd69-4951-8148-181de3b92474" providerId="ADAL" clId="{A436842E-EA5C-4A6D-B51D-DDAE8BC6E9BD}" dt="2023-11-06T20:53:02.837" v="31401"/>
          <ac:spMkLst>
            <pc:docMk/>
            <pc:sldMk cId="911451114" sldId="333"/>
            <ac:spMk id="349" creationId="{A76A559D-2B97-B8F7-261A-DCBEB02238BE}"/>
          </ac:spMkLst>
        </pc:spChg>
        <pc:spChg chg="del">
          <ac:chgData name="Tan, Roger" userId="f6f33758-bd69-4951-8148-181de3b92474" providerId="ADAL" clId="{A436842E-EA5C-4A6D-B51D-DDAE8BC6E9BD}" dt="2023-11-06T20:53:02.836" v="31400"/>
          <ac:spMkLst>
            <pc:docMk/>
            <pc:sldMk cId="911451114" sldId="333"/>
            <ac:spMk id="351" creationId="{7D939C04-B553-1E0F-DC1A-8CA2E17661D9}"/>
          </ac:spMkLst>
        </pc:spChg>
        <pc:spChg chg="del">
          <ac:chgData name="Tan, Roger" userId="f6f33758-bd69-4951-8148-181de3b92474" providerId="ADAL" clId="{A436842E-EA5C-4A6D-B51D-DDAE8BC6E9BD}" dt="2023-11-06T20:53:02.834" v="31399"/>
          <ac:spMkLst>
            <pc:docMk/>
            <pc:sldMk cId="911451114" sldId="333"/>
            <ac:spMk id="353" creationId="{0481DB49-15F2-10A4-78FC-C690892073C6}"/>
          </ac:spMkLst>
        </pc:spChg>
        <pc:spChg chg="del">
          <ac:chgData name="Tan, Roger" userId="f6f33758-bd69-4951-8148-181de3b92474" providerId="ADAL" clId="{A436842E-EA5C-4A6D-B51D-DDAE8BC6E9BD}" dt="2023-11-06T20:53:02.833" v="31398"/>
          <ac:spMkLst>
            <pc:docMk/>
            <pc:sldMk cId="911451114" sldId="333"/>
            <ac:spMk id="355" creationId="{A325FF59-6EBB-EAE7-D536-FD31EECD17DD}"/>
          </ac:spMkLst>
        </pc:spChg>
        <pc:spChg chg="mod ord">
          <ac:chgData name="Tan, Roger" userId="f6f33758-bd69-4951-8148-181de3b92474" providerId="ADAL" clId="{A436842E-EA5C-4A6D-B51D-DDAE8BC6E9BD}" dt="2023-11-06T20:53:02.998" v="31564"/>
          <ac:spMkLst>
            <pc:docMk/>
            <pc:sldMk cId="911451114" sldId="333"/>
            <ac:spMk id="413" creationId="{B284629E-A277-50AA-F5B6-F339E5B5BAFC}"/>
          </ac:spMkLst>
        </pc:spChg>
        <pc:spChg chg="mod ord">
          <ac:chgData name="Tan, Roger" userId="f6f33758-bd69-4951-8148-181de3b92474" providerId="ADAL" clId="{A436842E-EA5C-4A6D-B51D-DDAE8BC6E9BD}" dt="2023-11-06T20:53:02.998" v="31566"/>
          <ac:spMkLst>
            <pc:docMk/>
            <pc:sldMk cId="911451114" sldId="333"/>
            <ac:spMk id="414" creationId="{18941C1B-4A0F-B3F9-2D57-5E8388C45260}"/>
          </ac:spMkLst>
        </pc:spChg>
        <pc:spChg chg="mod ord">
          <ac:chgData name="Tan, Roger" userId="f6f33758-bd69-4951-8148-181de3b92474" providerId="ADAL" clId="{A436842E-EA5C-4A6D-B51D-DDAE8BC6E9BD}" dt="2023-11-06T20:53:02.998" v="31568"/>
          <ac:spMkLst>
            <pc:docMk/>
            <pc:sldMk cId="911451114" sldId="333"/>
            <ac:spMk id="445" creationId="{8EB04C8D-FDD6-9561-FE68-1FC384A0B609}"/>
          </ac:spMkLst>
        </pc:spChg>
        <pc:spChg chg="mod ord">
          <ac:chgData name="Tan, Roger" userId="f6f33758-bd69-4951-8148-181de3b92474" providerId="ADAL" clId="{A436842E-EA5C-4A6D-B51D-DDAE8BC6E9BD}" dt="2023-11-06T20:53:02.999" v="31572"/>
          <ac:spMkLst>
            <pc:docMk/>
            <pc:sldMk cId="911451114" sldId="333"/>
            <ac:spMk id="451" creationId="{F2E4C5CA-6943-EF81-260A-3B13BF63C055}"/>
          </ac:spMkLst>
        </pc:spChg>
        <pc:spChg chg="del mod">
          <ac:chgData name="Tan, Roger" userId="f6f33758-bd69-4951-8148-181de3b92474" providerId="ADAL" clId="{A436842E-EA5C-4A6D-B51D-DDAE8BC6E9BD}" dt="2023-11-06T05:59:13.822" v="17167" actId="478"/>
          <ac:spMkLst>
            <pc:docMk/>
            <pc:sldMk cId="911451114" sldId="333"/>
            <ac:spMk id="464" creationId="{6AFD32E1-DD96-99CD-E7C7-DEE3A35DA001}"/>
          </ac:spMkLst>
        </pc:spChg>
        <pc:graphicFrameChg chg="add mod ord replST">
          <ac:chgData name="Tan, Roger" userId="f6f33758-bd69-4951-8148-181de3b92474" providerId="ADAL" clId="{A436842E-EA5C-4A6D-B51D-DDAE8BC6E9BD}" dt="2023-11-06T20:53:02.989" v="31536"/>
          <ac:graphicFrameMkLst>
            <pc:docMk/>
            <pc:sldMk cId="911451114" sldId="333"/>
            <ac:graphicFrameMk id="4" creationId="{D3ACFE7E-1277-0C12-297D-96BA58E76A38}"/>
          </ac:graphicFrameMkLst>
        </pc:graphicFrameChg>
        <pc:graphicFrameChg chg="mod">
          <ac:chgData name="Tan, Roger" userId="f6f33758-bd69-4951-8148-181de3b92474" providerId="ADAL" clId="{A436842E-EA5C-4A6D-B51D-DDAE8BC6E9BD}" dt="2023-11-06T20:53:03.012" v="31582"/>
          <ac:graphicFrameMkLst>
            <pc:docMk/>
            <pc:sldMk cId="911451114" sldId="333"/>
            <ac:graphicFrameMk id="16" creationId="{B4FC88EE-B108-1D0C-322C-A0E9684DBFB6}"/>
          </ac:graphicFrameMkLst>
        </pc:graphicFrameChg>
        <pc:graphicFrameChg chg="del">
          <ac:chgData name="Tan, Roger" userId="f6f33758-bd69-4951-8148-181de3b92474" providerId="ADAL" clId="{A436842E-EA5C-4A6D-B51D-DDAE8BC6E9BD}" dt="2023-11-06T20:53:02.970" v="31524"/>
          <ac:graphicFrameMkLst>
            <pc:docMk/>
            <pc:sldMk cId="911451114" sldId="333"/>
            <ac:graphicFrameMk id="458" creationId="{7017666A-9160-DEA3-3470-B7F95AA01552}"/>
          </ac:graphicFrameMkLst>
        </pc:graphicFrameChg>
        <pc:graphicFrameChg chg="mod ord">
          <ac:chgData name="Tan, Roger" userId="f6f33758-bd69-4951-8148-181de3b92474" providerId="ADAL" clId="{A436842E-EA5C-4A6D-B51D-DDAE8BC6E9BD}" dt="2023-11-06T20:53:02.992" v="31544"/>
          <ac:graphicFrameMkLst>
            <pc:docMk/>
            <pc:sldMk cId="911451114" sldId="333"/>
            <ac:graphicFrameMk id="459" creationId="{8393F6AB-FD09-3A6F-88EA-F3B12C24E548}"/>
          </ac:graphicFrameMkLst>
        </pc:graphicFrameChg>
        <pc:cxnChg chg="mod ord">
          <ac:chgData name="Tan, Roger" userId="f6f33758-bd69-4951-8148-181de3b92474" providerId="ADAL" clId="{A436842E-EA5C-4A6D-B51D-DDAE8BC6E9BD}" dt="2023-11-06T20:53:02.996" v="31558"/>
          <ac:cxnSpMkLst>
            <pc:docMk/>
            <pc:sldMk cId="911451114" sldId="333"/>
            <ac:cxnSpMk id="403" creationId="{F25A46CE-B229-E082-11DE-5793C03E25FA}"/>
          </ac:cxnSpMkLst>
        </pc:cxnChg>
        <pc:cxnChg chg="mod ord">
          <ac:chgData name="Tan, Roger" userId="f6f33758-bd69-4951-8148-181de3b92474" providerId="ADAL" clId="{A436842E-EA5C-4A6D-B51D-DDAE8BC6E9BD}" dt="2023-11-06T20:53:02.997" v="31560"/>
          <ac:cxnSpMkLst>
            <pc:docMk/>
            <pc:sldMk cId="911451114" sldId="333"/>
            <ac:cxnSpMk id="404" creationId="{B04AFFF8-849C-4891-97D0-06857B0F5949}"/>
          </ac:cxnSpMkLst>
        </pc:cxnChg>
        <pc:cxnChg chg="mod ord">
          <ac:chgData name="Tan, Roger" userId="f6f33758-bd69-4951-8148-181de3b92474" providerId="ADAL" clId="{A436842E-EA5C-4A6D-B51D-DDAE8BC6E9BD}" dt="2023-11-06T20:53:02.997" v="31562"/>
          <ac:cxnSpMkLst>
            <pc:docMk/>
            <pc:sldMk cId="911451114" sldId="333"/>
            <ac:cxnSpMk id="410" creationId="{9A0686CE-AB5D-DF5C-E5C9-D79264A66C7E}"/>
          </ac:cxnSpMkLst>
        </pc:cxnChg>
        <pc:cxnChg chg="mod ord">
          <ac:chgData name="Tan, Roger" userId="f6f33758-bd69-4951-8148-181de3b92474" providerId="ADAL" clId="{A436842E-EA5C-4A6D-B51D-DDAE8BC6E9BD}" dt="2023-11-06T20:53:02.999" v="31570"/>
          <ac:cxnSpMkLst>
            <pc:docMk/>
            <pc:sldMk cId="911451114" sldId="333"/>
            <ac:cxnSpMk id="448" creationId="{D7DD027F-7C28-E011-D334-954DDA1C5952}"/>
          </ac:cxnSpMkLst>
        </pc:cxnChg>
        <pc:cxnChg chg="mod ord">
          <ac:chgData name="Tan, Roger" userId="f6f33758-bd69-4951-8148-181de3b92474" providerId="ADAL" clId="{A436842E-EA5C-4A6D-B51D-DDAE8BC6E9BD}" dt="2023-11-06T20:53:03" v="31574"/>
          <ac:cxnSpMkLst>
            <pc:docMk/>
            <pc:sldMk cId="911451114" sldId="333"/>
            <ac:cxnSpMk id="452" creationId="{C735BA3D-4D54-6907-6492-677CEA42E86B}"/>
          </ac:cxnSpMkLst>
        </pc:cxnChg>
      </pc:sldChg>
      <pc:sldChg chg="modSp add del mod ord modTransition modClrScheme modAnim modShow chgLayout">
        <pc:chgData name="Tan, Roger" userId="f6f33758-bd69-4951-8148-181de3b92474" providerId="ADAL" clId="{A436842E-EA5C-4A6D-B51D-DDAE8BC6E9BD}" dt="2023-11-07T19:27:21.598" v="75870"/>
        <pc:sldMkLst>
          <pc:docMk/>
          <pc:sldMk cId="2063091316" sldId="334"/>
        </pc:sldMkLst>
        <pc:spChg chg="mod">
          <ac:chgData name="Tan, Roger" userId="f6f33758-bd69-4951-8148-181de3b92474" providerId="ADAL" clId="{A436842E-EA5C-4A6D-B51D-DDAE8BC6E9BD}" dt="2023-11-05T05:58:37.695" v="6348" actId="1076"/>
          <ac:spMkLst>
            <pc:docMk/>
            <pc:sldMk cId="2063091316" sldId="334"/>
            <ac:spMk id="50" creationId="{F743FBFF-5824-FABA-237E-EBA0666B84E5}"/>
          </ac:spMkLst>
        </pc:spChg>
        <pc:spChg chg="mod">
          <ac:chgData name="Tan, Roger" userId="f6f33758-bd69-4951-8148-181de3b92474" providerId="ADAL" clId="{A436842E-EA5C-4A6D-B51D-DDAE8BC6E9BD}" dt="2023-11-05T05:58:12.980" v="6339" actId="1076"/>
          <ac:spMkLst>
            <pc:docMk/>
            <pc:sldMk cId="2063091316" sldId="334"/>
            <ac:spMk id="413" creationId="{B284629E-A277-50AA-F5B6-F339E5B5BAFC}"/>
          </ac:spMkLst>
        </pc:spChg>
        <pc:spChg chg="mod">
          <ac:chgData name="Tan, Roger" userId="f6f33758-bd69-4951-8148-181de3b92474" providerId="ADAL" clId="{A436842E-EA5C-4A6D-B51D-DDAE8BC6E9BD}" dt="2023-11-05T05:58:17.214" v="6340" actId="1076"/>
          <ac:spMkLst>
            <pc:docMk/>
            <pc:sldMk cId="2063091316" sldId="334"/>
            <ac:spMk id="414" creationId="{18941C1B-4A0F-B3F9-2D57-5E8388C45260}"/>
          </ac:spMkLst>
        </pc:spChg>
        <pc:spChg chg="mod">
          <ac:chgData name="Tan, Roger" userId="f6f33758-bd69-4951-8148-181de3b92474" providerId="ADAL" clId="{A436842E-EA5C-4A6D-B51D-DDAE8BC6E9BD}" dt="2023-11-05T06:06:36.705" v="6616" actId="122"/>
          <ac:spMkLst>
            <pc:docMk/>
            <pc:sldMk cId="2063091316" sldId="334"/>
            <ac:spMk id="445" creationId="{8EB04C8D-FDD6-9561-FE68-1FC384A0B609}"/>
          </ac:spMkLst>
        </pc:spChg>
        <pc:spChg chg="mod">
          <ac:chgData name="Tan, Roger" userId="f6f33758-bd69-4951-8148-181de3b92474" providerId="ADAL" clId="{A436842E-EA5C-4A6D-B51D-DDAE8BC6E9BD}" dt="2023-11-05T06:06:37.577" v="6617" actId="122"/>
          <ac:spMkLst>
            <pc:docMk/>
            <pc:sldMk cId="2063091316" sldId="334"/>
            <ac:spMk id="451" creationId="{F2E4C5CA-6943-EF81-260A-3B13BF63C055}"/>
          </ac:spMkLst>
        </pc:spChg>
        <pc:spChg chg="mod">
          <ac:chgData name="Tan, Roger" userId="f6f33758-bd69-4951-8148-181de3b92474" providerId="ADAL" clId="{A436842E-EA5C-4A6D-B51D-DDAE8BC6E9BD}" dt="2023-11-05T22:13:47.413" v="11747" actId="207"/>
          <ac:spMkLst>
            <pc:docMk/>
            <pc:sldMk cId="2063091316" sldId="334"/>
            <ac:spMk id="464" creationId="{6AFD32E1-DD96-99CD-E7C7-DEE3A35DA001}"/>
          </ac:spMkLst>
        </pc:spChg>
        <pc:graphicFrameChg chg="mod">
          <ac:chgData name="Tan, Roger" userId="f6f33758-bd69-4951-8148-181de3b92474" providerId="ADAL" clId="{A436842E-EA5C-4A6D-B51D-DDAE8BC6E9BD}" dt="2023-11-05T05:58:26.379" v="6346"/>
          <ac:graphicFrameMkLst>
            <pc:docMk/>
            <pc:sldMk cId="2063091316" sldId="334"/>
            <ac:graphicFrameMk id="16" creationId="{B4FC88EE-B108-1D0C-322C-A0E9684DBFB6}"/>
          </ac:graphicFrameMkLst>
        </pc:graphicFrameChg>
        <pc:graphicFrameChg chg="mod modGraphic">
          <ac:chgData name="Tan, Roger" userId="f6f33758-bd69-4951-8148-181de3b92474" providerId="ADAL" clId="{A436842E-EA5C-4A6D-B51D-DDAE8BC6E9BD}" dt="2023-11-05T06:31:41.270" v="6991" actId="404"/>
          <ac:graphicFrameMkLst>
            <pc:docMk/>
            <pc:sldMk cId="2063091316" sldId="334"/>
            <ac:graphicFrameMk id="49" creationId="{37837935-877E-E26C-0963-40E160BC48F7}"/>
          </ac:graphicFrameMkLst>
        </pc:graphicFrameChg>
        <pc:cxnChg chg="mod">
          <ac:chgData name="Tan, Roger" userId="f6f33758-bd69-4951-8148-181de3b92474" providerId="ADAL" clId="{A436842E-EA5C-4A6D-B51D-DDAE8BC6E9BD}" dt="2023-11-05T05:58:21.680" v="6341" actId="14100"/>
          <ac:cxnSpMkLst>
            <pc:docMk/>
            <pc:sldMk cId="2063091316" sldId="334"/>
            <ac:cxnSpMk id="403" creationId="{F25A46CE-B229-E082-11DE-5793C03E25FA}"/>
          </ac:cxnSpMkLst>
        </pc:cxnChg>
        <pc:cxnChg chg="mod">
          <ac:chgData name="Tan, Roger" userId="f6f33758-bd69-4951-8148-181de3b92474" providerId="ADAL" clId="{A436842E-EA5C-4A6D-B51D-DDAE8BC6E9BD}" dt="2023-11-05T05:58:25.800" v="6342" actId="14100"/>
          <ac:cxnSpMkLst>
            <pc:docMk/>
            <pc:sldMk cId="2063091316" sldId="334"/>
            <ac:cxnSpMk id="404" creationId="{B04AFFF8-849C-4891-97D0-06857B0F5949}"/>
          </ac:cxnSpMkLst>
        </pc:cxnChg>
        <pc:cxnChg chg="mod">
          <ac:chgData name="Tan, Roger" userId="f6f33758-bd69-4951-8148-181de3b92474" providerId="ADAL" clId="{A436842E-EA5C-4A6D-B51D-DDAE8BC6E9BD}" dt="2023-11-05T05:58:11.327" v="6334" actId="1076"/>
          <ac:cxnSpMkLst>
            <pc:docMk/>
            <pc:sldMk cId="2063091316" sldId="334"/>
            <ac:cxnSpMk id="410" creationId="{9A0686CE-AB5D-DF5C-E5C9-D79264A66C7E}"/>
          </ac:cxnSpMkLst>
        </pc:cxnChg>
      </pc:sldChg>
      <pc:sldChg chg="addSp delSp modSp add del mod ord modTransition modClrScheme modShow chgLayout">
        <pc:chgData name="Tan, Roger" userId="f6f33758-bd69-4951-8148-181de3b92474" providerId="ADAL" clId="{A436842E-EA5C-4A6D-B51D-DDAE8BC6E9BD}" dt="2023-11-08T22:26:17.878" v="83580"/>
        <pc:sldMkLst>
          <pc:docMk/>
          <pc:sldMk cId="1570625822" sldId="335"/>
        </pc:sldMkLst>
        <pc:spChg chg="add 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2" creationId="{8F60EAC7-45EA-0A63-6BC1-79F9215E848F}"/>
          </ac:spMkLst>
        </pc:spChg>
        <pc:spChg chg="add 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" creationId="{9CB6B254-3C20-72F4-7F24-4E4280270E3D}"/>
          </ac:spMkLst>
        </pc:spChg>
        <pc:spChg chg="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4" creationId="{A603619B-7B84-F14C-CF50-78712D557270}"/>
          </ac:spMkLst>
        </pc:spChg>
        <pc:spChg chg="add del mod modVis">
          <ac:chgData name="Tan, Roger" userId="f6f33758-bd69-4951-8148-181de3b92474" providerId="ADAL" clId="{A436842E-EA5C-4A6D-B51D-DDAE8BC6E9BD}" dt="2023-11-08T22:25:32.565" v="81592"/>
          <ac:spMkLst>
            <pc:docMk/>
            <pc:sldMk cId="1570625822" sldId="335"/>
            <ac:spMk id="5" creationId="{26332FD6-65BD-C32A-1F87-24BFDB67B515}"/>
          </ac:spMkLst>
        </pc:spChg>
        <pc:spChg chg="add del mod modVis">
          <ac:chgData name="Tan, Roger" userId="f6f33758-bd69-4951-8148-181de3b92474" providerId="ADAL" clId="{A436842E-EA5C-4A6D-B51D-DDAE8BC6E9BD}" dt="2023-11-06T06:10:45.788" v="17682"/>
          <ac:spMkLst>
            <pc:docMk/>
            <pc:sldMk cId="1570625822" sldId="335"/>
            <ac:spMk id="5" creationId="{D8A11106-8137-CABA-CD86-70543DD57B66}"/>
          </ac:spMkLst>
        </pc:spChg>
        <pc:spChg chg="add mod replST">
          <ac:chgData name="Tan, Roger" userId="f6f33758-bd69-4951-8148-181de3b92474" providerId="ADAL" clId="{A436842E-EA5C-4A6D-B51D-DDAE8BC6E9BD}" dt="2023-11-08T22:26:16.079" v="83477"/>
          <ac:spMkLst>
            <pc:docMk/>
            <pc:sldMk cId="1570625822" sldId="335"/>
            <ac:spMk id="7" creationId="{3FEF8032-641B-6AA4-05BA-1F9A7B7D65AB}"/>
          </ac:spMkLst>
        </pc:spChg>
        <pc:spChg chg="add del mod modVis">
          <ac:chgData name="Tan, Roger" userId="f6f33758-bd69-4951-8148-181de3b92474" providerId="ADAL" clId="{A436842E-EA5C-4A6D-B51D-DDAE8BC6E9BD}" dt="2023-11-06T06:10:55.038" v="17808"/>
          <ac:spMkLst>
            <pc:docMk/>
            <pc:sldMk cId="1570625822" sldId="335"/>
            <ac:spMk id="8" creationId="{F9426AF6-2FEF-BC4B-FD44-9506816A3766}"/>
          </ac:spMkLst>
        </pc:spChg>
        <pc:spChg chg="add del mod modVis">
          <ac:chgData name="Tan, Roger" userId="f6f33758-bd69-4951-8148-181de3b92474" providerId="ADAL" clId="{A436842E-EA5C-4A6D-B51D-DDAE8BC6E9BD}" dt="2023-11-08T22:25:36.312" v="81757"/>
          <ac:spMkLst>
            <pc:docMk/>
            <pc:sldMk cId="1570625822" sldId="335"/>
            <ac:spMk id="9" creationId="{8D6ABF4E-92D1-8EEE-1513-975E26B9270B}"/>
          </ac:spMkLst>
        </pc:spChg>
        <pc:spChg chg="add mod replST">
          <ac:chgData name="Tan, Roger" userId="f6f33758-bd69-4951-8148-181de3b92474" providerId="ADAL" clId="{A436842E-EA5C-4A6D-B51D-DDAE8BC6E9BD}" dt="2023-11-08T22:26:16.079" v="83478"/>
          <ac:spMkLst>
            <pc:docMk/>
            <pc:sldMk cId="1570625822" sldId="335"/>
            <ac:spMk id="10" creationId="{5ADF48B4-7B17-1722-2DBA-014951488CB7}"/>
          </ac:spMkLst>
        </pc:spChg>
        <pc:spChg chg="add mod replST">
          <ac:chgData name="Tan, Roger" userId="f6f33758-bd69-4951-8148-181de3b92474" providerId="ADAL" clId="{A436842E-EA5C-4A6D-B51D-DDAE8BC6E9BD}" dt="2023-11-08T22:26:16.079" v="83479"/>
          <ac:spMkLst>
            <pc:docMk/>
            <pc:sldMk cId="1570625822" sldId="335"/>
            <ac:spMk id="11" creationId="{4DD7CF36-076E-B67F-9FE1-C146FC1F0660}"/>
          </ac:spMkLst>
        </pc:spChg>
        <pc:spChg chg="add mod replST">
          <ac:chgData name="Tan, Roger" userId="f6f33758-bd69-4951-8148-181de3b92474" providerId="ADAL" clId="{A436842E-EA5C-4A6D-B51D-DDAE8BC6E9BD}" dt="2023-11-08T22:26:16.080" v="83480"/>
          <ac:spMkLst>
            <pc:docMk/>
            <pc:sldMk cId="1570625822" sldId="335"/>
            <ac:spMk id="12" creationId="{71582AD2-6806-8505-98DA-3F64480FFBCC}"/>
          </ac:spMkLst>
        </pc:spChg>
        <pc:spChg chg="add mod replST">
          <ac:chgData name="Tan, Roger" userId="f6f33758-bd69-4951-8148-181de3b92474" providerId="ADAL" clId="{A436842E-EA5C-4A6D-B51D-DDAE8BC6E9BD}" dt="2023-11-08T22:26:16.080" v="83481"/>
          <ac:spMkLst>
            <pc:docMk/>
            <pc:sldMk cId="1570625822" sldId="335"/>
            <ac:spMk id="13" creationId="{5707AC4B-2840-9B11-4404-BA2AEEF685F9}"/>
          </ac:spMkLst>
        </pc:spChg>
        <pc:spChg chg="add del mod modVis">
          <ac:chgData name="Tan, Roger" userId="f6f33758-bd69-4951-8148-181de3b92474" providerId="ADAL" clId="{A436842E-EA5C-4A6D-B51D-DDAE8BC6E9BD}" dt="2023-11-06T06:10:58.548" v="18014"/>
          <ac:spMkLst>
            <pc:docMk/>
            <pc:sldMk cId="1570625822" sldId="335"/>
            <ac:spMk id="14" creationId="{DCC46B12-CD88-E3A2-553E-DA81B32581BB}"/>
          </ac:spMkLst>
        </pc:spChg>
        <pc:spChg chg="add del mod modVis">
          <ac:chgData name="Tan, Roger" userId="f6f33758-bd69-4951-8148-181de3b92474" providerId="ADAL" clId="{A436842E-EA5C-4A6D-B51D-DDAE8BC6E9BD}" dt="2023-11-08T22:25:40.411" v="82021"/>
          <ac:spMkLst>
            <pc:docMk/>
            <pc:sldMk cId="1570625822" sldId="335"/>
            <ac:spMk id="15" creationId="{835AAE85-827E-8129-71DA-6F0A88C6BD03}"/>
          </ac:spMkLst>
        </pc:spChg>
        <pc:spChg chg="add del mod replST">
          <ac:chgData name="Tan, Roger" userId="f6f33758-bd69-4951-8148-181de3b92474" providerId="ADAL" clId="{A436842E-EA5C-4A6D-B51D-DDAE8BC6E9BD}" dt="2023-11-08T22:25:42.302" v="82066"/>
          <ac:spMkLst>
            <pc:docMk/>
            <pc:sldMk cId="1570625822" sldId="335"/>
            <ac:spMk id="17" creationId="{4C472497-6361-C889-C30F-064307E41833}"/>
          </ac:spMkLst>
        </pc:spChg>
        <pc:spChg chg="add del mod modVis">
          <ac:chgData name="Tan, Roger" userId="f6f33758-bd69-4951-8148-181de3b92474" providerId="ADAL" clId="{A436842E-EA5C-4A6D-B51D-DDAE8BC6E9BD}" dt="2023-11-06T06:11:05.595" v="18141"/>
          <ac:spMkLst>
            <pc:docMk/>
            <pc:sldMk cId="1570625822" sldId="335"/>
            <ac:spMk id="17" creationId="{A8A10DCB-4553-B6A6-6AFE-AC0EC2BDBE11}"/>
          </ac:spMkLst>
        </pc:spChg>
        <pc:spChg chg="add del mod modVis">
          <ac:chgData name="Tan, Roger" userId="f6f33758-bd69-4951-8148-181de3b92474" providerId="ADAL" clId="{A436842E-EA5C-4A6D-B51D-DDAE8BC6E9BD}" dt="2023-11-06T06:11:08.240" v="18268"/>
          <ac:spMkLst>
            <pc:docMk/>
            <pc:sldMk cId="1570625822" sldId="335"/>
            <ac:spMk id="19" creationId="{297CB3D8-D8A3-E934-03BE-6576CA54B975}"/>
          </ac:spMkLst>
        </pc:spChg>
        <pc:spChg chg="add del mod modVis">
          <ac:chgData name="Tan, Roger" userId="f6f33758-bd69-4951-8148-181de3b92474" providerId="ADAL" clId="{A436842E-EA5C-4A6D-B51D-DDAE8BC6E9BD}" dt="2023-11-08T22:25:42.334" v="82103"/>
          <ac:spMkLst>
            <pc:docMk/>
            <pc:sldMk cId="1570625822" sldId="335"/>
            <ac:spMk id="19" creationId="{8E099B6F-CB10-B593-15D0-FB78D47AF4A1}"/>
          </ac:spMkLst>
        </pc:spChg>
        <pc:spChg chg="add del mod modVis">
          <ac:chgData name="Tan, Roger" userId="f6f33758-bd69-4951-8148-181de3b92474" providerId="ADAL" clId="{A436842E-EA5C-4A6D-B51D-DDAE8BC6E9BD}" dt="2023-11-06T06:11:16.429" v="18395"/>
          <ac:spMkLst>
            <pc:docMk/>
            <pc:sldMk cId="1570625822" sldId="335"/>
            <ac:spMk id="21" creationId="{2ABB292C-3CBB-9C00-3974-F9EA055D5CE5}"/>
          </ac:spMkLst>
        </pc:spChg>
        <pc:spChg chg="add del mod modVis">
          <ac:chgData name="Tan, Roger" userId="f6f33758-bd69-4951-8148-181de3b92474" providerId="ADAL" clId="{A436842E-EA5C-4A6D-B51D-DDAE8BC6E9BD}" dt="2023-11-08T22:25:45.369" v="82185"/>
          <ac:spMkLst>
            <pc:docMk/>
            <pc:sldMk cId="1570625822" sldId="335"/>
            <ac:spMk id="21" creationId="{C8F048AD-50EB-6AF8-DD40-FFAC7A1A9E64}"/>
          </ac:spMkLst>
        </pc:spChg>
        <pc:spChg chg="add del mod modVis">
          <ac:chgData name="Tan, Roger" userId="f6f33758-bd69-4951-8148-181de3b92474" providerId="ADAL" clId="{A436842E-EA5C-4A6D-B51D-DDAE8BC6E9BD}" dt="2023-11-08T22:25:47.309" v="82267"/>
          <ac:spMkLst>
            <pc:docMk/>
            <pc:sldMk cId="1570625822" sldId="335"/>
            <ac:spMk id="23" creationId="{88CE1E7C-309D-ACCB-0D07-B2C5719BFE7B}"/>
          </ac:spMkLst>
        </pc:spChg>
        <pc:spChg chg="add del mod modVis">
          <ac:chgData name="Tan, Roger" userId="f6f33758-bd69-4951-8148-181de3b92474" providerId="ADAL" clId="{A436842E-EA5C-4A6D-B51D-DDAE8BC6E9BD}" dt="2023-11-06T06:11:27.478" v="18524"/>
          <ac:spMkLst>
            <pc:docMk/>
            <pc:sldMk cId="1570625822" sldId="335"/>
            <ac:spMk id="23" creationId="{F2319265-F9FE-35E9-8FAB-FE9351DA5728}"/>
          </ac:spMkLst>
        </pc:spChg>
        <pc:spChg chg="add del mod modVis">
          <ac:chgData name="Tan, Roger" userId="f6f33758-bd69-4951-8148-181de3b92474" providerId="ADAL" clId="{A436842E-EA5C-4A6D-B51D-DDAE8BC6E9BD}" dt="2023-11-08T22:25:51.542" v="82421"/>
          <ac:spMkLst>
            <pc:docMk/>
            <pc:sldMk cId="1570625822" sldId="335"/>
            <ac:spMk id="25" creationId="{23421270-5843-96F1-D640-874639DAA54F}"/>
          </ac:spMkLst>
        </pc:spChg>
        <pc:spChg chg="add del mod modVis">
          <ac:chgData name="Tan, Roger" userId="f6f33758-bd69-4951-8148-181de3b92474" providerId="ADAL" clId="{A436842E-EA5C-4A6D-B51D-DDAE8BC6E9BD}" dt="2023-11-06T06:11:31.597" v="18628"/>
          <ac:spMkLst>
            <pc:docMk/>
            <pc:sldMk cId="1570625822" sldId="335"/>
            <ac:spMk id="25" creationId="{E8C7A46F-3A51-AC15-B8A7-1A8F83223F55}"/>
          </ac:spMkLst>
        </pc:spChg>
        <pc:spChg chg="mod">
          <ac:chgData name="Tan, Roger" userId="f6f33758-bd69-4951-8148-181de3b92474" providerId="ADAL" clId="{A436842E-EA5C-4A6D-B51D-DDAE8BC6E9BD}" dt="2023-11-06T06:14:40.908" v="19099"/>
          <ac:spMkLst>
            <pc:docMk/>
            <pc:sldMk cId="1570625822" sldId="335"/>
            <ac:spMk id="26" creationId="{487B98A3-7C86-33AA-B73C-A54358BD00B9}"/>
          </ac:spMkLst>
        </pc:spChg>
        <pc:spChg chg="add del mod replST">
          <ac:chgData name="Tan, Roger" userId="f6f33758-bd69-4951-8148-181de3b92474" providerId="ADAL" clId="{A436842E-EA5C-4A6D-B51D-DDAE8BC6E9BD}" dt="2023-11-08T22:25:52.306" v="82466"/>
          <ac:spMkLst>
            <pc:docMk/>
            <pc:sldMk cId="1570625822" sldId="335"/>
            <ac:spMk id="26" creationId="{B93784BF-FB73-14FF-7D68-C7CB4A48336D}"/>
          </ac:spMkLst>
        </pc:spChg>
        <pc:spChg chg="add del mod modVis">
          <ac:chgData name="Tan, Roger" userId="f6f33758-bd69-4951-8148-181de3b92474" providerId="ADAL" clId="{A436842E-EA5C-4A6D-B51D-DDAE8BC6E9BD}" dt="2023-11-08T22:25:52.339" v="82503"/>
          <ac:spMkLst>
            <pc:docMk/>
            <pc:sldMk cId="1570625822" sldId="335"/>
            <ac:spMk id="28" creationId="{FF5CF70D-85D7-54CC-A2CC-B882D37A72AF}"/>
          </ac:spMkLst>
        </pc:spChg>
        <pc:spChg chg="add del mod modVis">
          <ac:chgData name="Tan, Roger" userId="f6f33758-bd69-4951-8148-181de3b92474" providerId="ADAL" clId="{A436842E-EA5C-4A6D-B51D-DDAE8BC6E9BD}" dt="2023-11-06T06:11:36.154" v="18732"/>
          <ac:spMkLst>
            <pc:docMk/>
            <pc:sldMk cId="1570625822" sldId="335"/>
            <ac:spMk id="29" creationId="{246893CD-FA18-467F-C90C-1BCDEDF56B9D}"/>
          </ac:spMkLst>
        </pc:spChg>
        <pc:spChg chg="add del mod modVis">
          <ac:chgData name="Tan, Roger" userId="f6f33758-bd69-4951-8148-181de3b92474" providerId="ADAL" clId="{A436842E-EA5C-4A6D-B51D-DDAE8BC6E9BD}" dt="2023-11-08T22:25:58.205" v="82973"/>
          <ac:spMkLst>
            <pc:docMk/>
            <pc:sldMk cId="1570625822" sldId="335"/>
            <ac:spMk id="30" creationId="{5C8780F6-1050-8D2E-CFC1-7E7BCCB50275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1" creationId="{ABE72849-73B7-3471-6D0B-B1163D95803B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2" creationId="{E23D2457-5CEE-CD58-A6FC-A1224EED1C32}"/>
          </ac:spMkLst>
        </pc:spChg>
        <pc:spChg chg="add del mod modVis">
          <ac:chgData name="Tan, Roger" userId="f6f33758-bd69-4951-8148-181de3b92474" providerId="ADAL" clId="{A436842E-EA5C-4A6D-B51D-DDAE8BC6E9BD}" dt="2023-11-06T06:11:50.005" v="18846"/>
          <ac:spMkLst>
            <pc:docMk/>
            <pc:sldMk cId="1570625822" sldId="335"/>
            <ac:spMk id="33" creationId="{28561A4C-4E97-475C-D7C9-CE69DAE5EF63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3" creationId="{79B79F90-46EC-FA57-6850-8A6D27AA99BA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4" creationId="{FA5BFD5D-88A3-77A0-571D-0813F56CF494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5" creationId="{E40CD34C-2F3E-FB75-9409-7B89556C324D}"/>
          </ac:spMkLst>
        </pc:spChg>
        <pc:spChg chg="add del mod ord">
          <ac:chgData name="Tan, Roger" userId="f6f33758-bd69-4951-8148-181de3b92474" providerId="ADAL" clId="{A436842E-EA5C-4A6D-B51D-DDAE8BC6E9BD}" dt="2023-11-07T08:06:57.800" v="62291" actId="478"/>
          <ac:spMkLst>
            <pc:docMk/>
            <pc:sldMk cId="1570625822" sldId="335"/>
            <ac:spMk id="36" creationId="{34537601-33BE-98FF-D84C-C20FCF62B280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6" creationId="{58E832C4-C90B-6F3A-CC60-1EA4D338870C}"/>
          </ac:spMkLst>
        </pc:spChg>
        <pc:spChg chg="add del mod modVis">
          <ac:chgData name="Tan, Roger" userId="f6f33758-bd69-4951-8148-181de3b92474" providerId="ADAL" clId="{A436842E-EA5C-4A6D-B51D-DDAE8BC6E9BD}" dt="2023-11-06T06:14:40.913" v="19118"/>
          <ac:spMkLst>
            <pc:docMk/>
            <pc:sldMk cId="1570625822" sldId="335"/>
            <ac:spMk id="38" creationId="{7B2E18F3-1AF4-B3EF-C7B7-DDA4AB6C1EEF}"/>
          </ac:spMkLst>
        </pc:spChg>
        <pc:spChg chg="add del mod modVis">
          <ac:chgData name="Tan, Roger" userId="f6f33758-bd69-4951-8148-181de3b92474" providerId="ADAL" clId="{A436842E-EA5C-4A6D-B51D-DDAE8BC6E9BD}" dt="2023-11-08T22:26:01.494" v="83139"/>
          <ac:spMkLst>
            <pc:docMk/>
            <pc:sldMk cId="1570625822" sldId="335"/>
            <ac:spMk id="38" creationId="{E60BCEAA-24C0-ED29-5D1F-2E87E6B590B2}"/>
          </ac:spMkLst>
        </pc:spChg>
        <pc:spChg chg="add mod replST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39" creationId="{8379E511-AF3E-CCB4-1E4C-26DAAFBDB592}"/>
          </ac:spMkLst>
        </pc:spChg>
        <pc:spChg chg="add del mod modVis">
          <ac:chgData name="Tan, Roger" userId="f6f33758-bd69-4951-8148-181de3b92474" providerId="ADAL" clId="{A436842E-EA5C-4A6D-B51D-DDAE8BC6E9BD}" dt="2023-11-08T22:26:04.731" v="83265"/>
          <ac:spMkLst>
            <pc:docMk/>
            <pc:sldMk cId="1570625822" sldId="335"/>
            <ac:spMk id="41" creationId="{F289E83B-76FB-FC39-EF70-4A85CEE8AB5A}"/>
          </ac:spMkLst>
        </pc:spChg>
        <pc:spChg chg="add del mod modVis">
          <ac:chgData name="Tan, Roger" userId="f6f33758-bd69-4951-8148-181de3b92474" providerId="ADAL" clId="{A436842E-EA5C-4A6D-B51D-DDAE8BC6E9BD}" dt="2023-11-08T22:26:11.100" v="83375"/>
          <ac:spMkLst>
            <pc:docMk/>
            <pc:sldMk cId="1570625822" sldId="335"/>
            <ac:spMk id="43" creationId="{E05CB561-5D15-DC41-03A0-F7B4D97AC6CE}"/>
          </ac:spMkLst>
        </pc:spChg>
        <pc:spChg chg="add del mod modVis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45" creationId="{BD869DA3-81CB-EBDE-C206-F99870067417}"/>
          </ac:spMkLst>
        </pc:spChg>
        <pc:spChg chg="del mod ord">
          <ac:chgData name="Tan, Roger" userId="f6f33758-bd69-4951-8148-181de3b92474" providerId="ADAL" clId="{A436842E-EA5C-4A6D-B51D-DDAE8BC6E9BD}" dt="2023-11-07T19:22:56.138" v="75706" actId="478"/>
          <ac:spMkLst>
            <pc:docMk/>
            <pc:sldMk cId="1570625822" sldId="335"/>
            <ac:spMk id="228" creationId="{D2D10EBA-82D0-AF9D-12E9-3F8D82B8B2F4}"/>
          </ac:spMkLst>
        </pc:spChg>
        <pc:spChg chg="del mod">
          <ac:chgData name="Tan, Roger" userId="f6f33758-bd69-4951-8148-181de3b92474" providerId="ADAL" clId="{A436842E-EA5C-4A6D-B51D-DDAE8BC6E9BD}" dt="2023-11-06T06:14:40.872" v="19060"/>
          <ac:spMkLst>
            <pc:docMk/>
            <pc:sldMk cId="1570625822" sldId="335"/>
            <ac:spMk id="427" creationId="{7BFDEE32-8C52-0289-9CC7-FB926ECCEF82}"/>
          </ac:spMkLst>
        </pc:spChg>
        <pc:spChg chg="del mod">
          <ac:chgData name="Tan, Roger" userId="f6f33758-bd69-4951-8148-181de3b92474" providerId="ADAL" clId="{A436842E-EA5C-4A6D-B51D-DDAE8BC6E9BD}" dt="2023-11-06T06:14:40.774" v="18975"/>
          <ac:spMkLst>
            <pc:docMk/>
            <pc:sldMk cId="1570625822" sldId="335"/>
            <ac:spMk id="429" creationId="{22F28D1B-4819-B653-92DE-3EAABAF307A5}"/>
          </ac:spMkLst>
        </pc:spChg>
        <pc:spChg chg="del mod">
          <ac:chgData name="Tan, Roger" userId="f6f33758-bd69-4951-8148-181de3b92474" providerId="ADAL" clId="{A436842E-EA5C-4A6D-B51D-DDAE8BC6E9BD}" dt="2023-11-06T06:14:40.773" v="18974"/>
          <ac:spMkLst>
            <pc:docMk/>
            <pc:sldMk cId="1570625822" sldId="335"/>
            <ac:spMk id="431" creationId="{CFA55E5F-AE5F-9101-1547-6D1241DF4CFD}"/>
          </ac:spMkLst>
        </pc:spChg>
        <pc:spChg chg="del mod">
          <ac:chgData name="Tan, Roger" userId="f6f33758-bd69-4951-8148-181de3b92474" providerId="ADAL" clId="{A436842E-EA5C-4A6D-B51D-DDAE8BC6E9BD}" dt="2023-11-06T06:14:40.773" v="18973"/>
          <ac:spMkLst>
            <pc:docMk/>
            <pc:sldMk cId="1570625822" sldId="335"/>
            <ac:spMk id="433" creationId="{74701A53-0B30-D1DE-9DF0-F01E89C32EC6}"/>
          </ac:spMkLst>
        </pc:spChg>
        <pc:spChg chg="del mod">
          <ac:chgData name="Tan, Roger" userId="f6f33758-bd69-4951-8148-181de3b92474" providerId="ADAL" clId="{A436842E-EA5C-4A6D-B51D-DDAE8BC6E9BD}" dt="2023-11-06T06:14:40.772" v="18972"/>
          <ac:spMkLst>
            <pc:docMk/>
            <pc:sldMk cId="1570625822" sldId="335"/>
            <ac:spMk id="435" creationId="{00F403F1-025F-381B-1E07-60E992B3AE7A}"/>
          </ac:spMkLst>
        </pc:spChg>
        <pc:spChg chg="del mod">
          <ac:chgData name="Tan, Roger" userId="f6f33758-bd69-4951-8148-181de3b92474" providerId="ADAL" clId="{A436842E-EA5C-4A6D-B51D-DDAE8BC6E9BD}" dt="2023-11-06T06:14:40.768" v="18971"/>
          <ac:spMkLst>
            <pc:docMk/>
            <pc:sldMk cId="1570625822" sldId="335"/>
            <ac:spMk id="437" creationId="{42ECBA36-EA98-AC48-1A9B-3B643C6FA772}"/>
          </ac:spMkLst>
        </pc:spChg>
        <pc:spChg chg="del mod">
          <ac:chgData name="Tan, Roger" userId="f6f33758-bd69-4951-8148-181de3b92474" providerId="ADAL" clId="{A436842E-EA5C-4A6D-B51D-DDAE8BC6E9BD}" dt="2023-11-06T06:14:40.768" v="18970"/>
          <ac:spMkLst>
            <pc:docMk/>
            <pc:sldMk cId="1570625822" sldId="335"/>
            <ac:spMk id="439" creationId="{BE0385EB-9429-07F5-253E-75BDA49B71D8}"/>
          </ac:spMkLst>
        </pc:spChg>
        <pc:spChg chg="del mod">
          <ac:chgData name="Tan, Roger" userId="f6f33758-bd69-4951-8148-181de3b92474" providerId="ADAL" clId="{A436842E-EA5C-4A6D-B51D-DDAE8BC6E9BD}" dt="2023-11-06T06:14:40.767" v="18969"/>
          <ac:spMkLst>
            <pc:docMk/>
            <pc:sldMk cId="1570625822" sldId="335"/>
            <ac:spMk id="441" creationId="{5CD92C54-AAC9-2D02-C186-B8F240359257}"/>
          </ac:spMkLst>
        </pc:spChg>
        <pc:spChg chg="del mod">
          <ac:chgData name="Tan, Roger" userId="f6f33758-bd69-4951-8148-181de3b92474" providerId="ADAL" clId="{A436842E-EA5C-4A6D-B51D-DDAE8BC6E9BD}" dt="2023-11-06T06:14:40.766" v="18968"/>
          <ac:spMkLst>
            <pc:docMk/>
            <pc:sldMk cId="1570625822" sldId="335"/>
            <ac:spMk id="443" creationId="{C2F61A08-A967-23D4-A372-5179C9C0CE30}"/>
          </ac:spMkLst>
        </pc:spChg>
        <pc:spChg chg="mod">
          <ac:chgData name="Tan, Roger" userId="f6f33758-bd69-4951-8148-181de3b92474" providerId="ADAL" clId="{A436842E-EA5C-4A6D-B51D-DDAE8BC6E9BD}" dt="2023-11-08T22:26:16.078" v="83476"/>
          <ac:spMkLst>
            <pc:docMk/>
            <pc:sldMk cId="1570625822" sldId="335"/>
            <ac:spMk id="458" creationId="{FD676020-CB63-9CC9-DDB8-66636BB0F354}"/>
          </ac:spMkLst>
        </pc:spChg>
        <pc:spChg chg="del mod">
          <ac:chgData name="Tan, Roger" userId="f6f33758-bd69-4951-8148-181de3b92474" providerId="ADAL" clId="{A436842E-EA5C-4A6D-B51D-DDAE8BC6E9BD}" dt="2023-11-06T06:10:45.681" v="17585"/>
          <ac:spMkLst>
            <pc:docMk/>
            <pc:sldMk cId="1570625822" sldId="335"/>
            <ac:spMk id="459" creationId="{0CC62E1F-5F00-1C60-C502-A75B666B9489}"/>
          </ac:spMkLst>
        </pc:spChg>
        <pc:spChg chg="del mod">
          <ac:chgData name="Tan, Roger" userId="f6f33758-bd69-4951-8148-181de3b92474" providerId="ADAL" clId="{A436842E-EA5C-4A6D-B51D-DDAE8BC6E9BD}" dt="2023-11-06T06:10:45.682" v="17587"/>
          <ac:spMkLst>
            <pc:docMk/>
            <pc:sldMk cId="1570625822" sldId="335"/>
            <ac:spMk id="460" creationId="{271990AD-3A56-72E2-B7E5-DC812B33010D}"/>
          </ac:spMkLst>
        </pc:spChg>
        <pc:spChg chg="del mod">
          <ac:chgData name="Tan, Roger" userId="f6f33758-bd69-4951-8148-181de3b92474" providerId="ADAL" clId="{A436842E-EA5C-4A6D-B51D-DDAE8BC6E9BD}" dt="2023-11-06T06:10:45.685" v="17589"/>
          <ac:spMkLst>
            <pc:docMk/>
            <pc:sldMk cId="1570625822" sldId="335"/>
            <ac:spMk id="461" creationId="{AAA68E74-3F2D-7BCF-7E37-1A41FC7EDA61}"/>
          </ac:spMkLst>
        </pc:spChg>
        <pc:spChg chg="del mod">
          <ac:chgData name="Tan, Roger" userId="f6f33758-bd69-4951-8148-181de3b92474" providerId="ADAL" clId="{A436842E-EA5C-4A6D-B51D-DDAE8BC6E9BD}" dt="2023-11-06T06:10:45.689" v="17593"/>
          <ac:spMkLst>
            <pc:docMk/>
            <pc:sldMk cId="1570625822" sldId="335"/>
            <ac:spMk id="462" creationId="{C7FAEE14-2E1F-E14B-5602-562F0878C215}"/>
          </ac:spMkLst>
        </pc:spChg>
        <pc:spChg chg="del mod">
          <ac:chgData name="Tan, Roger" userId="f6f33758-bd69-4951-8148-181de3b92474" providerId="ADAL" clId="{A436842E-EA5C-4A6D-B51D-DDAE8BC6E9BD}" dt="2023-11-06T06:10:45.693" v="17597"/>
          <ac:spMkLst>
            <pc:docMk/>
            <pc:sldMk cId="1570625822" sldId="335"/>
            <ac:spMk id="463" creationId="{77C45BBA-53D0-D631-0DB2-79652645F0D8}"/>
          </ac:spMkLst>
        </pc:spChg>
        <pc:spChg chg="mod">
          <ac:chgData name="Tan, Roger" userId="f6f33758-bd69-4951-8148-181de3b92474" providerId="ADAL" clId="{A436842E-EA5C-4A6D-B51D-DDAE8BC6E9BD}" dt="2023-11-08T22:26:16.081" v="83482"/>
          <ac:spMkLst>
            <pc:docMk/>
            <pc:sldMk cId="1570625822" sldId="335"/>
            <ac:spMk id="465" creationId="{CE51D5D0-4A8B-D11B-4014-A19F215FAB89}"/>
          </ac:spMkLst>
        </pc:spChg>
        <pc:spChg chg="mod">
          <ac:chgData name="Tan, Roger" userId="f6f33758-bd69-4951-8148-181de3b92474" providerId="ADAL" clId="{A436842E-EA5C-4A6D-B51D-DDAE8BC6E9BD}" dt="2023-11-08T22:26:16.077" v="83474"/>
          <ac:spMkLst>
            <pc:docMk/>
            <pc:sldMk cId="1570625822" sldId="335"/>
            <ac:spMk id="468" creationId="{EB66E06B-9119-F34A-7804-D336B7548336}"/>
          </ac:spMkLst>
        </pc:spChg>
        <pc:spChg chg="mo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481" creationId="{B532BAB3-E620-DF3B-8FA9-A6DD9C6D50A3}"/>
          </ac:spMkLst>
        </pc:spChg>
        <pc:spChg chg="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540" creationId="{409AD50D-9B18-8B83-0880-75EC741990A9}"/>
          </ac:spMkLst>
        </pc:spChg>
        <pc:spChg chg="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548" creationId="{07D937B3-2410-7619-031A-1275472F10A9}"/>
          </ac:spMkLst>
        </pc:spChg>
        <pc:spChg chg="mod ord">
          <ac:chgData name="Tan, Roger" userId="f6f33758-bd69-4951-8148-181de3b92474" providerId="ADAL" clId="{A436842E-EA5C-4A6D-B51D-DDAE8BC6E9BD}" dt="2023-11-08T22:26:17.868" v="83578"/>
          <ac:spMkLst>
            <pc:docMk/>
            <pc:sldMk cId="1570625822" sldId="335"/>
            <ac:spMk id="550" creationId="{5F10117A-89ED-EBEA-DE41-D0881BDE74D4}"/>
          </ac:spMkLst>
        </pc:spChg>
        <pc:graphicFrameChg chg="add del mod ord replST">
          <ac:chgData name="Tan, Roger" userId="f6f33758-bd69-4951-8148-181de3b92474" providerId="ADAL" clId="{A436842E-EA5C-4A6D-B51D-DDAE8BC6E9BD}" dt="2023-11-06T06:10:55.013" v="17769"/>
          <ac:graphicFrameMkLst>
            <pc:docMk/>
            <pc:sldMk cId="1570625822" sldId="335"/>
            <ac:graphicFrameMk id="6" creationId="{63794314-66C2-F66D-D4B4-EA5D9E6485D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40.377" v="81983"/>
          <ac:graphicFrameMkLst>
            <pc:docMk/>
            <pc:sldMk cId="1570625822" sldId="335"/>
            <ac:graphicFrameMk id="6" creationId="{97A3D6F8-579C-ACA8-4236-A063C7926E1A}"/>
          </ac:graphicFrameMkLst>
        </pc:graphicFrameChg>
        <pc:graphicFrameChg chg="del">
          <ac:chgData name="Tan, Roger" userId="f6f33758-bd69-4951-8148-181de3b92474" providerId="ADAL" clId="{A436842E-EA5C-4A6D-B51D-DDAE8BC6E9BD}" dt="2023-11-08T22:25:32.527" v="81555"/>
          <ac:graphicFrameMkLst>
            <pc:docMk/>
            <pc:sldMk cId="1570625822" sldId="335"/>
            <ac:graphicFrameMk id="8" creationId="{281770C1-A952-8F1B-9CAA-C80F3118C60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0:58.517" v="17971"/>
          <ac:graphicFrameMkLst>
            <pc:docMk/>
            <pc:sldMk cId="1570625822" sldId="335"/>
            <ac:graphicFrameMk id="9" creationId="{257F0F58-563B-6A91-1547-587332777612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8T22:25:36.312" v="81757"/>
          <ac:graphicFrameMkLst>
            <pc:docMk/>
            <pc:sldMk cId="1570625822" sldId="335"/>
            <ac:graphicFrameMk id="14" creationId="{E13DE71A-08FA-3D19-F9F8-9DDA864EFB7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05.568" v="18098"/>
          <ac:graphicFrameMkLst>
            <pc:docMk/>
            <pc:sldMk cId="1570625822" sldId="335"/>
            <ac:graphicFrameMk id="15" creationId="{312922E3-A72B-E5AC-C060-EB6BCCD6EF86}"/>
          </ac:graphicFrameMkLst>
        </pc:graphicFrameChg>
        <pc:graphicFrameChg chg="mod">
          <ac:chgData name="Tan, Roger" userId="f6f33758-bd69-4951-8148-181de3b92474" providerId="ADAL" clId="{A436842E-EA5C-4A6D-B51D-DDAE8BC6E9BD}" dt="2023-11-08T22:26:17.878" v="83580"/>
          <ac:graphicFrameMkLst>
            <pc:docMk/>
            <pc:sldMk cId="1570625822" sldId="335"/>
            <ac:graphicFrameMk id="16" creationId="{B4FC88EE-B108-1D0C-322C-A0E9684DBFB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08.213" v="18225"/>
          <ac:graphicFrameMkLst>
            <pc:docMk/>
            <pc:sldMk cId="1570625822" sldId="335"/>
            <ac:graphicFrameMk id="18" creationId="{87ADB1CF-CEB0-7174-EED5-320D4AC0CAA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42.304" v="82068"/>
          <ac:graphicFrameMkLst>
            <pc:docMk/>
            <pc:sldMk cId="1570625822" sldId="335"/>
            <ac:graphicFrameMk id="18" creationId="{F6E845D8-A887-3245-71E7-A7286BDEA3C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16.402" v="18352"/>
          <ac:graphicFrameMkLst>
            <pc:docMk/>
            <pc:sldMk cId="1570625822" sldId="335"/>
            <ac:graphicFrameMk id="20" creationId="{3D3793EF-C236-1F68-5CB3-7CEEFE2964C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45.339" v="82150"/>
          <ac:graphicFrameMkLst>
            <pc:docMk/>
            <pc:sldMk cId="1570625822" sldId="335"/>
            <ac:graphicFrameMk id="20" creationId="{AAD0AA00-0EDE-3634-F192-9C097289893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27.450" v="18481"/>
          <ac:graphicFrameMkLst>
            <pc:docMk/>
            <pc:sldMk cId="1570625822" sldId="335"/>
            <ac:graphicFrameMk id="22" creationId="{29303B8D-8E28-AD28-BA0E-8C5C9015C98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47.280" v="82232"/>
          <ac:graphicFrameMkLst>
            <pc:docMk/>
            <pc:sldMk cId="1570625822" sldId="335"/>
            <ac:graphicFrameMk id="22" creationId="{772BD9C5-2FD4-25C2-5D5E-12804232661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51.508" v="82375"/>
          <ac:graphicFrameMkLst>
            <pc:docMk/>
            <pc:sldMk cId="1570625822" sldId="335"/>
            <ac:graphicFrameMk id="24" creationId="{0089ADDD-80BA-6894-9BD7-EC6A9B2C80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31.568" v="18585"/>
          <ac:graphicFrameMkLst>
            <pc:docMk/>
            <pc:sldMk cId="1570625822" sldId="335"/>
            <ac:graphicFrameMk id="24" creationId="{1A9F1C11-5483-694B-A78B-6914C0072CB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36.127" v="18689"/>
          <ac:graphicFrameMkLst>
            <pc:docMk/>
            <pc:sldMk cId="1570625822" sldId="335"/>
            <ac:graphicFrameMk id="27" creationId="{803B29A6-F98C-BA43-C645-571A14C55EC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52.308" v="82468"/>
          <ac:graphicFrameMkLst>
            <pc:docMk/>
            <pc:sldMk cId="1570625822" sldId="335"/>
            <ac:graphicFrameMk id="27" creationId="{8F97A787-8623-E4CC-80A8-DC93095AA56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5:58.167" v="82922"/>
          <ac:graphicFrameMkLst>
            <pc:docMk/>
            <pc:sldMk cId="1570625822" sldId="335"/>
            <ac:graphicFrameMk id="29" creationId="{18BA0C98-FDCD-BFE9-C4AF-FA0A0D957A0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1:49.975" v="18803"/>
          <ac:graphicFrameMkLst>
            <pc:docMk/>
            <pc:sldMk cId="1570625822" sldId="335"/>
            <ac:graphicFrameMk id="31" creationId="{C5CB56F9-9B2F-F93B-C271-48EBF760E71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4:40.884" v="19080"/>
          <ac:graphicFrameMkLst>
            <pc:docMk/>
            <pc:sldMk cId="1570625822" sldId="335"/>
            <ac:graphicFrameMk id="35" creationId="{C7DBB2A9-E424-8186-8355-16184A032D61}"/>
          </ac:graphicFrameMkLst>
        </pc:graphicFrameChg>
        <pc:graphicFrameChg chg="del">
          <ac:chgData name="Tan, Roger" userId="f6f33758-bd69-4951-8148-181de3b92474" providerId="ADAL" clId="{A436842E-EA5C-4A6D-B51D-DDAE8BC6E9BD}" dt="2023-11-06T06:10:45.758" v="17644"/>
          <ac:graphicFrameMkLst>
            <pc:docMk/>
            <pc:sldMk cId="1570625822" sldId="335"/>
            <ac:graphicFrameMk id="37" creationId="{603CCE44-6090-AE67-3722-3919BB5B218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6:01.447" v="83087"/>
          <ac:graphicFrameMkLst>
            <pc:docMk/>
            <pc:sldMk cId="1570625822" sldId="335"/>
            <ac:graphicFrameMk id="37" creationId="{EAA5BBF6-DB19-27E8-5F6A-C5147B3ACA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6:04.680" v="83213"/>
          <ac:graphicFrameMkLst>
            <pc:docMk/>
            <pc:sldMk cId="1570625822" sldId="335"/>
            <ac:graphicFrameMk id="40" creationId="{FB8848DC-B8FB-4A9C-7A1D-05D4BB12832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6:11.051" v="83333"/>
          <ac:graphicFrameMkLst>
            <pc:docMk/>
            <pc:sldMk cId="1570625822" sldId="335"/>
            <ac:graphicFrameMk id="42" creationId="{FF0EBC48-9FE0-553B-8A68-B5FBAE6B1EA0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6T06:14:40.906" v="19094"/>
          <ac:graphicFrameMkLst>
            <pc:docMk/>
            <pc:sldMk cId="1570625822" sldId="335"/>
            <ac:graphicFrameMk id="43" creationId="{874BE114-66DB-6964-D8AA-5288D69C835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6:17.868" v="83578"/>
          <ac:graphicFrameMkLst>
            <pc:docMk/>
            <pc:sldMk cId="1570625822" sldId="335"/>
            <ac:graphicFrameMk id="44" creationId="{F00AF26C-26C0-9D1C-CAFE-C43894E5989C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8T22:26:17.868" v="83578"/>
          <ac:graphicFrameMkLst>
            <pc:docMk/>
            <pc:sldMk cId="1570625822" sldId="335"/>
            <ac:graphicFrameMk id="46" creationId="{464ED229-7665-D961-8BC7-28DE53966D03}"/>
          </ac:graphicFrameMkLst>
        </pc:graphicFrameChg>
        <pc:cxnChg chg="del mod ord">
          <ac:chgData name="Tan, Roger" userId="f6f33758-bd69-4951-8148-181de3b92474" providerId="ADAL" clId="{A436842E-EA5C-4A6D-B51D-DDAE8BC6E9BD}" dt="2023-11-06T06:14:40.716" v="18931"/>
          <ac:cxnSpMkLst>
            <pc:docMk/>
            <pc:sldMk cId="1570625822" sldId="335"/>
            <ac:cxnSpMk id="386" creationId="{C2A27570-1008-9B08-F870-EBDF4C52F86A}"/>
          </ac:cxnSpMkLst>
        </pc:cxnChg>
        <pc:cxnChg chg="mod ord">
          <ac:chgData name="Tan, Roger" userId="f6f33758-bd69-4951-8148-181de3b92474" providerId="ADAL" clId="{A436842E-EA5C-4A6D-B51D-DDAE8BC6E9BD}" dt="2023-11-08T22:26:17.868" v="83578"/>
          <ac:cxnSpMkLst>
            <pc:docMk/>
            <pc:sldMk cId="1570625822" sldId="335"/>
            <ac:cxnSpMk id="553" creationId="{4146791B-3C85-B375-6ACF-E7640EA588D7}"/>
          </ac:cxnSpMkLst>
        </pc:cxnChg>
      </pc:sldChg>
      <pc:sldChg chg="addSp delSp modSp add del mod ord modTransition modClrScheme modShow chgLayout">
        <pc:chgData name="Tan, Roger" userId="f6f33758-bd69-4951-8148-181de3b92474" providerId="ADAL" clId="{A436842E-EA5C-4A6D-B51D-DDAE8BC6E9BD}" dt="2023-11-08T22:16:54.682" v="81334"/>
        <pc:sldMkLst>
          <pc:docMk/>
          <pc:sldMk cId="3821254099" sldId="337"/>
        </pc:sldMkLst>
        <pc:spChg chg="mod">
          <ac:chgData name="Tan, Roger" userId="f6f33758-bd69-4951-8148-181de3b92474" providerId="ADAL" clId="{A436842E-EA5C-4A6D-B51D-DDAE8BC6E9BD}" dt="2023-11-08T17:41:15.881" v="77921" actId="20577"/>
          <ac:spMkLst>
            <pc:docMk/>
            <pc:sldMk cId="3821254099" sldId="337"/>
            <ac:spMk id="3" creationId="{B1E79FE8-2D4E-C8FB-047E-94FA900BEFC6}"/>
          </ac:spMkLst>
        </pc:spChg>
        <pc:spChg chg="add del mod">
          <ac:chgData name="Tan, Roger" userId="f6f33758-bd69-4951-8148-181de3b92474" providerId="ADAL" clId="{A436842E-EA5C-4A6D-B51D-DDAE8BC6E9BD}" dt="2023-11-08T21:57:01.359" v="81133" actId="478"/>
          <ac:spMkLst>
            <pc:docMk/>
            <pc:sldMk cId="3821254099" sldId="337"/>
            <ac:spMk id="5" creationId="{84D7E04C-3BA0-6B4B-6CDB-758BC3CB1F0B}"/>
          </ac:spMkLst>
        </pc:spChg>
        <pc:spChg chg="add mod">
          <ac:chgData name="Tan, Roger" userId="f6f33758-bd69-4951-8148-181de3b92474" providerId="ADAL" clId="{A436842E-EA5C-4A6D-B51D-DDAE8BC6E9BD}" dt="2023-11-08T22:16:54.682" v="81334"/>
          <ac:spMkLst>
            <pc:docMk/>
            <pc:sldMk cId="3821254099" sldId="337"/>
            <ac:spMk id="6" creationId="{84E4BAAD-6E84-9021-1B79-E71187743C4E}"/>
          </ac:spMkLst>
        </pc:spChg>
        <pc:picChg chg="mod">
          <ac:chgData name="Tan, Roger" userId="f6f33758-bd69-4951-8148-181de3b92474" providerId="ADAL" clId="{A436842E-EA5C-4A6D-B51D-DDAE8BC6E9BD}" dt="2023-11-08T21:06:11.383" v="80187" actId="1076"/>
          <ac:picMkLst>
            <pc:docMk/>
            <pc:sldMk cId="3821254099" sldId="337"/>
            <ac:picMk id="2" creationId="{069BF968-B16F-9206-F10E-413230A4F695}"/>
          </ac:picMkLst>
        </pc:picChg>
        <pc:picChg chg="del">
          <ac:chgData name="Tan, Roger" userId="f6f33758-bd69-4951-8148-181de3b92474" providerId="ADAL" clId="{A436842E-EA5C-4A6D-B51D-DDAE8BC6E9BD}" dt="2023-11-07T08:07:20.662" v="62295" actId="478"/>
          <ac:picMkLst>
            <pc:docMk/>
            <pc:sldMk cId="3821254099" sldId="337"/>
            <ac:picMk id="5" creationId="{33D4272E-CD3A-DF36-A3AA-F1EEF3922ADB}"/>
          </ac:picMkLst>
        </pc:picChg>
      </pc:sldChg>
      <pc:sldChg chg="addSp delSp modSp add del mod ord modTransition modClrScheme modAnim modShow chgLayout">
        <pc:chgData name="Tan, Roger" userId="f6f33758-bd69-4951-8148-181de3b92474" providerId="ADAL" clId="{A436842E-EA5C-4A6D-B51D-DDAE8BC6E9BD}" dt="2023-11-08T05:24:43.219" v="76861"/>
        <pc:sldMkLst>
          <pc:docMk/>
          <pc:sldMk cId="2668455773" sldId="338"/>
        </pc:sldMkLst>
        <pc:spChg chg="add del mod modVis">
          <ac:chgData name="Tan, Roger" userId="f6f33758-bd69-4951-8148-181de3b92474" providerId="ADAL" clId="{A436842E-EA5C-4A6D-B51D-DDAE8BC6E9BD}" dt="2023-11-07T09:32:50.412" v="72991"/>
          <ac:spMkLst>
            <pc:docMk/>
            <pc:sldMk cId="2668455773" sldId="338"/>
            <ac:spMk id="2" creationId="{536AE399-AF8B-0B81-97E3-87E4A967C814}"/>
          </ac:spMkLst>
        </pc:spChg>
        <pc:spChg chg="add mod replST">
          <ac:chgData name="Tan, Roger" userId="f6f33758-bd69-4951-8148-181de3b92474" providerId="ADAL" clId="{A436842E-EA5C-4A6D-B51D-DDAE8BC6E9BD}" dt="2023-11-07T09:32:52.636" v="73183"/>
          <ac:spMkLst>
            <pc:docMk/>
            <pc:sldMk cId="2668455773" sldId="338"/>
            <ac:spMk id="3" creationId="{8098B4A8-F333-3A14-1EAF-EC55969A65EC}"/>
          </ac:spMkLst>
        </pc:spChg>
        <pc:spChg chg="add mod replST">
          <ac:chgData name="Tan, Roger" userId="f6f33758-bd69-4951-8148-181de3b92474" providerId="ADAL" clId="{A436842E-EA5C-4A6D-B51D-DDAE8BC6E9BD}" dt="2023-11-07T09:32:52.636" v="73184"/>
          <ac:spMkLst>
            <pc:docMk/>
            <pc:sldMk cId="2668455773" sldId="338"/>
            <ac:spMk id="4" creationId="{877589BB-AE25-323E-AC0D-7783FD885A1A}"/>
          </ac:spMkLst>
        </pc:spChg>
        <pc:spChg chg="add mod replST">
          <ac:chgData name="Tan, Roger" userId="f6f33758-bd69-4951-8148-181de3b92474" providerId="ADAL" clId="{A436842E-EA5C-4A6D-B51D-DDAE8BC6E9BD}" dt="2023-11-07T09:32:52.637" v="73185"/>
          <ac:spMkLst>
            <pc:docMk/>
            <pc:sldMk cId="2668455773" sldId="338"/>
            <ac:spMk id="5" creationId="{2E71C3AF-8E56-A29B-0472-592E1B1F5DA0}"/>
          </ac:spMkLst>
        </pc:spChg>
        <pc:spChg chg="mod ord">
          <ac:chgData name="Tan, Roger" userId="f6f33758-bd69-4951-8148-181de3b92474" providerId="ADAL" clId="{A436842E-EA5C-4A6D-B51D-DDAE8BC6E9BD}" dt="2023-11-07T09:32:52.635" v="73180"/>
          <ac:spMkLst>
            <pc:docMk/>
            <pc:sldMk cId="2668455773" sldId="338"/>
            <ac:spMk id="7" creationId="{7A4D0926-6944-1D57-A714-A577181B3E86}"/>
          </ac:spMkLst>
        </pc:spChg>
        <pc:spChg chg="add mod replST">
          <ac:chgData name="Tan, Roger" userId="f6f33758-bd69-4951-8148-181de3b92474" providerId="ADAL" clId="{A436842E-EA5C-4A6D-B51D-DDAE8BC6E9BD}" dt="2023-11-07T09:32:52.637" v="73186"/>
          <ac:spMkLst>
            <pc:docMk/>
            <pc:sldMk cId="2668455773" sldId="338"/>
            <ac:spMk id="8" creationId="{113BBE1F-21FF-29E0-5E1C-ACA04F4DC396}"/>
          </ac:spMkLst>
        </pc:spChg>
        <pc:spChg chg="add mod replST">
          <ac:chgData name="Tan, Roger" userId="f6f33758-bd69-4951-8148-181de3b92474" providerId="ADAL" clId="{A436842E-EA5C-4A6D-B51D-DDAE8BC6E9BD}" dt="2023-11-07T09:32:52.638" v="73187"/>
          <ac:spMkLst>
            <pc:docMk/>
            <pc:sldMk cId="2668455773" sldId="338"/>
            <ac:spMk id="9" creationId="{0874AB8A-3D85-EE24-27EE-4B953966AAEA}"/>
          </ac:spMkLst>
        </pc:spChg>
        <pc:spChg chg="add mod replST">
          <ac:chgData name="Tan, Roger" userId="f6f33758-bd69-4951-8148-181de3b92474" providerId="ADAL" clId="{A436842E-EA5C-4A6D-B51D-DDAE8BC6E9BD}" dt="2023-11-07T09:32:52.638" v="73188"/>
          <ac:spMkLst>
            <pc:docMk/>
            <pc:sldMk cId="2668455773" sldId="338"/>
            <ac:spMk id="10" creationId="{B6D99800-D3C1-2FCC-6969-2C47AA9F1FFD}"/>
          </ac:spMkLst>
        </pc:spChg>
        <pc:spChg chg="add mod replST">
          <ac:chgData name="Tan, Roger" userId="f6f33758-bd69-4951-8148-181de3b92474" providerId="ADAL" clId="{A436842E-EA5C-4A6D-B51D-DDAE8BC6E9BD}" dt="2023-11-07T09:32:52.638" v="73189"/>
          <ac:spMkLst>
            <pc:docMk/>
            <pc:sldMk cId="2668455773" sldId="338"/>
            <ac:spMk id="11" creationId="{80F691DE-C40D-5D62-EC3E-C3CDBF1E3FEC}"/>
          </ac:spMkLst>
        </pc:spChg>
        <pc:spChg chg="add mod replST">
          <ac:chgData name="Tan, Roger" userId="f6f33758-bd69-4951-8148-181de3b92474" providerId="ADAL" clId="{A436842E-EA5C-4A6D-B51D-DDAE8BC6E9BD}" dt="2023-11-07T09:32:52.638" v="73190"/>
          <ac:spMkLst>
            <pc:docMk/>
            <pc:sldMk cId="2668455773" sldId="338"/>
            <ac:spMk id="12" creationId="{1FE45160-CF25-1CF3-E174-9EA97D52DBFB}"/>
          </ac:spMkLst>
        </pc:spChg>
        <pc:spChg chg="add mod replST">
          <ac:chgData name="Tan, Roger" userId="f6f33758-bd69-4951-8148-181de3b92474" providerId="ADAL" clId="{A436842E-EA5C-4A6D-B51D-DDAE8BC6E9BD}" dt="2023-11-07T09:32:52.639" v="73191"/>
          <ac:spMkLst>
            <pc:docMk/>
            <pc:sldMk cId="2668455773" sldId="338"/>
            <ac:spMk id="13" creationId="{BC2E4F6D-AA43-CEB0-9DAB-B01F0B69C85E}"/>
          </ac:spMkLst>
        </pc:spChg>
        <pc:spChg chg="add del mod modVis">
          <ac:chgData name="Tan, Roger" userId="f6f33758-bd69-4951-8148-181de3b92474" providerId="ADAL" clId="{A436842E-EA5C-4A6D-B51D-DDAE8BC6E9BD}" dt="2023-11-06T06:16:40.320" v="19456"/>
          <ac:spMkLst>
            <pc:docMk/>
            <pc:sldMk cId="2668455773" sldId="338"/>
            <ac:spMk id="14" creationId="{50C7E2A6-0AF4-A584-74A0-15B2605040A2}"/>
          </ac:spMkLst>
        </pc:spChg>
        <pc:spChg chg="add del mod modVis">
          <ac:chgData name="Tan, Roger" userId="f6f33758-bd69-4951-8148-181de3b92474" providerId="ADAL" clId="{A436842E-EA5C-4A6D-B51D-DDAE8BC6E9BD}" dt="2023-11-07T09:32:51.831" v="73093"/>
          <ac:spMkLst>
            <pc:docMk/>
            <pc:sldMk cId="2668455773" sldId="338"/>
            <ac:spMk id="15" creationId="{AA70AFF2-F5D5-6F71-05A3-D130D0D54444}"/>
          </ac:spMkLst>
        </pc:spChg>
        <pc:spChg chg="add del mod modVis">
          <ac:chgData name="Tan, Roger" userId="f6f33758-bd69-4951-8148-181de3b92474" providerId="ADAL" clId="{A436842E-EA5C-4A6D-B51D-DDAE8BC6E9BD}" dt="2023-11-06T06:16:42.648" v="19576"/>
          <ac:spMkLst>
            <pc:docMk/>
            <pc:sldMk cId="2668455773" sldId="338"/>
            <ac:spMk id="17" creationId="{8C037E3E-F5B9-FA9A-6038-9F4DF7C5849E}"/>
          </ac:spMkLst>
        </pc:spChg>
        <pc:spChg chg="add del mod modVis">
          <ac:chgData name="Tan, Roger" userId="f6f33758-bd69-4951-8148-181de3b92474" providerId="ADAL" clId="{A436842E-EA5C-4A6D-B51D-DDAE8BC6E9BD}" dt="2023-11-07T09:32:52.640" v="73195"/>
          <ac:spMkLst>
            <pc:docMk/>
            <pc:sldMk cId="2668455773" sldId="338"/>
            <ac:spMk id="18" creationId="{AA880B6A-1387-2EFB-13CC-6065D8316F8D}"/>
          </ac:spMkLst>
        </pc:spChg>
        <pc:spChg chg="add del mod modVis">
          <ac:chgData name="Tan, Roger" userId="f6f33758-bd69-4951-8148-181de3b92474" providerId="ADAL" clId="{A436842E-EA5C-4A6D-B51D-DDAE8BC6E9BD}" dt="2023-11-06T06:16:44.085" v="19676"/>
          <ac:spMkLst>
            <pc:docMk/>
            <pc:sldMk cId="2668455773" sldId="338"/>
            <ac:spMk id="19" creationId="{5044DE94-BC49-11F5-338C-EE17C234BCDE}"/>
          </ac:spMkLst>
        </pc:spChg>
        <pc:spChg chg="add del mod modVis">
          <ac:chgData name="Tan, Roger" userId="f6f33758-bd69-4951-8148-181de3b92474" providerId="ADAL" clId="{A436842E-EA5C-4A6D-B51D-DDAE8BC6E9BD}" dt="2023-11-06T06:16:45.574" v="19796"/>
          <ac:spMkLst>
            <pc:docMk/>
            <pc:sldMk cId="2668455773" sldId="338"/>
            <ac:spMk id="21" creationId="{9D87770C-2D67-EA44-A53A-97628694D30E}"/>
          </ac:spMkLst>
        </pc:spChg>
        <pc:spChg chg="add del mod modVis">
          <ac:chgData name="Tan, Roger" userId="f6f33758-bd69-4951-8148-181de3b92474" providerId="ADAL" clId="{A436842E-EA5C-4A6D-B51D-DDAE8BC6E9BD}" dt="2023-11-06T06:16:46.698" v="19898"/>
          <ac:spMkLst>
            <pc:docMk/>
            <pc:sldMk cId="2668455773" sldId="338"/>
            <ac:spMk id="23" creationId="{2AAEC442-06B1-CED8-44D4-ECB9B483EA36}"/>
          </ac:spMkLst>
        </pc:spChg>
        <pc:spChg chg="add del mod modVis">
          <ac:chgData name="Tan, Roger" userId="f6f33758-bd69-4951-8148-181de3b92474" providerId="ADAL" clId="{A436842E-EA5C-4A6D-B51D-DDAE8BC6E9BD}" dt="2023-11-06T06:16:48.071" v="20018"/>
          <ac:spMkLst>
            <pc:docMk/>
            <pc:sldMk cId="2668455773" sldId="338"/>
            <ac:spMk id="25" creationId="{B8406C92-376D-3E01-FCDC-E769B49890B2}"/>
          </ac:spMkLst>
        </pc:spChg>
        <pc:spChg chg="del">
          <ac:chgData name="Tan, Roger" userId="f6f33758-bd69-4951-8148-181de3b92474" providerId="ADAL" clId="{A436842E-EA5C-4A6D-B51D-DDAE8BC6E9BD}" dt="2023-11-06T06:16:39.310" v="19129"/>
          <ac:spMkLst>
            <pc:docMk/>
            <pc:sldMk cId="2668455773" sldId="338"/>
            <ac:spMk id="58" creationId="{7F9DFECA-6EBB-67B3-6C39-9686EEEBAAB2}"/>
          </ac:spMkLst>
        </pc:spChg>
        <pc:spChg chg="mod ord">
          <ac:chgData name="Tan, Roger" userId="f6f33758-bd69-4951-8148-181de3b92474" providerId="ADAL" clId="{A436842E-EA5C-4A6D-B51D-DDAE8BC6E9BD}" dt="2023-11-07T09:32:52.632" v="73168"/>
          <ac:spMkLst>
            <pc:docMk/>
            <pc:sldMk cId="2668455773" sldId="338"/>
            <ac:spMk id="228" creationId="{D2D10EBA-82D0-AF9D-12E9-3F8D82B8B2F4}"/>
          </ac:spMkLst>
        </pc:spChg>
        <pc:spChg chg="del">
          <ac:chgData name="Tan, Roger" userId="f6f33758-bd69-4951-8148-181de3b92474" providerId="ADAL" clId="{A436842E-EA5C-4A6D-B51D-DDAE8BC6E9BD}" dt="2023-11-06T06:16:39.313" v="19139"/>
          <ac:spMkLst>
            <pc:docMk/>
            <pc:sldMk cId="2668455773" sldId="338"/>
            <ac:spMk id="427" creationId="{7BFDEE32-8C52-0289-9CC7-FB926ECCEF82}"/>
          </ac:spMkLst>
        </pc:spChg>
        <pc:spChg chg="del">
          <ac:chgData name="Tan, Roger" userId="f6f33758-bd69-4951-8148-181de3b92474" providerId="ADAL" clId="{A436842E-EA5C-4A6D-B51D-DDAE8BC6E9BD}" dt="2023-11-06T06:16:39.313" v="19138"/>
          <ac:spMkLst>
            <pc:docMk/>
            <pc:sldMk cId="2668455773" sldId="338"/>
            <ac:spMk id="429" creationId="{22F28D1B-4819-B653-92DE-3EAABAF307A5}"/>
          </ac:spMkLst>
        </pc:spChg>
        <pc:spChg chg="del">
          <ac:chgData name="Tan, Roger" userId="f6f33758-bd69-4951-8148-181de3b92474" providerId="ADAL" clId="{A436842E-EA5C-4A6D-B51D-DDAE8BC6E9BD}" dt="2023-11-06T06:16:39.313" v="19137"/>
          <ac:spMkLst>
            <pc:docMk/>
            <pc:sldMk cId="2668455773" sldId="338"/>
            <ac:spMk id="431" creationId="{CFA55E5F-AE5F-9101-1547-6D1241DF4CFD}"/>
          </ac:spMkLst>
        </pc:spChg>
        <pc:spChg chg="del">
          <ac:chgData name="Tan, Roger" userId="f6f33758-bd69-4951-8148-181de3b92474" providerId="ADAL" clId="{A436842E-EA5C-4A6D-B51D-DDAE8BC6E9BD}" dt="2023-11-06T06:16:39.313" v="19136"/>
          <ac:spMkLst>
            <pc:docMk/>
            <pc:sldMk cId="2668455773" sldId="338"/>
            <ac:spMk id="433" creationId="{74701A53-0B30-D1DE-9DF0-F01E89C32EC6}"/>
          </ac:spMkLst>
        </pc:spChg>
        <pc:spChg chg="del">
          <ac:chgData name="Tan, Roger" userId="f6f33758-bd69-4951-8148-181de3b92474" providerId="ADAL" clId="{A436842E-EA5C-4A6D-B51D-DDAE8BC6E9BD}" dt="2023-11-06T06:16:39.313" v="19135"/>
          <ac:spMkLst>
            <pc:docMk/>
            <pc:sldMk cId="2668455773" sldId="338"/>
            <ac:spMk id="435" creationId="{00F403F1-025F-381B-1E07-60E992B3AE7A}"/>
          </ac:spMkLst>
        </pc:spChg>
        <pc:spChg chg="del">
          <ac:chgData name="Tan, Roger" userId="f6f33758-bd69-4951-8148-181de3b92474" providerId="ADAL" clId="{A436842E-EA5C-4A6D-B51D-DDAE8BC6E9BD}" dt="2023-11-06T06:16:39.312" v="19134"/>
          <ac:spMkLst>
            <pc:docMk/>
            <pc:sldMk cId="2668455773" sldId="338"/>
            <ac:spMk id="437" creationId="{42ECBA36-EA98-AC48-1A9B-3B643C6FA772}"/>
          </ac:spMkLst>
        </pc:spChg>
        <pc:spChg chg="del">
          <ac:chgData name="Tan, Roger" userId="f6f33758-bd69-4951-8148-181de3b92474" providerId="ADAL" clId="{A436842E-EA5C-4A6D-B51D-DDAE8BC6E9BD}" dt="2023-11-06T06:16:39.312" v="19133"/>
          <ac:spMkLst>
            <pc:docMk/>
            <pc:sldMk cId="2668455773" sldId="338"/>
            <ac:spMk id="439" creationId="{BE0385EB-9429-07F5-253E-75BDA49B71D8}"/>
          </ac:spMkLst>
        </pc:spChg>
        <pc:spChg chg="del">
          <ac:chgData name="Tan, Roger" userId="f6f33758-bd69-4951-8148-181de3b92474" providerId="ADAL" clId="{A436842E-EA5C-4A6D-B51D-DDAE8BC6E9BD}" dt="2023-11-06T06:16:39.312" v="19132"/>
          <ac:spMkLst>
            <pc:docMk/>
            <pc:sldMk cId="2668455773" sldId="338"/>
            <ac:spMk id="441" creationId="{5CD92C54-AAC9-2D02-C186-B8F240359257}"/>
          </ac:spMkLst>
        </pc:spChg>
        <pc:spChg chg="del">
          <ac:chgData name="Tan, Roger" userId="f6f33758-bd69-4951-8148-181de3b92474" providerId="ADAL" clId="{A436842E-EA5C-4A6D-B51D-DDAE8BC6E9BD}" dt="2023-11-06T06:16:39.311" v="19131"/>
          <ac:spMkLst>
            <pc:docMk/>
            <pc:sldMk cId="2668455773" sldId="338"/>
            <ac:spMk id="443" creationId="{C2F61A08-A967-23D4-A372-5179C9C0CE30}"/>
          </ac:spMkLst>
        </pc:spChg>
        <pc:spChg chg="del">
          <ac:chgData name="Tan, Roger" userId="f6f33758-bd69-4951-8148-181de3b92474" providerId="ADAL" clId="{A436842E-EA5C-4A6D-B51D-DDAE8BC6E9BD}" dt="2023-11-06T06:16:39.310" v="19128"/>
          <ac:spMkLst>
            <pc:docMk/>
            <pc:sldMk cId="2668455773" sldId="338"/>
            <ac:spMk id="453" creationId="{B396B253-662A-6DA7-5209-5ED027AEA51D}"/>
          </ac:spMkLst>
        </pc:spChg>
        <pc:spChg chg="del">
          <ac:chgData name="Tan, Roger" userId="f6f33758-bd69-4951-8148-181de3b92474" providerId="ADAL" clId="{A436842E-EA5C-4A6D-B51D-DDAE8BC6E9BD}" dt="2023-11-06T06:16:39.309" v="19127"/>
          <ac:spMkLst>
            <pc:docMk/>
            <pc:sldMk cId="2668455773" sldId="338"/>
            <ac:spMk id="454" creationId="{B6348C2F-7A27-604F-3FB8-DD89AB92F57B}"/>
          </ac:spMkLst>
        </pc:spChg>
        <pc:spChg chg="del">
          <ac:chgData name="Tan, Roger" userId="f6f33758-bd69-4951-8148-181de3b92474" providerId="ADAL" clId="{A436842E-EA5C-4A6D-B51D-DDAE8BC6E9BD}" dt="2023-11-06T06:16:39.309" v="19126"/>
          <ac:spMkLst>
            <pc:docMk/>
            <pc:sldMk cId="2668455773" sldId="338"/>
            <ac:spMk id="455" creationId="{B7988F2C-9906-52EC-B96B-5B00AFE0B6B0}"/>
          </ac:spMkLst>
        </pc:spChg>
        <pc:spChg chg="del">
          <ac:chgData name="Tan, Roger" userId="f6f33758-bd69-4951-8148-181de3b92474" providerId="ADAL" clId="{A436842E-EA5C-4A6D-B51D-DDAE8BC6E9BD}" dt="2023-11-06T06:16:39.308" v="19125"/>
          <ac:spMkLst>
            <pc:docMk/>
            <pc:sldMk cId="2668455773" sldId="338"/>
            <ac:spMk id="456" creationId="{DF51B1FA-AF70-518E-DD09-3AED953AB783}"/>
          </ac:spMkLst>
        </pc:spChg>
        <pc:spChg chg="del">
          <ac:chgData name="Tan, Roger" userId="f6f33758-bd69-4951-8148-181de3b92474" providerId="ADAL" clId="{A436842E-EA5C-4A6D-B51D-DDAE8BC6E9BD}" dt="2023-11-06T06:16:39.310" v="19130"/>
          <ac:spMkLst>
            <pc:docMk/>
            <pc:sldMk cId="2668455773" sldId="338"/>
            <ac:spMk id="458" creationId="{FD676020-CB63-9CC9-DDB8-66636BB0F354}"/>
          </ac:spMkLst>
        </pc:spChg>
        <pc:spChg chg="del">
          <ac:chgData name="Tan, Roger" userId="f6f33758-bd69-4951-8148-181de3b92474" providerId="ADAL" clId="{A436842E-EA5C-4A6D-B51D-DDAE8BC6E9BD}" dt="2023-11-06T06:16:39.308" v="19124"/>
          <ac:spMkLst>
            <pc:docMk/>
            <pc:sldMk cId="2668455773" sldId="338"/>
            <ac:spMk id="465" creationId="{CE51D5D0-4A8B-D11B-4014-A19F215FAB89}"/>
          </ac:spMkLst>
        </pc:spChg>
        <pc:spChg chg="del">
          <ac:chgData name="Tan, Roger" userId="f6f33758-bd69-4951-8148-181de3b92474" providerId="ADAL" clId="{A436842E-EA5C-4A6D-B51D-DDAE8BC6E9BD}" dt="2023-11-06T06:16:39.314" v="19141"/>
          <ac:spMkLst>
            <pc:docMk/>
            <pc:sldMk cId="2668455773" sldId="338"/>
            <ac:spMk id="468" creationId="{EB66E06B-9119-F34A-7804-D336B7548336}"/>
          </ac:spMkLst>
        </pc:spChg>
        <pc:spChg chg="del">
          <ac:chgData name="Tan, Roger" userId="f6f33758-bd69-4951-8148-181de3b92474" providerId="ADAL" clId="{A436842E-EA5C-4A6D-B51D-DDAE8BC6E9BD}" dt="2023-11-06T06:16:39.314" v="19140"/>
          <ac:spMkLst>
            <pc:docMk/>
            <pc:sldMk cId="2668455773" sldId="338"/>
            <ac:spMk id="481" creationId="{B532BAB3-E620-DF3B-8FA9-A6DD9C6D50A3}"/>
          </ac:spMkLst>
        </pc:spChg>
        <pc:spChg chg="mod ord">
          <ac:chgData name="Tan, Roger" userId="f6f33758-bd69-4951-8148-181de3b92474" providerId="ADAL" clId="{A436842E-EA5C-4A6D-B51D-DDAE8BC6E9BD}" dt="2023-11-07T09:32:52.633" v="73170"/>
          <ac:spMkLst>
            <pc:docMk/>
            <pc:sldMk cId="2668455773" sldId="338"/>
            <ac:spMk id="540" creationId="{409AD50D-9B18-8B83-0880-75EC741990A9}"/>
          </ac:spMkLst>
        </pc:spChg>
        <pc:spChg chg="mod ord">
          <ac:chgData name="Tan, Roger" userId="f6f33758-bd69-4951-8148-181de3b92474" providerId="ADAL" clId="{A436842E-EA5C-4A6D-B51D-DDAE8BC6E9BD}" dt="2023-11-07T09:32:52.633" v="73172"/>
          <ac:spMkLst>
            <pc:docMk/>
            <pc:sldMk cId="2668455773" sldId="338"/>
            <ac:spMk id="548" creationId="{07D937B3-2410-7619-031A-1275472F10A9}"/>
          </ac:spMkLst>
        </pc:spChg>
        <pc:spChg chg="mod ord">
          <ac:chgData name="Tan, Roger" userId="f6f33758-bd69-4951-8148-181de3b92474" providerId="ADAL" clId="{A436842E-EA5C-4A6D-B51D-DDAE8BC6E9BD}" dt="2023-11-07T09:32:52.634" v="73174"/>
          <ac:spMkLst>
            <pc:docMk/>
            <pc:sldMk cId="2668455773" sldId="338"/>
            <ac:spMk id="550" creationId="{5F10117A-89ED-EBEA-DE41-D0881BDE74D4}"/>
          </ac:spMkLst>
        </pc:spChg>
        <pc:graphicFrameChg chg="add del mod replST">
          <ac:chgData name="Tan, Roger" userId="f6f33758-bd69-4951-8148-181de3b92474" providerId="ADAL" clId="{A436842E-EA5C-4A6D-B51D-DDAE8BC6E9BD}" dt="2023-11-06T06:16:40.284" v="19419"/>
          <ac:graphicFrameMkLst>
            <pc:docMk/>
            <pc:sldMk cId="2668455773" sldId="338"/>
            <ac:graphicFrameMk id="2" creationId="{42F2264E-1C09-FD99-D8EE-BBA451E9833C}"/>
          </ac:graphicFrameMkLst>
        </pc:graphicFrameChg>
        <pc:graphicFrameChg chg="mod ord modGraphic">
          <ac:chgData name="Tan, Roger" userId="f6f33758-bd69-4951-8148-181de3b92474" providerId="ADAL" clId="{A436842E-EA5C-4A6D-B51D-DDAE8BC6E9BD}" dt="2023-11-07T09:32:52.635" v="73178"/>
          <ac:graphicFrameMkLst>
            <pc:docMk/>
            <pc:sldMk cId="2668455773" sldId="338"/>
            <ac:graphicFrameMk id="6" creationId="{BA3E4D8D-75EC-5489-00DE-0D57271B4F0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9:32:51.803" v="73058"/>
          <ac:graphicFrameMkLst>
            <pc:docMk/>
            <pc:sldMk cId="2668455773" sldId="338"/>
            <ac:graphicFrameMk id="14" creationId="{AD03E320-8C72-8084-F678-49869178EAB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6:42.618" v="19541"/>
          <ac:graphicFrameMkLst>
            <pc:docMk/>
            <pc:sldMk cId="2668455773" sldId="338"/>
            <ac:graphicFrameMk id="15" creationId="{8C6EF816-35ED-FB27-8B14-0024A5893E11}"/>
          </ac:graphicFrameMkLst>
        </pc:graphicFrameChg>
        <pc:graphicFrameChg chg="mod">
          <ac:chgData name="Tan, Roger" userId="f6f33758-bd69-4951-8148-181de3b92474" providerId="ADAL" clId="{A436842E-EA5C-4A6D-B51D-DDAE8BC6E9BD}" dt="2023-11-07T09:32:52.645" v="73197"/>
          <ac:graphicFrameMkLst>
            <pc:docMk/>
            <pc:sldMk cId="2668455773" sldId="338"/>
            <ac:graphicFrameMk id="16" creationId="{B4FC88EE-B108-1D0C-322C-A0E9684DBFB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9:32:52.609" v="73160"/>
          <ac:graphicFrameMkLst>
            <pc:docMk/>
            <pc:sldMk cId="2668455773" sldId="338"/>
            <ac:graphicFrameMk id="17" creationId="{3817A709-5C53-D96D-AFAD-104921B2DB4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6:44.056" v="19641"/>
          <ac:graphicFrameMkLst>
            <pc:docMk/>
            <pc:sldMk cId="2668455773" sldId="338"/>
            <ac:graphicFrameMk id="18" creationId="{2BAC9CB6-BC29-2AFE-E0CE-B63102C1DF22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9:32:52.636" v="73182"/>
          <ac:graphicFrameMkLst>
            <pc:docMk/>
            <pc:sldMk cId="2668455773" sldId="338"/>
            <ac:graphicFrameMk id="19" creationId="{857E47CB-6DA5-011B-7A3D-7C59FC39D01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6:45.542" v="19761"/>
          <ac:graphicFrameMkLst>
            <pc:docMk/>
            <pc:sldMk cId="2668455773" sldId="338"/>
            <ac:graphicFrameMk id="20" creationId="{A69E7821-C0B5-4E18-A71E-3DB6023B34C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6:46.670" v="19863"/>
          <ac:graphicFrameMkLst>
            <pc:docMk/>
            <pc:sldMk cId="2668455773" sldId="338"/>
            <ac:graphicFrameMk id="22" creationId="{83C35235-4917-9973-F8F7-B8DC485D5F0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16:48.042" v="19983"/>
          <ac:graphicFrameMkLst>
            <pc:docMk/>
            <pc:sldMk cId="2668455773" sldId="338"/>
            <ac:graphicFrameMk id="24" creationId="{68577396-1293-6BF2-57DD-BF1EB30334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9:32:50.372" v="72954"/>
          <ac:graphicFrameMkLst>
            <pc:docMk/>
            <pc:sldMk cId="2668455773" sldId="338"/>
            <ac:graphicFrameMk id="26" creationId="{325D7951-8E05-4793-31E3-F2A45CC3931E}"/>
          </ac:graphicFrameMkLst>
        </pc:graphicFrameChg>
        <pc:graphicFrameChg chg="del">
          <ac:chgData name="Tan, Roger" userId="f6f33758-bd69-4951-8148-181de3b92474" providerId="ADAL" clId="{A436842E-EA5C-4A6D-B51D-DDAE8BC6E9BD}" dt="2023-11-06T06:16:39.315" v="19143"/>
          <ac:graphicFrameMkLst>
            <pc:docMk/>
            <pc:sldMk cId="2668455773" sldId="338"/>
            <ac:graphicFrameMk id="472" creationId="{6015694A-E0E3-CA3B-9576-F460754B4AE5}"/>
          </ac:graphicFrameMkLst>
        </pc:graphicFrameChg>
        <pc:cxnChg chg="del">
          <ac:chgData name="Tan, Roger" userId="f6f33758-bd69-4951-8148-181de3b92474" providerId="ADAL" clId="{A436842E-EA5C-4A6D-B51D-DDAE8BC6E9BD}" dt="2023-11-06T06:16:39.304" v="19123"/>
          <ac:cxnSpMkLst>
            <pc:docMk/>
            <pc:sldMk cId="2668455773" sldId="338"/>
            <ac:cxnSpMk id="386" creationId="{C2A27570-1008-9B08-F870-EBDF4C52F86A}"/>
          </ac:cxnSpMkLst>
        </pc:cxnChg>
        <pc:cxnChg chg="mod ord">
          <ac:chgData name="Tan, Roger" userId="f6f33758-bd69-4951-8148-181de3b92474" providerId="ADAL" clId="{A436842E-EA5C-4A6D-B51D-DDAE8BC6E9BD}" dt="2023-11-07T09:32:52.634" v="73176"/>
          <ac:cxnSpMkLst>
            <pc:docMk/>
            <pc:sldMk cId="2668455773" sldId="338"/>
            <ac:cxnSpMk id="553" creationId="{4146791B-3C85-B375-6ACF-E7640EA588D7}"/>
          </ac:cxnSpMkLst>
        </pc:cxnChg>
      </pc:sldChg>
      <pc:sldChg chg="addSp delSp modSp add del mod">
        <pc:chgData name="Tan, Roger" userId="f6f33758-bd69-4951-8148-181de3b92474" providerId="ADAL" clId="{A436842E-EA5C-4A6D-B51D-DDAE8BC6E9BD}" dt="2023-11-05T04:38:23.376" v="5767" actId="47"/>
        <pc:sldMkLst>
          <pc:docMk/>
          <pc:sldMk cId="3088697270" sldId="339"/>
        </pc:sldMkLst>
        <pc:spChg chg="add del mod">
          <ac:chgData name="Tan, Roger" userId="f6f33758-bd69-4951-8148-181de3b92474" providerId="ADAL" clId="{A436842E-EA5C-4A6D-B51D-DDAE8BC6E9BD}" dt="2023-11-05T04:38:01.395" v="5764" actId="478"/>
          <ac:spMkLst>
            <pc:docMk/>
            <pc:sldMk cId="3088697270" sldId="339"/>
            <ac:spMk id="6" creationId="{4DE6C70E-1A69-AE49-E029-545C249F93FC}"/>
          </ac:spMkLst>
        </pc:spChg>
        <pc:spChg chg="mod">
          <ac:chgData name="Tan, Roger" userId="f6f33758-bd69-4951-8148-181de3b92474" providerId="ADAL" clId="{A436842E-EA5C-4A6D-B51D-DDAE8BC6E9BD}" dt="2023-11-04T23:05:16.394" v="22" actId="20577"/>
          <ac:spMkLst>
            <pc:docMk/>
            <pc:sldMk cId="3088697270" sldId="339"/>
            <ac:spMk id="30" creationId="{0BFDEB95-DC05-565C-B4BD-89205AEC5BD4}"/>
          </ac:spMkLst>
        </pc:spChg>
        <pc:spChg chg="del">
          <ac:chgData name="Tan, Roger" userId="f6f33758-bd69-4951-8148-181de3b92474" providerId="ADAL" clId="{A436842E-EA5C-4A6D-B51D-DDAE8BC6E9BD}" dt="2023-11-05T04:38:01.395" v="5764" actId="478"/>
          <ac:spMkLst>
            <pc:docMk/>
            <pc:sldMk cId="3088697270" sldId="339"/>
            <ac:spMk id="34" creationId="{8414AB94-4614-CF24-9993-74BA355FCD32}"/>
          </ac:spMkLst>
        </pc:spChg>
        <pc:spChg chg="del mod">
          <ac:chgData name="Tan, Roger" userId="f6f33758-bd69-4951-8148-181de3b92474" providerId="ADAL" clId="{A436842E-EA5C-4A6D-B51D-DDAE8BC6E9BD}" dt="2023-11-05T04:38:01.395" v="5764" actId="478"/>
          <ac:spMkLst>
            <pc:docMk/>
            <pc:sldMk cId="3088697270" sldId="339"/>
            <ac:spMk id="35" creationId="{8A55C520-62CF-91A4-2A3D-03A0868A7316}"/>
          </ac:spMkLst>
        </pc:spChg>
        <pc:spChg chg="del mod">
          <ac:chgData name="Tan, Roger" userId="f6f33758-bd69-4951-8148-181de3b92474" providerId="ADAL" clId="{A436842E-EA5C-4A6D-B51D-DDAE8BC6E9BD}" dt="2023-11-05T04:38:01.395" v="5764" actId="478"/>
          <ac:spMkLst>
            <pc:docMk/>
            <pc:sldMk cId="3088697270" sldId="339"/>
            <ac:spMk id="36" creationId="{E64AE679-D3A9-651D-26EA-303D76F0AED9}"/>
          </ac:spMkLst>
        </pc:spChg>
        <pc:cxnChg chg="add del mod">
          <ac:chgData name="Tan, Roger" userId="f6f33758-bd69-4951-8148-181de3b92474" providerId="ADAL" clId="{A436842E-EA5C-4A6D-B51D-DDAE8BC6E9BD}" dt="2023-11-05T04:36:40.157" v="5751"/>
          <ac:cxnSpMkLst>
            <pc:docMk/>
            <pc:sldMk cId="3088697270" sldId="339"/>
            <ac:cxnSpMk id="7" creationId="{2FDD60E7-0E98-0E7A-6750-0CD42A17BC2B}"/>
          </ac:cxnSpMkLst>
        </pc:cxnChg>
        <pc:cxnChg chg="add del mod">
          <ac:chgData name="Tan, Roger" userId="f6f33758-bd69-4951-8148-181de3b92474" providerId="ADAL" clId="{A436842E-EA5C-4A6D-B51D-DDAE8BC6E9BD}" dt="2023-11-05T04:36:39.397" v="5749"/>
          <ac:cxnSpMkLst>
            <pc:docMk/>
            <pc:sldMk cId="3088697270" sldId="339"/>
            <ac:cxnSpMk id="8" creationId="{608CB6BD-17D8-8A20-8A55-3B622FEC3B39}"/>
          </ac:cxnSpMkLst>
        </pc:cxnChg>
        <pc:cxnChg chg="del mod">
          <ac:chgData name="Tan, Roger" userId="f6f33758-bd69-4951-8148-181de3b92474" providerId="ADAL" clId="{A436842E-EA5C-4A6D-B51D-DDAE8BC6E9BD}" dt="2023-11-05T04:38:01.395" v="5764" actId="478"/>
          <ac:cxnSpMkLst>
            <pc:docMk/>
            <pc:sldMk cId="3088697270" sldId="339"/>
            <ac:cxnSpMk id="38" creationId="{9C2B78A4-F9E6-CAF7-E817-336CB36B46D2}"/>
          </ac:cxnSpMkLst>
        </pc:cxnChg>
        <pc:cxnChg chg="add del mod">
          <ac:chgData name="Tan, Roger" userId="f6f33758-bd69-4951-8148-181de3b92474" providerId="ADAL" clId="{A436842E-EA5C-4A6D-B51D-DDAE8BC6E9BD}" dt="2023-11-05T04:38:01.395" v="5764" actId="478"/>
          <ac:cxnSpMkLst>
            <pc:docMk/>
            <pc:sldMk cId="3088697270" sldId="339"/>
            <ac:cxnSpMk id="49" creationId="{1BB74369-D9A1-EDC8-B589-289B49F663B6}"/>
          </ac:cxnSpMkLst>
        </pc:cxnChg>
        <pc:cxnChg chg="add del mod">
          <ac:chgData name="Tan, Roger" userId="f6f33758-bd69-4951-8148-181de3b92474" providerId="ADAL" clId="{A436842E-EA5C-4A6D-B51D-DDAE8BC6E9BD}" dt="2023-11-05T04:38:01.395" v="5764" actId="478"/>
          <ac:cxnSpMkLst>
            <pc:docMk/>
            <pc:sldMk cId="3088697270" sldId="339"/>
            <ac:cxnSpMk id="58" creationId="{0427EDFA-37BF-61A2-5365-4BC77788AA46}"/>
          </ac:cxnSpMkLst>
        </pc:cxnChg>
      </pc:sldChg>
      <pc:sldChg chg="addSp modSp add del mod ord modClrScheme chgLayout">
        <pc:chgData name="Tan, Roger" userId="f6f33758-bd69-4951-8148-181de3b92474" providerId="ADAL" clId="{A436842E-EA5C-4A6D-B51D-DDAE8BC6E9BD}" dt="2023-11-07T18:23:46.890" v="75228" actId="1076"/>
        <pc:sldMkLst>
          <pc:docMk/>
          <pc:sldMk cId="2603373835" sldId="340"/>
        </pc:sldMkLst>
        <pc:spChg chg="mod">
          <ac:chgData name="Tan, Roger" userId="f6f33758-bd69-4951-8148-181de3b92474" providerId="ADAL" clId="{A436842E-EA5C-4A6D-B51D-DDAE8BC6E9BD}" dt="2023-11-07T08:13:36.016" v="62567" actId="20577"/>
          <ac:spMkLst>
            <pc:docMk/>
            <pc:sldMk cId="2603373835" sldId="340"/>
            <ac:spMk id="25" creationId="{91448A82-D3F1-BCEF-9863-30B9F919645B}"/>
          </ac:spMkLst>
        </pc:spChg>
        <pc:graphicFrameChg chg="mod modGraphic">
          <ac:chgData name="Tan, Roger" userId="f6f33758-bd69-4951-8148-181de3b92474" providerId="ADAL" clId="{A436842E-EA5C-4A6D-B51D-DDAE8BC6E9BD}" dt="2023-11-07T18:23:39.677" v="75223" actId="14100"/>
          <ac:graphicFrameMkLst>
            <pc:docMk/>
            <pc:sldMk cId="2603373835" sldId="340"/>
            <ac:graphicFrameMk id="24" creationId="{34DEFDFB-8146-D96A-B75B-2B1A24CF99CC}"/>
          </ac:graphicFrameMkLst>
        </pc:graphicFrameChg>
        <pc:picChg chg="add mod">
          <ac:chgData name="Tan, Roger" userId="f6f33758-bd69-4951-8148-181de3b92474" providerId="ADAL" clId="{A436842E-EA5C-4A6D-B51D-DDAE8BC6E9BD}" dt="2023-11-07T18:23:46.890" v="75228" actId="1076"/>
          <ac:picMkLst>
            <pc:docMk/>
            <pc:sldMk cId="2603373835" sldId="340"/>
            <ac:picMk id="2" creationId="{DA796D4D-1D57-2B8F-983E-767CF419309D}"/>
          </ac:picMkLst>
        </pc:picChg>
        <pc:picChg chg="mod">
          <ac:chgData name="Tan, Roger" userId="f6f33758-bd69-4951-8148-181de3b92474" providerId="ADAL" clId="{A436842E-EA5C-4A6D-B51D-DDAE8BC6E9BD}" dt="2023-11-07T18:23:44.663" v="75227" actId="1076"/>
          <ac:picMkLst>
            <pc:docMk/>
            <pc:sldMk cId="2603373835" sldId="340"/>
            <ac:picMk id="23" creationId="{50D6DDB8-DF9E-49E0-5ABB-B8180B49D82A}"/>
          </ac:picMkLst>
        </pc:picChg>
      </pc:sldChg>
      <pc:sldChg chg="modSp mod">
        <pc:chgData name="Tan, Roger" userId="f6f33758-bd69-4951-8148-181de3b92474" providerId="ADAL" clId="{A436842E-EA5C-4A6D-B51D-DDAE8BC6E9BD}" dt="2023-11-08T17:40:22.195" v="77910" actId="20577"/>
        <pc:sldMkLst>
          <pc:docMk/>
          <pc:sldMk cId="4164481638" sldId="340"/>
        </pc:sldMkLst>
        <pc:spChg chg="mod">
          <ac:chgData name="Tan, Roger" userId="f6f33758-bd69-4951-8148-181de3b92474" providerId="ADAL" clId="{A436842E-EA5C-4A6D-B51D-DDAE8BC6E9BD}" dt="2023-11-08T17:40:22.195" v="77910" actId="20577"/>
          <ac:spMkLst>
            <pc:docMk/>
            <pc:sldMk cId="4164481638" sldId="340"/>
            <ac:spMk id="25" creationId="{91448A82-D3F1-BCEF-9863-30B9F919645B}"/>
          </ac:spMkLst>
        </pc:spChg>
      </pc:sldChg>
      <pc:sldChg chg="modSp mod">
        <pc:chgData name="Tan, Roger" userId="f6f33758-bd69-4951-8148-181de3b92474" providerId="ADAL" clId="{A436842E-EA5C-4A6D-B51D-DDAE8BC6E9BD}" dt="2023-11-08T05:35:10.740" v="76876"/>
        <pc:sldMkLst>
          <pc:docMk/>
          <pc:sldMk cId="2612747657" sldId="341"/>
        </pc:sldMkLst>
        <pc:graphicFrameChg chg="mod">
          <ac:chgData name="Tan, Roger" userId="f6f33758-bd69-4951-8148-181de3b92474" providerId="ADAL" clId="{A436842E-EA5C-4A6D-B51D-DDAE8BC6E9BD}" dt="2023-11-08T05:35:10.740" v="76876"/>
          <ac:graphicFrameMkLst>
            <pc:docMk/>
            <pc:sldMk cId="2612747657" sldId="341"/>
            <ac:graphicFrameMk id="4" creationId="{FD4A65FB-339A-B2BC-4155-257FFC3BBBB9}"/>
          </ac:graphicFrameMkLst>
        </pc:graphicFrameChg>
      </pc:sldChg>
      <pc:sldChg chg="modSp mod">
        <pc:chgData name="Tan, Roger" userId="f6f33758-bd69-4951-8148-181de3b92474" providerId="ADAL" clId="{A436842E-EA5C-4A6D-B51D-DDAE8BC6E9BD}" dt="2023-11-08T22:34:52.334" v="85817" actId="20577"/>
        <pc:sldMkLst>
          <pc:docMk/>
          <pc:sldMk cId="2163110923" sldId="342"/>
        </pc:sldMkLst>
        <pc:spChg chg="mod">
          <ac:chgData name="Tan, Roger" userId="f6f33758-bd69-4951-8148-181de3b92474" providerId="ADAL" clId="{A436842E-EA5C-4A6D-B51D-DDAE8BC6E9BD}" dt="2023-11-08T22:34:52.334" v="85817" actId="20577"/>
          <ac:spMkLst>
            <pc:docMk/>
            <pc:sldMk cId="2163110923" sldId="342"/>
            <ac:spMk id="73" creationId="{E39B8983-DE77-65AC-6602-2C0D36B40C71}"/>
          </ac:spMkLst>
        </pc:spChg>
        <pc:graphicFrameChg chg="mod">
          <ac:chgData name="Tan, Roger" userId="f6f33758-bd69-4951-8148-181de3b92474" providerId="ADAL" clId="{A436842E-EA5C-4A6D-B51D-DDAE8BC6E9BD}" dt="2023-11-08T05:40:08.710" v="76884"/>
          <ac:graphicFrameMkLst>
            <pc:docMk/>
            <pc:sldMk cId="2163110923" sldId="342"/>
            <ac:graphicFrameMk id="4" creationId="{FD4A65FB-339A-B2BC-4155-257FFC3BBBB9}"/>
          </ac:graphicFrameMkLst>
        </pc:graphicFrameChg>
      </pc:sldChg>
      <pc:sldChg chg="addSp delSp modSp add del mod modTransition modClrScheme modShow chgLayout">
        <pc:chgData name="Tan, Roger" userId="f6f33758-bd69-4951-8148-181de3b92474" providerId="ADAL" clId="{A436842E-EA5C-4A6D-B51D-DDAE8BC6E9BD}" dt="2023-11-07T19:26:55.099" v="75865" actId="47"/>
        <pc:sldMkLst>
          <pc:docMk/>
          <pc:sldMk cId="3691889776" sldId="343"/>
        </pc:sldMkLst>
        <pc:spChg chg="add del mod modVis">
          <ac:chgData name="Tan, Roger" userId="f6f33758-bd69-4951-8148-181de3b92474" providerId="ADAL" clId="{A436842E-EA5C-4A6D-B51D-DDAE8BC6E9BD}" dt="2023-11-05T03:10:49.614" v="99"/>
          <ac:spMkLst>
            <pc:docMk/>
            <pc:sldMk cId="3691889776" sldId="343"/>
            <ac:spMk id="4" creationId="{74A9F38B-FF3A-8993-0B37-987E90E26DC4}"/>
          </ac:spMkLst>
        </pc:spChg>
        <pc:spChg chg="mod">
          <ac:chgData name="Tan, Roger" userId="f6f33758-bd69-4951-8148-181de3b92474" providerId="ADAL" clId="{A436842E-EA5C-4A6D-B51D-DDAE8BC6E9BD}" dt="2023-11-05T03:10:54.862" v="120"/>
          <ac:spMkLst>
            <pc:docMk/>
            <pc:sldMk cId="3691889776" sldId="343"/>
            <ac:spMk id="17" creationId="{83D8F380-3B49-E6D4-0802-6D4922AD150E}"/>
          </ac:spMkLst>
        </pc:spChg>
        <pc:spChg chg="mod">
          <ac:chgData name="Tan, Roger" userId="f6f33758-bd69-4951-8148-181de3b92474" providerId="ADAL" clId="{A436842E-EA5C-4A6D-B51D-DDAE8BC6E9BD}" dt="2023-11-05T03:10:52.411" v="111"/>
          <ac:spMkLst>
            <pc:docMk/>
            <pc:sldMk cId="3691889776" sldId="343"/>
            <ac:spMk id="20" creationId="{AB930219-4A48-DEF0-AE52-570BFDB1948F}"/>
          </ac:spMkLst>
        </pc:spChg>
        <pc:spChg chg="mod">
          <ac:chgData name="Tan, Roger" userId="f6f33758-bd69-4951-8148-181de3b92474" providerId="ADAL" clId="{A436842E-EA5C-4A6D-B51D-DDAE8BC6E9BD}" dt="2023-11-05T03:10:54.869" v="129"/>
          <ac:spMkLst>
            <pc:docMk/>
            <pc:sldMk cId="3691889776" sldId="343"/>
            <ac:spMk id="61" creationId="{4E9DEBED-3FBB-BBD2-CED6-0F25DDE4D20C}"/>
          </ac:spMkLst>
        </pc:spChg>
        <pc:spChg chg="mod">
          <ac:chgData name="Tan, Roger" userId="f6f33758-bd69-4951-8148-181de3b92474" providerId="ADAL" clId="{A436842E-EA5C-4A6D-B51D-DDAE8BC6E9BD}" dt="2023-11-05T03:10:54.871" v="133"/>
          <ac:spMkLst>
            <pc:docMk/>
            <pc:sldMk cId="3691889776" sldId="343"/>
            <ac:spMk id="63" creationId="{B3526834-F29D-322D-8656-3256FC3246BD}"/>
          </ac:spMkLst>
        </pc:spChg>
        <pc:spChg chg="mod">
          <ac:chgData name="Tan, Roger" userId="f6f33758-bd69-4951-8148-181de3b92474" providerId="ADAL" clId="{A436842E-EA5C-4A6D-B51D-DDAE8BC6E9BD}" dt="2023-11-05T22:14:03.022" v="11750" actId="207"/>
          <ac:spMkLst>
            <pc:docMk/>
            <pc:sldMk cId="3691889776" sldId="343"/>
            <ac:spMk id="219" creationId="{CD06FDE8-A56D-11DA-B974-2BB817B526D9}"/>
          </ac:spMkLst>
        </pc:spChg>
        <pc:graphicFrameChg chg="mod">
          <ac:chgData name="Tan, Roger" userId="f6f33758-bd69-4951-8148-181de3b92474" providerId="ADAL" clId="{A436842E-EA5C-4A6D-B51D-DDAE8BC6E9BD}" dt="2023-11-05T03:10:54.877" v="137"/>
          <ac:graphicFrameMkLst>
            <pc:docMk/>
            <pc:sldMk cId="3691889776" sldId="343"/>
            <ac:graphicFrameMk id="8" creationId="{7C2468B8-94B3-1E45-C5D3-2E4C64205350}"/>
          </ac:graphicFrameMkLst>
        </pc:graphicFrameChg>
      </pc:sldChg>
      <pc:sldChg chg="addSp delSp modSp add mod ord modTransition modClrScheme modShow chgLayout modNotesTx">
        <pc:chgData name="Tan, Roger" userId="f6f33758-bd69-4951-8148-181de3b92474" providerId="ADAL" clId="{A436842E-EA5C-4A6D-B51D-DDAE8BC6E9BD}" dt="2023-11-08T22:16:30.442" v="81322"/>
        <pc:sldMkLst>
          <pc:docMk/>
          <pc:sldMk cId="49457783" sldId="344"/>
        </pc:sldMkLst>
        <pc:spChg chg="del mod">
          <ac:chgData name="Tan, Roger" userId="f6f33758-bd69-4951-8148-181de3b92474" providerId="ADAL" clId="{A436842E-EA5C-4A6D-B51D-DDAE8BC6E9BD}" dt="2023-11-07T17:09:42.319" v="73418" actId="478"/>
          <ac:spMkLst>
            <pc:docMk/>
            <pc:sldMk cId="49457783" sldId="344"/>
            <ac:spMk id="2" creationId="{496E9A5C-AC7F-EC41-F04F-873EB24E5193}"/>
          </ac:spMkLst>
        </pc:spChg>
        <pc:spChg chg="add del mod">
          <ac:chgData name="Tan, Roger" userId="f6f33758-bd69-4951-8148-181de3b92474" providerId="ADAL" clId="{A436842E-EA5C-4A6D-B51D-DDAE8BC6E9BD}" dt="2023-11-08T21:56:28.464" v="81115" actId="478"/>
          <ac:spMkLst>
            <pc:docMk/>
            <pc:sldMk cId="49457783" sldId="344"/>
            <ac:spMk id="2" creationId="{6791B063-629D-768A-A8E7-90364F61B467}"/>
          </ac:spMkLst>
        </pc:spChg>
        <pc:spChg chg="add mod">
          <ac:chgData name="Tan, Roger" userId="f6f33758-bd69-4951-8148-181de3b92474" providerId="ADAL" clId="{A436842E-EA5C-4A6D-B51D-DDAE8BC6E9BD}" dt="2023-11-05T05:51:53.920" v="6314" actId="122"/>
          <ac:spMkLst>
            <pc:docMk/>
            <pc:sldMk cId="49457783" sldId="344"/>
            <ac:spMk id="4" creationId="{E0CC89F0-C4F6-5E89-7129-09EE380CF4BC}"/>
          </ac:spMkLst>
        </pc:spChg>
        <pc:spChg chg="mod">
          <ac:chgData name="Tan, Roger" userId="f6f33758-bd69-4951-8148-181de3b92474" providerId="ADAL" clId="{A436842E-EA5C-4A6D-B51D-DDAE8BC6E9BD}" dt="2023-11-06T21:30:08.038" v="37123" actId="20577"/>
          <ac:spMkLst>
            <pc:docMk/>
            <pc:sldMk cId="49457783" sldId="344"/>
            <ac:spMk id="10" creationId="{3C1825B9-F36E-6F0B-687F-5D114E0AE34C}"/>
          </ac:spMkLst>
        </pc:spChg>
        <pc:spChg chg="mod">
          <ac:chgData name="Tan, Roger" userId="f6f33758-bd69-4951-8148-181de3b92474" providerId="ADAL" clId="{A436842E-EA5C-4A6D-B51D-DDAE8BC6E9BD}" dt="2023-11-06T21:30:58.864" v="37164" actId="122"/>
          <ac:spMkLst>
            <pc:docMk/>
            <pc:sldMk cId="49457783" sldId="344"/>
            <ac:spMk id="25" creationId="{3DFC44EE-F84D-5404-658E-4E05D00F82D7}"/>
          </ac:spMkLst>
        </pc:spChg>
        <pc:spChg chg="mod">
          <ac:chgData name="Tan, Roger" userId="f6f33758-bd69-4951-8148-181de3b92474" providerId="ADAL" clId="{A436842E-EA5C-4A6D-B51D-DDAE8BC6E9BD}" dt="2023-11-06T21:31:00.383" v="37166" actId="122"/>
          <ac:spMkLst>
            <pc:docMk/>
            <pc:sldMk cId="49457783" sldId="344"/>
            <ac:spMk id="31" creationId="{3B4E6770-051A-D755-60FC-7B4279F7E3F0}"/>
          </ac:spMkLst>
        </pc:spChg>
        <pc:spChg chg="mod">
          <ac:chgData name="Tan, Roger" userId="f6f33758-bd69-4951-8148-181de3b92474" providerId="ADAL" clId="{A436842E-EA5C-4A6D-B51D-DDAE8BC6E9BD}" dt="2023-11-06T21:30:55.761" v="37162" actId="122"/>
          <ac:spMkLst>
            <pc:docMk/>
            <pc:sldMk cId="49457783" sldId="344"/>
            <ac:spMk id="37" creationId="{2ED0D2F0-2EEA-8D05-749B-8A7318132E7A}"/>
          </ac:spMkLst>
        </pc:spChg>
        <pc:spChg chg="add mod">
          <ac:chgData name="Tan, Roger" userId="f6f33758-bd69-4951-8148-181de3b92474" providerId="ADAL" clId="{A436842E-EA5C-4A6D-B51D-DDAE8BC6E9BD}" dt="2023-11-07T17:10:17.813" v="73447" actId="20577"/>
          <ac:spMkLst>
            <pc:docMk/>
            <pc:sldMk cId="49457783" sldId="344"/>
            <ac:spMk id="41" creationId="{9FC13BF8-0D75-BD8C-E404-69F40533ADC3}"/>
          </ac:spMkLst>
        </pc:spChg>
        <pc:spChg chg="add mod">
          <ac:chgData name="Tan, Roger" userId="f6f33758-bd69-4951-8148-181de3b92474" providerId="ADAL" clId="{A436842E-EA5C-4A6D-B51D-DDAE8BC6E9BD}" dt="2023-11-08T05:27:47.815" v="76874" actId="313"/>
          <ac:spMkLst>
            <pc:docMk/>
            <pc:sldMk cId="49457783" sldId="344"/>
            <ac:spMk id="43" creationId="{F6BA117E-0D70-68CA-6A6D-B143D18A241E}"/>
          </ac:spMkLst>
        </pc:spChg>
        <pc:spChg chg="mod ord">
          <ac:chgData name="Tan, Roger" userId="f6f33758-bd69-4951-8148-181de3b92474" providerId="ADAL" clId="{A436842E-EA5C-4A6D-B51D-DDAE8BC6E9BD}" dt="2023-11-08T08:51:13.273" v="77385"/>
          <ac:spMkLst>
            <pc:docMk/>
            <pc:sldMk cId="49457783" sldId="344"/>
            <ac:spMk id="45" creationId="{4904AC68-898C-21FE-B3D4-11DD68B011C1}"/>
          </ac:spMkLst>
        </pc:spChg>
        <pc:spChg chg="add mod">
          <ac:chgData name="Tan, Roger" userId="f6f33758-bd69-4951-8148-181de3b92474" providerId="ADAL" clId="{A436842E-EA5C-4A6D-B51D-DDAE8BC6E9BD}" dt="2023-11-08T22:16:30.442" v="81322"/>
          <ac:spMkLst>
            <pc:docMk/>
            <pc:sldMk cId="49457783" sldId="344"/>
            <ac:spMk id="47" creationId="{E7770F11-58A8-9CD4-DF7C-1F5447DD9CB7}"/>
          </ac:spMkLst>
        </pc:spChg>
        <pc:graphicFrameChg chg="mod">
          <ac:chgData name="Tan, Roger" userId="f6f33758-bd69-4951-8148-181de3b92474" providerId="ADAL" clId="{A436842E-EA5C-4A6D-B51D-DDAE8BC6E9BD}" dt="2023-11-08T06:37:21.688" v="77314"/>
          <ac:graphicFrameMkLst>
            <pc:docMk/>
            <pc:sldMk cId="49457783" sldId="344"/>
            <ac:graphicFrameMk id="14" creationId="{17A90CED-A26D-EE3C-D1E0-6B7BEBBD1632}"/>
          </ac:graphicFrameMkLst>
        </pc:graphicFrameChg>
        <pc:picChg chg="add del mod">
          <ac:chgData name="Tan, Roger" userId="f6f33758-bd69-4951-8148-181de3b92474" providerId="ADAL" clId="{A436842E-EA5C-4A6D-B51D-DDAE8BC6E9BD}" dt="2023-11-05T21:59:36.880" v="11059" actId="478"/>
          <ac:picMkLst>
            <pc:docMk/>
            <pc:sldMk cId="49457783" sldId="344"/>
            <ac:picMk id="8" creationId="{D4537D4B-4036-9B93-F658-7A01AA8A8D6C}"/>
          </ac:picMkLst>
        </pc:picChg>
        <pc:picChg chg="add del mod">
          <ac:chgData name="Tan, Roger" userId="f6f33758-bd69-4951-8148-181de3b92474" providerId="ADAL" clId="{A436842E-EA5C-4A6D-B51D-DDAE8BC6E9BD}" dt="2023-11-05T22:01:26.562" v="11080" actId="478"/>
          <ac:picMkLst>
            <pc:docMk/>
            <pc:sldMk cId="49457783" sldId="344"/>
            <ac:picMk id="13" creationId="{640242F8-4147-8BF1-2A67-D666AB2D6344}"/>
          </ac:picMkLst>
        </pc:picChg>
        <pc:picChg chg="add del mod">
          <ac:chgData name="Tan, Roger" userId="f6f33758-bd69-4951-8148-181de3b92474" providerId="ADAL" clId="{A436842E-EA5C-4A6D-B51D-DDAE8BC6E9BD}" dt="2023-11-05T22:02:57.008" v="11419" actId="1076"/>
          <ac:picMkLst>
            <pc:docMk/>
            <pc:sldMk cId="49457783" sldId="344"/>
            <ac:picMk id="40" creationId="{39E42094-2FD5-339E-6E26-6FBB423DB584}"/>
          </ac:picMkLst>
        </pc:picChg>
        <pc:picChg chg="add mod">
          <ac:chgData name="Tan, Roger" userId="f6f33758-bd69-4951-8148-181de3b92474" providerId="ADAL" clId="{A436842E-EA5C-4A6D-B51D-DDAE8BC6E9BD}" dt="2023-11-05T22:04:15.921" v="11502" actId="14861"/>
          <ac:picMkLst>
            <pc:docMk/>
            <pc:sldMk cId="49457783" sldId="344"/>
            <ac:picMk id="42" creationId="{443C3472-489D-9577-2FBA-39411F22784F}"/>
          </ac:picMkLst>
        </pc:picChg>
        <pc:picChg chg="add mod">
          <ac:chgData name="Tan, Roger" userId="f6f33758-bd69-4951-8148-181de3b92474" providerId="ADAL" clId="{A436842E-EA5C-4A6D-B51D-DDAE8BC6E9BD}" dt="2023-11-05T22:05:24.156" v="11550" actId="1076"/>
          <ac:picMkLst>
            <pc:docMk/>
            <pc:sldMk cId="49457783" sldId="344"/>
            <ac:picMk id="44" creationId="{8423AAEE-F23C-4B5F-3547-A09630556690}"/>
          </ac:picMkLst>
        </pc:picChg>
        <pc:picChg chg="add mod">
          <ac:chgData name="Tan, Roger" userId="f6f33758-bd69-4951-8148-181de3b92474" providerId="ADAL" clId="{A436842E-EA5C-4A6D-B51D-DDAE8BC6E9BD}" dt="2023-11-05T22:06:37.954" v="11655" actId="1076"/>
          <ac:picMkLst>
            <pc:docMk/>
            <pc:sldMk cId="49457783" sldId="344"/>
            <ac:picMk id="46" creationId="{403B38AF-FD26-6177-E1AF-C59427D091C7}"/>
          </ac:picMkLst>
        </pc:picChg>
        <pc:picChg chg="add mod">
          <ac:chgData name="Tan, Roger" userId="f6f33758-bd69-4951-8148-181de3b92474" providerId="ADAL" clId="{A436842E-EA5C-4A6D-B51D-DDAE8BC6E9BD}" dt="2023-11-05T22:07:50.795" v="11711" actId="1076"/>
          <ac:picMkLst>
            <pc:docMk/>
            <pc:sldMk cId="49457783" sldId="344"/>
            <ac:picMk id="48" creationId="{A7F37ADC-8855-109E-DE27-115765856A82}"/>
          </ac:picMkLst>
        </pc:picChg>
        <pc:picChg chg="del mod">
          <ac:chgData name="Tan, Roger" userId="f6f33758-bd69-4951-8148-181de3b92474" providerId="ADAL" clId="{A436842E-EA5C-4A6D-B51D-DDAE8BC6E9BD}" dt="2023-11-05T22:05:55.624" v="11554" actId="478"/>
          <ac:picMkLst>
            <pc:docMk/>
            <pc:sldMk cId="49457783" sldId="344"/>
            <ac:picMk id="2056" creationId="{3382399D-30D6-E135-ED35-DFD22FE5BE27}"/>
          </ac:picMkLst>
        </pc:picChg>
        <pc:picChg chg="del mod">
          <ac:chgData name="Tan, Roger" userId="f6f33758-bd69-4951-8148-181de3b92474" providerId="ADAL" clId="{A436842E-EA5C-4A6D-B51D-DDAE8BC6E9BD}" dt="2023-11-05T22:00:32.254" v="11061" actId="478"/>
          <ac:picMkLst>
            <pc:docMk/>
            <pc:sldMk cId="49457783" sldId="344"/>
            <ac:picMk id="2058" creationId="{7AD65901-8179-9FC1-2114-91DA98739214}"/>
          </ac:picMkLst>
        </pc:picChg>
        <pc:picChg chg="del mod">
          <ac:chgData name="Tan, Roger" userId="f6f33758-bd69-4951-8148-181de3b92474" providerId="ADAL" clId="{A436842E-EA5C-4A6D-B51D-DDAE8BC6E9BD}" dt="2023-11-05T22:04:47.760" v="11508" actId="478"/>
          <ac:picMkLst>
            <pc:docMk/>
            <pc:sldMk cId="49457783" sldId="344"/>
            <ac:picMk id="2060" creationId="{88795C24-7348-54C3-F451-7DF200EE6BAA}"/>
          </ac:picMkLst>
        </pc:picChg>
        <pc:picChg chg="del mod">
          <ac:chgData name="Tan, Roger" userId="f6f33758-bd69-4951-8148-181de3b92474" providerId="ADAL" clId="{A436842E-EA5C-4A6D-B51D-DDAE8BC6E9BD}" dt="2023-11-05T22:03:42.927" v="11422" actId="478"/>
          <ac:picMkLst>
            <pc:docMk/>
            <pc:sldMk cId="49457783" sldId="344"/>
            <ac:picMk id="2062" creationId="{12BDCCA1-77A0-5DF1-4ECF-D5FE0AC5E324}"/>
          </ac:picMkLst>
        </pc:picChg>
        <pc:picChg chg="del mod">
          <ac:chgData name="Tan, Roger" userId="f6f33758-bd69-4951-8148-181de3b92474" providerId="ADAL" clId="{A436842E-EA5C-4A6D-B51D-DDAE8BC6E9BD}" dt="2023-11-05T22:07:10.624" v="11658" actId="478"/>
          <ac:picMkLst>
            <pc:docMk/>
            <pc:sldMk cId="49457783" sldId="344"/>
            <ac:picMk id="2064" creationId="{72A8A447-6A62-EE35-B4AC-E57D467A2FD9}"/>
          </ac:picMkLst>
        </pc:picChg>
        <pc:cxnChg chg="add mod">
          <ac:chgData name="Tan, Roger" userId="f6f33758-bd69-4951-8148-181de3b92474" providerId="ADAL" clId="{A436842E-EA5C-4A6D-B51D-DDAE8BC6E9BD}" dt="2023-11-08T06:37:21.178" v="77310" actId="1035"/>
          <ac:cxnSpMkLst>
            <pc:docMk/>
            <pc:sldMk cId="49457783" sldId="344"/>
            <ac:cxnSpMk id="3" creationId="{42A6DAAF-249B-6510-8BA0-2A01B667B914}"/>
          </ac:cxnSpMkLst>
        </pc:cxnChg>
        <pc:cxnChg chg="add mod">
          <ac:chgData name="Tan, Roger" userId="f6f33758-bd69-4951-8148-181de3b92474" providerId="ADAL" clId="{A436842E-EA5C-4A6D-B51D-DDAE8BC6E9BD}" dt="2023-11-08T06:37:21.178" v="77310" actId="1035"/>
          <ac:cxnSpMkLst>
            <pc:docMk/>
            <pc:sldMk cId="49457783" sldId="344"/>
            <ac:cxnSpMk id="8" creationId="{CE38E98D-A47B-1E56-4EE0-7EAA8872D949}"/>
          </ac:cxnSpMkLst>
        </pc:cxnChg>
        <pc:cxnChg chg="mod">
          <ac:chgData name="Tan, Roger" userId="f6f33758-bd69-4951-8148-181de3b92474" providerId="ADAL" clId="{A436842E-EA5C-4A6D-B51D-DDAE8BC6E9BD}" dt="2023-11-08T06:37:21.178" v="77310" actId="1035"/>
          <ac:cxnSpMkLst>
            <pc:docMk/>
            <pc:sldMk cId="49457783" sldId="344"/>
            <ac:cxnSpMk id="12" creationId="{47C35336-465E-4B6D-F294-136B2A89D00A}"/>
          </ac:cxnSpMkLst>
        </pc:cxnChg>
        <pc:cxnChg chg="add mod">
          <ac:chgData name="Tan, Roger" userId="f6f33758-bd69-4951-8148-181de3b92474" providerId="ADAL" clId="{A436842E-EA5C-4A6D-B51D-DDAE8BC6E9BD}" dt="2023-11-08T06:37:21.178" v="77310" actId="1035"/>
          <ac:cxnSpMkLst>
            <pc:docMk/>
            <pc:sldMk cId="49457783" sldId="344"/>
            <ac:cxnSpMk id="13" creationId="{FA45D414-358C-8D80-2170-9AF0691AEBBD}"/>
          </ac:cxnSpMkLst>
        </pc:cxnChg>
        <pc:cxnChg chg="add mod">
          <ac:chgData name="Tan, Roger" userId="f6f33758-bd69-4951-8148-181de3b92474" providerId="ADAL" clId="{A436842E-EA5C-4A6D-B51D-DDAE8BC6E9BD}" dt="2023-11-08T06:37:21.178" v="77310" actId="1035"/>
          <ac:cxnSpMkLst>
            <pc:docMk/>
            <pc:sldMk cId="49457783" sldId="344"/>
            <ac:cxnSpMk id="39" creationId="{EC5FFFD9-84A8-7DD0-1D61-50DA69C018D3}"/>
          </ac:cxnSpMkLst>
        </pc:cxnChg>
      </pc:sldChg>
      <pc:sldChg chg="addSp delSp modSp add mod ord modTransition modClrScheme modShow chgLayout">
        <pc:chgData name="Tan, Roger" userId="f6f33758-bd69-4951-8148-181de3b92474" providerId="ADAL" clId="{A436842E-EA5C-4A6D-B51D-DDAE8BC6E9BD}" dt="2023-11-08T22:16:31.512" v="81323"/>
        <pc:sldMkLst>
          <pc:docMk/>
          <pc:sldMk cId="3203526670" sldId="345"/>
        </pc:sldMkLst>
        <pc:spChg chg="add del mod">
          <ac:chgData name="Tan, Roger" userId="f6f33758-bd69-4951-8148-181de3b92474" providerId="ADAL" clId="{A436842E-EA5C-4A6D-B51D-DDAE8BC6E9BD}" dt="2023-11-08T21:56:29.875" v="81116" actId="478"/>
          <ac:spMkLst>
            <pc:docMk/>
            <pc:sldMk cId="3203526670" sldId="345"/>
            <ac:spMk id="3" creationId="{63FC7670-111E-4B7E-6CA1-C7B080919DE2}"/>
          </ac:spMkLst>
        </pc:spChg>
        <pc:spChg chg="mod">
          <ac:chgData name="Tan, Roger" userId="f6f33758-bd69-4951-8148-181de3b92474" providerId="ADAL" clId="{A436842E-EA5C-4A6D-B51D-DDAE8BC6E9BD}" dt="2023-11-08T17:40:32.913" v="77912" actId="20577"/>
          <ac:spMkLst>
            <pc:docMk/>
            <pc:sldMk cId="3203526670" sldId="345"/>
            <ac:spMk id="4" creationId="{81D2832F-70CB-55FD-FEDF-22EA36D5525D}"/>
          </ac:spMkLst>
        </pc:spChg>
        <pc:spChg chg="add mod">
          <ac:chgData name="Tan, Roger" userId="f6f33758-bd69-4951-8148-181de3b92474" providerId="ADAL" clId="{A436842E-EA5C-4A6D-B51D-DDAE8BC6E9BD}" dt="2023-11-08T22:16:31.512" v="81323"/>
          <ac:spMkLst>
            <pc:docMk/>
            <pc:sldMk cId="3203526670" sldId="345"/>
            <ac:spMk id="6" creationId="{EF351290-4445-6CDC-9195-2FA2315F6D3F}"/>
          </ac:spMkLst>
        </pc:spChg>
        <pc:picChg chg="del mod">
          <ac:chgData name="Tan, Roger" userId="f6f33758-bd69-4951-8148-181de3b92474" providerId="ADAL" clId="{A436842E-EA5C-4A6D-B51D-DDAE8BC6E9BD}" dt="2023-11-05T05:57:06.957" v="6316" actId="478"/>
          <ac:picMkLst>
            <pc:docMk/>
            <pc:sldMk cId="3203526670" sldId="345"/>
            <ac:picMk id="3" creationId="{CAECE8CA-AD9C-2A44-F535-9162CEEBB020}"/>
          </ac:picMkLst>
        </pc:picChg>
        <pc:picChg chg="add mod">
          <ac:chgData name="Tan, Roger" userId="f6f33758-bd69-4951-8148-181de3b92474" providerId="ADAL" clId="{A436842E-EA5C-4A6D-B51D-DDAE8BC6E9BD}" dt="2023-11-05T05:57:14.201" v="6320" actId="1076"/>
          <ac:picMkLst>
            <pc:docMk/>
            <pc:sldMk cId="3203526670" sldId="345"/>
            <ac:picMk id="5" creationId="{0FAAF111-4F34-542D-85B6-56E01378333F}"/>
          </ac:picMkLst>
        </pc:picChg>
      </pc:sldChg>
      <pc:sldChg chg="addSp delSp modSp add mod ord modClrScheme chgLayout">
        <pc:chgData name="Tan, Roger" userId="f6f33758-bd69-4951-8148-181de3b92474" providerId="ADAL" clId="{A436842E-EA5C-4A6D-B51D-DDAE8BC6E9BD}" dt="2023-11-08T22:27:38.177" v="84770"/>
        <pc:sldMkLst>
          <pc:docMk/>
          <pc:sldMk cId="401544748" sldId="346"/>
        </pc:sldMkLst>
        <pc:spChg chg="add del mod modVis">
          <ac:chgData name="Tan, Roger" userId="f6f33758-bd69-4951-8148-181de3b92474" providerId="ADAL" clId="{A436842E-EA5C-4A6D-B51D-DDAE8BC6E9BD}" dt="2023-11-08T22:27:24.336" v="84216"/>
          <ac:spMkLst>
            <pc:docMk/>
            <pc:sldMk cId="401544748" sldId="346"/>
            <ac:spMk id="2" creationId="{A298F9E7-964F-5375-7429-DD92399D79A4}"/>
          </ac:spMkLst>
        </pc:spChg>
        <pc:spChg chg="add del mod modVis">
          <ac:chgData name="Tan, Roger" userId="f6f33758-bd69-4951-8148-181de3b92474" providerId="ADAL" clId="{A436842E-EA5C-4A6D-B51D-DDAE8BC6E9BD}" dt="2023-11-05T04:05:42.490" v="4227"/>
          <ac:spMkLst>
            <pc:docMk/>
            <pc:sldMk cId="401544748" sldId="346"/>
            <ac:spMk id="2" creationId="{D57A58E5-207F-26F8-3153-FD0CCF1DE5AB}"/>
          </ac:spMkLst>
        </pc:spChg>
        <pc:spChg chg="add del mod">
          <ac:chgData name="Tan, Roger" userId="f6f33758-bd69-4951-8148-181de3b92474" providerId="ADAL" clId="{A436842E-EA5C-4A6D-B51D-DDAE8BC6E9BD}" dt="2023-11-07T17:03:10.878" v="73370" actId="478"/>
          <ac:spMkLst>
            <pc:docMk/>
            <pc:sldMk cId="401544748" sldId="346"/>
            <ac:spMk id="2" creationId="{E288BF23-4F9F-8C9F-0497-CD31C94D3106}"/>
          </ac:spMkLst>
        </pc:spChg>
        <pc:spChg chg="add del mod replST">
          <ac:chgData name="Tan, Roger" userId="f6f33758-bd69-4951-8148-181de3b92474" providerId="ADAL" clId="{A436842E-EA5C-4A6D-B51D-DDAE8BC6E9BD}" dt="2023-11-05T04:05:44.006" v="4278"/>
          <ac:spMkLst>
            <pc:docMk/>
            <pc:sldMk cId="401544748" sldId="346"/>
            <ac:spMk id="3" creationId="{792C2221-13D7-9D20-17BF-B7A50B2FF0E7}"/>
          </ac:spMkLst>
        </pc:spChg>
        <pc:spChg chg="add mod ord">
          <ac:chgData name="Tan, Roger" userId="f6f33758-bd69-4951-8148-181de3b92474" providerId="ADAL" clId="{A436842E-EA5C-4A6D-B51D-DDAE8BC6E9BD}" dt="2023-11-08T22:27:38.168" v="84760"/>
          <ac:spMkLst>
            <pc:docMk/>
            <pc:sldMk cId="401544748" sldId="346"/>
            <ac:spMk id="4" creationId="{A475C14E-5BD0-1083-84FF-F5B55DA7016D}"/>
          </ac:spMkLst>
        </pc:spChg>
        <pc:spChg chg="mod">
          <ac:chgData name="Tan, Roger" userId="f6f33758-bd69-4951-8148-181de3b92474" providerId="ADAL" clId="{A436842E-EA5C-4A6D-B51D-DDAE8BC6E9BD}" dt="2023-11-08T22:27:38.162" v="84744"/>
          <ac:spMkLst>
            <pc:docMk/>
            <pc:sldMk cId="401544748" sldId="346"/>
            <ac:spMk id="5" creationId="{46132551-68DC-0999-BFEB-5647844CDDA6}"/>
          </ac:spMkLst>
        </pc:spChg>
        <pc:spChg chg="add del mod">
          <ac:chgData name="Tan, Roger" userId="f6f33758-bd69-4951-8148-181de3b92474" providerId="ADAL" clId="{A436842E-EA5C-4A6D-B51D-DDAE8BC6E9BD}" dt="2023-11-07T07:13:57.305" v="58112" actId="478"/>
          <ac:spMkLst>
            <pc:docMk/>
            <pc:sldMk cId="401544748" sldId="346"/>
            <ac:spMk id="6" creationId="{0424AD17-DC0B-CB9D-5EA1-8F2C535DFD8F}"/>
          </ac:spMkLst>
        </pc:spChg>
        <pc:spChg chg="add del mod">
          <ac:chgData name="Tan, Roger" userId="f6f33758-bd69-4951-8148-181de3b92474" providerId="ADAL" clId="{A436842E-EA5C-4A6D-B51D-DDAE8BC6E9BD}" dt="2023-11-07T17:03:09.258" v="73369"/>
          <ac:spMkLst>
            <pc:docMk/>
            <pc:sldMk cId="401544748" sldId="346"/>
            <ac:spMk id="6" creationId="{5147B04B-6516-8CE2-9DB7-B05250E3A23A}"/>
          </ac:spMkLst>
        </pc:spChg>
        <pc:spChg chg="add del mod replST">
          <ac:chgData name="Tan, Roger" userId="f6f33758-bd69-4951-8148-181de3b92474" providerId="ADAL" clId="{A436842E-EA5C-4A6D-B51D-DDAE8BC6E9BD}" dt="2023-11-08T22:27:25.082" v="84274"/>
          <ac:spMkLst>
            <pc:docMk/>
            <pc:sldMk cId="401544748" sldId="346"/>
            <ac:spMk id="6" creationId="{60CA2B68-34CF-87A8-A6D8-148A6A651024}"/>
          </ac:spMkLst>
        </pc:spChg>
        <pc:spChg chg="add del mod modVis">
          <ac:chgData name="Tan, Roger" userId="f6f33758-bd69-4951-8148-181de3b92474" providerId="ADAL" clId="{A436842E-EA5C-4A6D-B51D-DDAE8BC6E9BD}" dt="2023-11-05T04:05:44.045" v="4320"/>
          <ac:spMkLst>
            <pc:docMk/>
            <pc:sldMk cId="401544748" sldId="346"/>
            <ac:spMk id="6" creationId="{8B474A73-45C5-24AA-55B5-EE383008FE40}"/>
          </ac:spMkLst>
        </pc:spChg>
        <pc:spChg chg="add del mod replST">
          <ac:chgData name="Tan, Roger" userId="f6f33758-bd69-4951-8148-181de3b92474" providerId="ADAL" clId="{A436842E-EA5C-4A6D-B51D-DDAE8BC6E9BD}" dt="2023-11-08T22:27:25.082" v="84275"/>
          <ac:spMkLst>
            <pc:docMk/>
            <pc:sldMk cId="401544748" sldId="346"/>
            <ac:spMk id="7" creationId="{3A532073-A9F2-8431-7AAC-32134BF4E54C}"/>
          </ac:spMkLst>
        </pc:spChg>
        <pc:spChg chg="add del mod ord">
          <ac:chgData name="Tan, Roger" userId="f6f33758-bd69-4951-8148-181de3b92474" providerId="ADAL" clId="{A436842E-EA5C-4A6D-B51D-DDAE8BC6E9BD}" dt="2023-11-08T01:29:25.875" v="76206" actId="478"/>
          <ac:spMkLst>
            <pc:docMk/>
            <pc:sldMk cId="401544748" sldId="346"/>
            <ac:spMk id="7" creationId="{744C6549-A907-4E14-D14F-861923302CF6}"/>
          </ac:spMkLst>
        </pc:spChg>
        <pc:spChg chg="add del mod modVis">
          <ac:chgData name="Tan, Roger" userId="f6f33758-bd69-4951-8148-181de3b92474" providerId="ADAL" clId="{A436842E-EA5C-4A6D-B51D-DDAE8BC6E9BD}" dt="2023-11-05T04:09:24.161" v="4691"/>
          <ac:spMkLst>
            <pc:docMk/>
            <pc:sldMk cId="401544748" sldId="346"/>
            <ac:spMk id="8" creationId="{0D06353C-8E69-A729-7656-A7F5F42E7902}"/>
          </ac:spMkLst>
        </pc:spChg>
        <pc:spChg chg="add del mod replST">
          <ac:chgData name="Tan, Roger" userId="f6f33758-bd69-4951-8148-181de3b92474" providerId="ADAL" clId="{A436842E-EA5C-4A6D-B51D-DDAE8BC6E9BD}" dt="2023-11-08T22:27:25.083" v="84276"/>
          <ac:spMkLst>
            <pc:docMk/>
            <pc:sldMk cId="401544748" sldId="346"/>
            <ac:spMk id="8" creationId="{6CA4855C-AE3A-D6D2-61C6-21985AC5A932}"/>
          </ac:spMkLst>
        </pc:spChg>
        <pc:spChg chg="add del mod">
          <ac:chgData name="Tan, Roger" userId="f6f33758-bd69-4951-8148-181de3b92474" providerId="ADAL" clId="{A436842E-EA5C-4A6D-B51D-DDAE8BC6E9BD}" dt="2023-11-07T17:08:45.052" v="73406"/>
          <ac:spMkLst>
            <pc:docMk/>
            <pc:sldMk cId="401544748" sldId="346"/>
            <ac:spMk id="8" creationId="{BCBA89EA-6507-B238-8C8A-F92D821DBC30}"/>
          </ac:spMkLst>
        </pc:spChg>
        <pc:spChg chg="add del mod modVis">
          <ac:chgData name="Tan, Roger" userId="f6f33758-bd69-4951-8148-181de3b92474" providerId="ADAL" clId="{A436842E-EA5C-4A6D-B51D-DDAE8BC6E9BD}" dt="2023-11-07T07:17:42.788" v="58370"/>
          <ac:spMkLst>
            <pc:docMk/>
            <pc:sldMk cId="401544748" sldId="346"/>
            <ac:spMk id="9" creationId="{4A93F088-E1EC-56B3-6458-190128F3226B}"/>
          </ac:spMkLst>
        </pc:spChg>
        <pc:spChg chg="add del mod replST">
          <ac:chgData name="Tan, Roger" userId="f6f33758-bd69-4951-8148-181de3b92474" providerId="ADAL" clId="{A436842E-EA5C-4A6D-B51D-DDAE8BC6E9BD}" dt="2023-11-08T22:27:25.084" v="84277"/>
          <ac:spMkLst>
            <pc:docMk/>
            <pc:sldMk cId="401544748" sldId="346"/>
            <ac:spMk id="9" creationId="{AA4B3F73-A6CA-05D2-1BA3-A4F585ABAF83}"/>
          </ac:spMkLst>
        </pc:spChg>
        <pc:spChg chg="add del mod modVis">
          <ac:chgData name="Tan, Roger" userId="f6f33758-bd69-4951-8148-181de3b92474" providerId="ADAL" clId="{A436842E-EA5C-4A6D-B51D-DDAE8BC6E9BD}" dt="2023-11-08T00:41:57.335" v="76027"/>
          <ac:spMkLst>
            <pc:docMk/>
            <pc:sldMk cId="401544748" sldId="346"/>
            <ac:spMk id="9" creationId="{BAC3CE52-B6A7-988B-BFEE-DDA2F5F77ED3}"/>
          </ac:spMkLst>
        </pc:spChg>
        <pc:spChg chg="add del mod modVis">
          <ac:chgData name="Tan, Roger" userId="f6f33758-bd69-4951-8148-181de3b92474" providerId="ADAL" clId="{A436842E-EA5C-4A6D-B51D-DDAE8BC6E9BD}" dt="2023-11-05T04:09:31.239" v="4775"/>
          <ac:spMkLst>
            <pc:docMk/>
            <pc:sldMk cId="401544748" sldId="346"/>
            <ac:spMk id="10" creationId="{2170EBFC-AAA3-2F88-B0F0-958CF3EDA045}"/>
          </ac:spMkLst>
        </pc:spChg>
        <pc:spChg chg="add del mod replST">
          <ac:chgData name="Tan, Roger" userId="f6f33758-bd69-4951-8148-181de3b92474" providerId="ADAL" clId="{A436842E-EA5C-4A6D-B51D-DDAE8BC6E9BD}" dt="2023-11-08T22:27:25.084" v="84278"/>
          <ac:spMkLst>
            <pc:docMk/>
            <pc:sldMk cId="401544748" sldId="346"/>
            <ac:spMk id="10" creationId="{B79483EE-0701-7AA7-9509-9D9CA2D88022}"/>
          </ac:spMkLst>
        </pc:spChg>
        <pc:spChg chg="add mod ord">
          <ac:chgData name="Tan, Roger" userId="f6f33758-bd69-4951-8148-181de3b92474" providerId="ADAL" clId="{A436842E-EA5C-4A6D-B51D-DDAE8BC6E9BD}" dt="2023-11-08T22:27:38.167" v="84756"/>
          <ac:spMkLst>
            <pc:docMk/>
            <pc:sldMk cId="401544748" sldId="346"/>
            <ac:spMk id="13" creationId="{FF49A6A7-5096-8A57-E8B6-6A832E0D61DD}"/>
          </ac:spMkLst>
        </pc:spChg>
        <pc:spChg chg="add del mod replST">
          <ac:chgData name="Tan, Roger" userId="f6f33758-bd69-4951-8148-181de3b92474" providerId="ADAL" clId="{A436842E-EA5C-4A6D-B51D-DDAE8BC6E9BD}" dt="2023-11-08T22:27:25.085" v="84279"/>
          <ac:spMkLst>
            <pc:docMk/>
            <pc:sldMk cId="401544748" sldId="346"/>
            <ac:spMk id="14" creationId="{075FBF31-A455-049B-68FA-5E85610BBF0A}"/>
          </ac:spMkLst>
        </pc:spChg>
        <pc:spChg chg="add del mod">
          <ac:chgData name="Tan, Roger" userId="f6f33758-bd69-4951-8148-181de3b92474" providerId="ADAL" clId="{A436842E-EA5C-4A6D-B51D-DDAE8BC6E9BD}" dt="2023-11-08T01:29:39.068" v="76211" actId="478"/>
          <ac:spMkLst>
            <pc:docMk/>
            <pc:sldMk cId="401544748" sldId="346"/>
            <ac:spMk id="14" creationId="{B6DF9C95-CB55-9472-94EB-2A72230D74AB}"/>
          </ac:spMkLst>
        </pc:spChg>
        <pc:spChg chg="add del mod replST">
          <ac:chgData name="Tan, Roger" userId="f6f33758-bd69-4951-8148-181de3b92474" providerId="ADAL" clId="{A436842E-EA5C-4A6D-B51D-DDAE8BC6E9BD}" dt="2023-11-08T22:27:25.086" v="84280"/>
          <ac:spMkLst>
            <pc:docMk/>
            <pc:sldMk cId="401544748" sldId="346"/>
            <ac:spMk id="15" creationId="{0478076D-5FA1-055D-4039-6EBD3BDBDC27}"/>
          </ac:spMkLst>
        </pc:spChg>
        <pc:spChg chg="mod">
          <ac:chgData name="Tan, Roger" userId="f6f33758-bd69-4951-8148-181de3b92474" providerId="ADAL" clId="{A436842E-EA5C-4A6D-B51D-DDAE8BC6E9BD}" dt="2023-11-08T22:27:38.163" v="84745"/>
          <ac:spMkLst>
            <pc:docMk/>
            <pc:sldMk cId="401544748" sldId="346"/>
            <ac:spMk id="16" creationId="{08B1931D-A14D-5FE8-C968-D2D87FEC32C0}"/>
          </ac:spMkLst>
        </pc:spChg>
        <pc:spChg chg="add del">
          <ac:chgData name="Tan, Roger" userId="f6f33758-bd69-4951-8148-181de3b92474" providerId="ADAL" clId="{A436842E-EA5C-4A6D-B51D-DDAE8BC6E9BD}" dt="2023-11-08T01:29:40.115" v="76214" actId="22"/>
          <ac:spMkLst>
            <pc:docMk/>
            <pc:sldMk cId="401544748" sldId="346"/>
            <ac:spMk id="17" creationId="{15E33B5B-328C-DC2C-7E3D-4FFC3B09BD5A}"/>
          </ac:spMkLst>
        </pc:spChg>
        <pc:spChg chg="add del mod replST">
          <ac:chgData name="Tan, Roger" userId="f6f33758-bd69-4951-8148-181de3b92474" providerId="ADAL" clId="{A436842E-EA5C-4A6D-B51D-DDAE8BC6E9BD}" dt="2023-11-08T22:27:25.086" v="84281"/>
          <ac:spMkLst>
            <pc:docMk/>
            <pc:sldMk cId="401544748" sldId="346"/>
            <ac:spMk id="17" creationId="{A4953223-8300-467E-2E6A-74133F6E26A6}"/>
          </ac:spMkLst>
        </pc:spChg>
        <pc:spChg chg="add del mod modVis">
          <ac:chgData name="Tan, Roger" userId="f6f33758-bd69-4951-8148-181de3b92474" providerId="ADAL" clId="{A436842E-EA5C-4A6D-B51D-DDAE8BC6E9BD}" dt="2023-11-08T22:27:25.139" v="84318"/>
          <ac:spMkLst>
            <pc:docMk/>
            <pc:sldMk cId="401544748" sldId="346"/>
            <ac:spMk id="19" creationId="{58E1313F-82B7-7D71-CEFE-994092B95D07}"/>
          </ac:spMkLst>
        </pc:spChg>
        <pc:spChg chg="add del">
          <ac:chgData name="Tan, Roger" userId="f6f33758-bd69-4951-8148-181de3b92474" providerId="ADAL" clId="{A436842E-EA5C-4A6D-B51D-DDAE8BC6E9BD}" dt="2023-11-08T01:29:41.271" v="76217" actId="22"/>
          <ac:spMkLst>
            <pc:docMk/>
            <pc:sldMk cId="401544748" sldId="346"/>
            <ac:spMk id="19" creationId="{B7FD34A5-5C4E-7CD6-6FFD-26C1314A03C8}"/>
          </ac:spMkLst>
        </pc:spChg>
        <pc:spChg chg="add mod ord">
          <ac:chgData name="Tan, Roger" userId="f6f33758-bd69-4951-8148-181de3b92474" providerId="ADAL" clId="{A436842E-EA5C-4A6D-B51D-DDAE8BC6E9BD}" dt="2023-11-08T22:27:38.169" v="84762"/>
          <ac:spMkLst>
            <pc:docMk/>
            <pc:sldMk cId="401544748" sldId="346"/>
            <ac:spMk id="20" creationId="{71432153-B722-F9BC-327F-679176E1C75A}"/>
          </ac:spMkLst>
        </pc:spChg>
        <pc:spChg chg="mod ord">
          <ac:chgData name="Tan, Roger" userId="f6f33758-bd69-4951-8148-181de3b92474" providerId="ADAL" clId="{A436842E-EA5C-4A6D-B51D-DDAE8BC6E9BD}" dt="2023-11-08T22:27:38.169" v="84764"/>
          <ac:spMkLst>
            <pc:docMk/>
            <pc:sldMk cId="401544748" sldId="346"/>
            <ac:spMk id="21" creationId="{F0A003B1-0E1D-DA18-9583-1748CC0A21C2}"/>
          </ac:spMkLst>
        </pc:spChg>
        <pc:spChg chg="add del mod modVis">
          <ac:chgData name="Tan, Roger" userId="f6f33758-bd69-4951-8148-181de3b92474" providerId="ADAL" clId="{A436842E-EA5C-4A6D-B51D-DDAE8BC6E9BD}" dt="2023-11-08T22:27:30.773" v="84418"/>
          <ac:spMkLst>
            <pc:docMk/>
            <pc:sldMk cId="401544748" sldId="346"/>
            <ac:spMk id="23" creationId="{1141A64C-5AED-795E-72F1-B9D16C790FC0}"/>
          </ac:spMkLst>
        </pc:spChg>
        <pc:spChg chg="add del mod modVis">
          <ac:chgData name="Tan, Roger" userId="f6f33758-bd69-4951-8148-181de3b92474" providerId="ADAL" clId="{A436842E-EA5C-4A6D-B51D-DDAE8BC6E9BD}" dt="2023-11-08T22:27:34.431" v="84505"/>
          <ac:spMkLst>
            <pc:docMk/>
            <pc:sldMk cId="401544748" sldId="346"/>
            <ac:spMk id="25" creationId="{6B08ABCA-38C3-F8C5-866E-7F01712FF482}"/>
          </ac:spMkLst>
        </pc:spChg>
        <pc:spChg chg="mod">
          <ac:chgData name="Tan, Roger" userId="f6f33758-bd69-4951-8148-181de3b92474" providerId="ADAL" clId="{A436842E-EA5C-4A6D-B51D-DDAE8BC6E9BD}" dt="2023-11-08T22:27:38.164" v="84746"/>
          <ac:spMkLst>
            <pc:docMk/>
            <pc:sldMk cId="401544748" sldId="346"/>
            <ac:spMk id="26" creationId="{9C1106E5-5D2B-2108-9096-4041E7EE5FDC}"/>
          </ac:spMkLst>
        </pc:spChg>
        <pc:spChg chg="add del mod modVis">
          <ac:chgData name="Tan, Roger" userId="f6f33758-bd69-4951-8148-181de3b92474" providerId="ADAL" clId="{A436842E-EA5C-4A6D-B51D-DDAE8BC6E9BD}" dt="2023-11-08T22:27:35.215" v="84592"/>
          <ac:spMkLst>
            <pc:docMk/>
            <pc:sldMk cId="401544748" sldId="346"/>
            <ac:spMk id="28" creationId="{5F42B1DF-1B82-FD31-403C-88AD10C47285}"/>
          </ac:spMkLst>
        </pc:spChg>
        <pc:spChg chg="mod">
          <ac:chgData name="Tan, Roger" userId="f6f33758-bd69-4951-8148-181de3b92474" providerId="ADAL" clId="{A436842E-EA5C-4A6D-B51D-DDAE8BC6E9BD}" dt="2023-11-08T22:27:38.164" v="84747"/>
          <ac:spMkLst>
            <pc:docMk/>
            <pc:sldMk cId="401544748" sldId="346"/>
            <ac:spMk id="29" creationId="{90CD4E89-57C2-AA83-D521-631282430826}"/>
          </ac:spMkLst>
        </pc:spChg>
        <pc:spChg chg="add del mod modVis">
          <ac:chgData name="Tan, Roger" userId="f6f33758-bd69-4951-8148-181de3b92474" providerId="ADAL" clId="{A436842E-EA5C-4A6D-B51D-DDAE8BC6E9BD}" dt="2023-11-08T22:27:37.263" v="84681"/>
          <ac:spMkLst>
            <pc:docMk/>
            <pc:sldMk cId="401544748" sldId="346"/>
            <ac:spMk id="31" creationId="{B0719395-9C78-DCF7-917C-5260D31785D9}"/>
          </ac:spMkLst>
        </pc:spChg>
        <pc:spChg chg="mod">
          <ac:chgData name="Tan, Roger" userId="f6f33758-bd69-4951-8148-181de3b92474" providerId="ADAL" clId="{A436842E-EA5C-4A6D-B51D-DDAE8BC6E9BD}" dt="2023-11-08T22:27:38.165" v="84748"/>
          <ac:spMkLst>
            <pc:docMk/>
            <pc:sldMk cId="401544748" sldId="346"/>
            <ac:spMk id="32" creationId="{D2A4108C-06D9-D046-A2C5-38F56BF36A1B}"/>
          </ac:spMkLst>
        </pc:spChg>
        <pc:spChg chg="add del mod modVis">
          <ac:chgData name="Tan, Roger" userId="f6f33758-bd69-4951-8148-181de3b92474" providerId="ADAL" clId="{A436842E-EA5C-4A6D-B51D-DDAE8BC6E9BD}" dt="2023-11-08T22:27:38.171" v="84768"/>
          <ac:spMkLst>
            <pc:docMk/>
            <pc:sldMk cId="401544748" sldId="346"/>
            <ac:spMk id="34" creationId="{3CCAD90E-94EF-1B83-C5BE-77B5169DEDE1}"/>
          </ac:spMkLst>
        </pc:spChg>
        <pc:spChg chg="mod">
          <ac:chgData name="Tan, Roger" userId="f6f33758-bd69-4951-8148-181de3b92474" providerId="ADAL" clId="{A436842E-EA5C-4A6D-B51D-DDAE8BC6E9BD}" dt="2023-11-08T22:27:38.165" v="84749"/>
          <ac:spMkLst>
            <pc:docMk/>
            <pc:sldMk cId="401544748" sldId="346"/>
            <ac:spMk id="35" creationId="{C9D516F0-1DED-711E-BB9C-AECE2C0B5932}"/>
          </ac:spMkLst>
        </pc:spChg>
        <pc:spChg chg="mod">
          <ac:chgData name="Tan, Roger" userId="f6f33758-bd69-4951-8148-181de3b92474" providerId="ADAL" clId="{A436842E-EA5C-4A6D-B51D-DDAE8BC6E9BD}" dt="2023-11-08T22:27:38.166" v="84750"/>
          <ac:spMkLst>
            <pc:docMk/>
            <pc:sldMk cId="401544748" sldId="346"/>
            <ac:spMk id="38" creationId="{ECBA24C5-7E17-05A0-E3CC-3F732EC5B69B}"/>
          </ac:spMkLst>
        </pc:spChg>
        <pc:spChg chg="mod">
          <ac:chgData name="Tan, Roger" userId="f6f33758-bd69-4951-8148-181de3b92474" providerId="ADAL" clId="{A436842E-EA5C-4A6D-B51D-DDAE8BC6E9BD}" dt="2023-11-08T22:27:38.161" v="84742"/>
          <ac:spMkLst>
            <pc:docMk/>
            <pc:sldMk cId="401544748" sldId="346"/>
            <ac:spMk id="117" creationId="{E5A29841-7451-9A8E-892F-CA74342F5274}"/>
          </ac:spMkLst>
        </pc:spChg>
        <pc:spChg chg="mod">
          <ac:chgData name="Tan, Roger" userId="f6f33758-bd69-4951-8148-181de3b92474" providerId="ADAL" clId="{A436842E-EA5C-4A6D-B51D-DDAE8BC6E9BD}" dt="2023-11-08T22:27:38.162" v="84743"/>
          <ac:spMkLst>
            <pc:docMk/>
            <pc:sldMk cId="401544748" sldId="346"/>
            <ac:spMk id="152" creationId="{CE13DC25-6E3E-89F5-9FB0-9F1C3BBBFEDC}"/>
          </ac:spMkLst>
        </pc:spChg>
        <pc:spChg chg="del mod ord">
          <ac:chgData name="Tan, Roger" userId="f6f33758-bd69-4951-8148-181de3b92474" providerId="ADAL" clId="{A436842E-EA5C-4A6D-B51D-DDAE8BC6E9BD}" dt="2023-11-05T04:09:23.925" v="4611"/>
          <ac:spMkLst>
            <pc:docMk/>
            <pc:sldMk cId="401544748" sldId="346"/>
            <ac:spMk id="200" creationId="{97E76B0C-D663-D04C-F7FB-D83B5F87D45B}"/>
          </ac:spMkLst>
        </pc:spChg>
        <pc:spChg chg="mod ord">
          <ac:chgData name="Tan, Roger" userId="f6f33758-bd69-4951-8148-181de3b92474" providerId="ADAL" clId="{A436842E-EA5C-4A6D-B51D-DDAE8BC6E9BD}" dt="2023-11-08T22:27:38.166" v="84752"/>
          <ac:spMkLst>
            <pc:docMk/>
            <pc:sldMk cId="401544748" sldId="346"/>
            <ac:spMk id="293" creationId="{F05D1CB0-34AB-525C-A80D-E9C6733914C5}"/>
          </ac:spMkLst>
        </pc:spChg>
        <pc:spChg chg="del mod ord">
          <ac:chgData name="Tan, Roger" userId="f6f33758-bd69-4951-8148-181de3b92474" providerId="ADAL" clId="{A436842E-EA5C-4A6D-B51D-DDAE8BC6E9BD}" dt="2023-11-07T17:02:17.211" v="73336" actId="478"/>
          <ac:spMkLst>
            <pc:docMk/>
            <pc:sldMk cId="401544748" sldId="346"/>
            <ac:spMk id="296" creationId="{E5F353EA-3744-918D-4A2F-5C0D191BC1DA}"/>
          </ac:spMkLst>
        </pc:spChg>
        <pc:spChg chg="mod ord">
          <ac:chgData name="Tan, Roger" userId="f6f33758-bd69-4951-8148-181de3b92474" providerId="ADAL" clId="{A436842E-EA5C-4A6D-B51D-DDAE8BC6E9BD}" dt="2023-11-07T07:17:42.786" v="58360"/>
          <ac:spMkLst>
            <pc:docMk/>
            <pc:sldMk cId="401544748" sldId="346"/>
            <ac:spMk id="298" creationId="{CAB3D1A2-981C-FD5A-ACDA-0DCF952C9265}"/>
          </ac:spMkLst>
        </pc:spChg>
        <pc:graphicFrameChg chg="add del mod ord replST">
          <ac:chgData name="Tan, Roger" userId="f6f33758-bd69-4951-8148-181de3b92474" providerId="ADAL" clId="{A436842E-EA5C-4A6D-B51D-DDAE8BC6E9BD}" dt="2023-11-05T04:05:44.011" v="4281"/>
          <ac:graphicFrameMkLst>
            <pc:docMk/>
            <pc:sldMk cId="401544748" sldId="346"/>
            <ac:graphicFrameMk id="4" creationId="{B4327CC0-D7F8-87E6-57F6-245011DB72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4:09:24.119" v="4660"/>
          <ac:graphicFrameMkLst>
            <pc:docMk/>
            <pc:sldMk cId="401544748" sldId="346"/>
            <ac:graphicFrameMk id="7" creationId="{90BD7B94-D5AC-A9DC-6210-C87ED489EDD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4:09:31.195" v="4744"/>
          <ac:graphicFrameMkLst>
            <pc:docMk/>
            <pc:sldMk cId="401544748" sldId="346"/>
            <ac:graphicFrameMk id="9" creationId="{35D0C194-B50C-0ADC-2A9F-092792B3DA0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00:41:57.294" v="75988"/>
          <ac:graphicFrameMkLst>
            <pc:docMk/>
            <pc:sldMk cId="401544748" sldId="346"/>
            <ac:graphicFrameMk id="10" creationId="{50BE4FA5-3065-9A22-EAB2-6348E4875AA6}"/>
          </ac:graphicFrameMkLst>
        </pc:graphicFrameChg>
        <pc:graphicFrameChg chg="mod">
          <ac:chgData name="Tan, Roger" userId="f6f33758-bd69-4951-8148-181de3b92474" providerId="ADAL" clId="{A436842E-EA5C-4A6D-B51D-DDAE8BC6E9BD}" dt="2023-11-08T22:27:38.177" v="84770"/>
          <ac:graphicFrameMkLst>
            <pc:docMk/>
            <pc:sldMk cId="401544748" sldId="346"/>
            <ac:graphicFrameMk id="11" creationId="{E83FDBA9-EE18-2FC8-FEA5-169F4221370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17:42.747" v="58329"/>
          <ac:graphicFrameMkLst>
            <pc:docMk/>
            <pc:sldMk cId="401544748" sldId="346"/>
            <ac:graphicFrameMk id="12" creationId="{1061882F-2A44-8BDF-756E-5A5C120E69A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24.281" v="84173"/>
          <ac:graphicFrameMkLst>
            <pc:docMk/>
            <pc:sldMk cId="401544748" sldId="346"/>
            <ac:graphicFrameMk id="12" creationId="{DE29E4E4-1CAF-AB2C-B45E-0880E5642F9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25.088" v="84283"/>
          <ac:graphicFrameMkLst>
            <pc:docMk/>
            <pc:sldMk cId="401544748" sldId="346"/>
            <ac:graphicFrameMk id="18" creationId="{F2D97196-DF94-21BB-6DDC-DC14872E143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30.724" v="84383"/>
          <ac:graphicFrameMkLst>
            <pc:docMk/>
            <pc:sldMk cId="401544748" sldId="346"/>
            <ac:graphicFrameMk id="22" creationId="{4D07EE70-2186-E034-CE5D-47DF944A4A9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34.402" v="84470"/>
          <ac:graphicFrameMkLst>
            <pc:docMk/>
            <pc:sldMk cId="401544748" sldId="346"/>
            <ac:graphicFrameMk id="24" creationId="{1E58C140-6198-A372-9803-3E9EFFB1053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35.187" v="84557"/>
          <ac:graphicFrameMkLst>
            <pc:docMk/>
            <pc:sldMk cId="401544748" sldId="346"/>
            <ac:graphicFrameMk id="27" creationId="{8CA9CB87-E3DA-3612-5815-5EB05C8831E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37.233" v="84646"/>
          <ac:graphicFrameMkLst>
            <pc:docMk/>
            <pc:sldMk cId="401544748" sldId="346"/>
            <ac:graphicFrameMk id="30" creationId="{71F356EC-0F12-2124-1BD9-43BDCC19B49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38.131" v="84733"/>
          <ac:graphicFrameMkLst>
            <pc:docMk/>
            <pc:sldMk cId="401544748" sldId="346"/>
            <ac:graphicFrameMk id="33" creationId="{7008ED54-25D3-C9CE-CF33-AAE6AEDCAD25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8T22:27:38.161" v="84741"/>
          <ac:graphicFrameMkLst>
            <pc:docMk/>
            <pc:sldMk cId="401544748" sldId="346"/>
            <ac:graphicFrameMk id="36" creationId="{699BC2B6-4758-0636-FFCF-D2259D811C0A}"/>
          </ac:graphicFrameMkLst>
        </pc:graphicFrameChg>
        <pc:graphicFrameChg chg="del">
          <ac:chgData name="Tan, Roger" userId="f6f33758-bd69-4951-8148-181de3b92474" providerId="ADAL" clId="{A436842E-EA5C-4A6D-B51D-DDAE8BC6E9BD}" dt="2023-11-05T04:05:42.433" v="4181"/>
          <ac:graphicFrameMkLst>
            <pc:docMk/>
            <pc:sldMk cId="401544748" sldId="346"/>
            <ac:graphicFrameMk id="292" creationId="{717D02CD-9E27-56D9-8E70-5354C7FF75C6}"/>
          </ac:graphicFrameMkLst>
        </pc:graphicFrameChg>
        <pc:graphicFrameChg chg="mod ord modGraphic">
          <ac:chgData name="Tan, Roger" userId="f6f33758-bd69-4951-8148-181de3b92474" providerId="ADAL" clId="{A436842E-EA5C-4A6D-B51D-DDAE8BC6E9BD}" dt="2023-11-07T07:17:42.786" v="58362"/>
          <ac:graphicFrameMkLst>
            <pc:docMk/>
            <pc:sldMk cId="401544748" sldId="346"/>
            <ac:graphicFrameMk id="299" creationId="{4BCE9799-5281-6C47-5413-F1B75BF751D5}"/>
          </ac:graphicFrameMkLst>
        </pc:graphicFrameChg>
        <pc:cxnChg chg="add mod ord">
          <ac:chgData name="Tan, Roger" userId="f6f33758-bd69-4951-8148-181de3b92474" providerId="ADAL" clId="{A436842E-EA5C-4A6D-B51D-DDAE8BC6E9BD}" dt="2023-11-08T22:27:38.168" v="84758"/>
          <ac:cxnSpMkLst>
            <pc:docMk/>
            <pc:sldMk cId="401544748" sldId="346"/>
            <ac:cxnSpMk id="3" creationId="{AD08AF44-A578-BB67-6365-36DB3B23DD93}"/>
          </ac:cxnSpMkLst>
        </pc:cxnChg>
        <pc:cxnChg chg="del mod ord">
          <ac:chgData name="Tan, Roger" userId="f6f33758-bd69-4951-8148-181de3b92474" providerId="ADAL" clId="{A436842E-EA5C-4A6D-B51D-DDAE8BC6E9BD}" dt="2023-11-05T04:09:23.924" v="4609"/>
          <ac:cxnSpMkLst>
            <pc:docMk/>
            <pc:sldMk cId="401544748" sldId="346"/>
            <ac:cxnSpMk id="201" creationId="{E2E7F722-A865-E872-A7C9-F3BEAC7287CF}"/>
          </ac:cxnSpMkLst>
        </pc:cxnChg>
        <pc:cxnChg chg="del mod ord">
          <ac:chgData name="Tan, Roger" userId="f6f33758-bd69-4951-8148-181de3b92474" providerId="ADAL" clId="{A436842E-EA5C-4A6D-B51D-DDAE8BC6E9BD}" dt="2023-11-05T04:09:23.923" v="4607"/>
          <ac:cxnSpMkLst>
            <pc:docMk/>
            <pc:sldMk cId="401544748" sldId="346"/>
            <ac:cxnSpMk id="202" creationId="{CC101946-CC03-FDF1-1FE6-58D024094513}"/>
          </ac:cxnSpMkLst>
        </pc:cxnChg>
        <pc:cxnChg chg="del mod ord">
          <ac:chgData name="Tan, Roger" userId="f6f33758-bd69-4951-8148-181de3b92474" providerId="ADAL" clId="{A436842E-EA5C-4A6D-B51D-DDAE8BC6E9BD}" dt="2023-11-05T04:09:23.922" v="4605"/>
          <ac:cxnSpMkLst>
            <pc:docMk/>
            <pc:sldMk cId="401544748" sldId="346"/>
            <ac:cxnSpMk id="203" creationId="{F8986C53-F661-8C68-0603-81CB1C5AE867}"/>
          </ac:cxnSpMkLst>
        </pc:cxnChg>
        <pc:cxnChg chg="mod ord">
          <ac:chgData name="Tan, Roger" userId="f6f33758-bd69-4951-8148-181de3b92474" providerId="ADAL" clId="{A436842E-EA5C-4A6D-B51D-DDAE8BC6E9BD}" dt="2023-11-08T22:27:38.167" v="84754"/>
          <ac:cxnSpMkLst>
            <pc:docMk/>
            <pc:sldMk cId="401544748" sldId="346"/>
            <ac:cxnSpMk id="294" creationId="{653860D9-C7CD-D12F-DC91-8FB17E7EB1C1}"/>
          </ac:cxnSpMkLst>
        </pc:cxnChg>
      </pc:sldChg>
      <pc:sldChg chg="addSp delSp modSp add mod ord modClrScheme chgLayout">
        <pc:chgData name="Tan, Roger" userId="f6f33758-bd69-4951-8148-181de3b92474" providerId="ADAL" clId="{A436842E-EA5C-4A6D-B51D-DDAE8BC6E9BD}" dt="2023-11-08T22:28:32.179" v="85800" actId="57"/>
        <pc:sldMkLst>
          <pc:docMk/>
          <pc:sldMk cId="733552054" sldId="347"/>
        </pc:sldMkLst>
        <pc:spChg chg="mod ord">
          <ac:chgData name="Tan, Roger" userId="f6f33758-bd69-4951-8148-181de3b92474" providerId="ADAL" clId="{A436842E-EA5C-4A6D-B51D-DDAE8BC6E9BD}" dt="2023-11-07T09:26:40.004" v="72729" actId="1036"/>
          <ac:spMkLst>
            <pc:docMk/>
            <pc:sldMk cId="733552054" sldId="347"/>
            <ac:spMk id="2" creationId="{DB6D9CF4-77C8-DFB3-D3B0-EECE2A266D7D}"/>
          </ac:spMkLst>
        </pc:spChg>
        <pc:spChg chg="mod">
          <ac:chgData name="Tan, Roger" userId="f6f33758-bd69-4951-8148-181de3b92474" providerId="ADAL" clId="{A436842E-EA5C-4A6D-B51D-DDAE8BC6E9BD}" dt="2023-11-07T07:20:13.278" v="58426"/>
          <ac:spMkLst>
            <pc:docMk/>
            <pc:sldMk cId="733552054" sldId="347"/>
            <ac:spMk id="3" creationId="{56B480E6-9BA8-C715-EFC2-2BACBF5415D9}"/>
          </ac:spMkLst>
        </pc:spChg>
        <pc:spChg chg="mod">
          <ac:chgData name="Tan, Roger" userId="f6f33758-bd69-4951-8148-181de3b92474" providerId="ADAL" clId="{A436842E-EA5C-4A6D-B51D-DDAE8BC6E9BD}" dt="2023-11-07T07:20:13.292" v="58447"/>
          <ac:spMkLst>
            <pc:docMk/>
            <pc:sldMk cId="733552054" sldId="347"/>
            <ac:spMk id="5" creationId="{8F4257AC-9438-50AA-3B0F-E0E217EAB598}"/>
          </ac:spMkLst>
        </pc:spChg>
        <pc:spChg chg="mod">
          <ac:chgData name="Tan, Roger" userId="f6f33758-bd69-4951-8148-181de3b92474" providerId="ADAL" clId="{A436842E-EA5C-4A6D-B51D-DDAE8BC6E9BD}" dt="2023-11-05T22:57:06.183" v="13982"/>
          <ac:spMkLst>
            <pc:docMk/>
            <pc:sldMk cId="733552054" sldId="347"/>
            <ac:spMk id="6" creationId="{1DEAB302-CD3D-F920-4CC6-525E60FB9633}"/>
          </ac:spMkLst>
        </pc:spChg>
        <pc:spChg chg="add mod">
          <ac:chgData name="Tan, Roger" userId="f6f33758-bd69-4951-8148-181de3b92474" providerId="ADAL" clId="{A436842E-EA5C-4A6D-B51D-DDAE8BC6E9BD}" dt="2023-11-05T22:56:30.096" v="13909" actId="207"/>
          <ac:spMkLst>
            <pc:docMk/>
            <pc:sldMk cId="733552054" sldId="347"/>
            <ac:spMk id="7" creationId="{4B5F038F-C950-E544-9C0B-8373905CED48}"/>
          </ac:spMkLst>
        </pc:spChg>
        <pc:spChg chg="add mod">
          <ac:chgData name="Tan, Roger" userId="f6f33758-bd69-4951-8148-181de3b92474" providerId="ADAL" clId="{A436842E-EA5C-4A6D-B51D-DDAE8BC6E9BD}" dt="2023-11-05T22:56:30.096" v="13909" actId="207"/>
          <ac:spMkLst>
            <pc:docMk/>
            <pc:sldMk cId="733552054" sldId="347"/>
            <ac:spMk id="8" creationId="{938CDEB1-7CCD-25CA-80B7-943B4132277E}"/>
          </ac:spMkLst>
        </pc:spChg>
        <pc:spChg chg="add del mod">
          <ac:chgData name="Tan, Roger" userId="f6f33758-bd69-4951-8148-181de3b92474" providerId="ADAL" clId="{A436842E-EA5C-4A6D-B51D-DDAE8BC6E9BD}" dt="2023-11-08T01:29:47.098" v="76219" actId="478"/>
          <ac:spMkLst>
            <pc:docMk/>
            <pc:sldMk cId="733552054" sldId="347"/>
            <ac:spMk id="9" creationId="{235AD311-367A-F2D9-96C8-9DEC131D0F70}"/>
          </ac:spMkLst>
        </pc:spChg>
        <pc:spChg chg="add del mod modVis">
          <ac:chgData name="Tan, Roger" userId="f6f33758-bd69-4951-8148-181de3b92474" providerId="ADAL" clId="{A436842E-EA5C-4A6D-B51D-DDAE8BC6E9BD}" dt="2023-11-05T22:56:09.998" v="13904"/>
          <ac:spMkLst>
            <pc:docMk/>
            <pc:sldMk cId="733552054" sldId="347"/>
            <ac:spMk id="9" creationId="{A416ABCB-1240-C7F7-A41E-0A7A9B9C00C1}"/>
          </ac:spMkLst>
        </pc:spChg>
        <pc:spChg chg="mod ord">
          <ac:chgData name="Tan, Roger" userId="f6f33758-bd69-4951-8148-181de3b92474" providerId="ADAL" clId="{A436842E-EA5C-4A6D-B51D-DDAE8BC6E9BD}" dt="2023-11-05T22:57:06.186" v="13992"/>
          <ac:spMkLst>
            <pc:docMk/>
            <pc:sldMk cId="733552054" sldId="347"/>
            <ac:spMk id="10" creationId="{5F3FA9B6-B61E-C6C4-8AF4-47D59C5A910B}"/>
          </ac:spMkLst>
        </pc:spChg>
        <pc:spChg chg="mod ord">
          <ac:chgData name="Tan, Roger" userId="f6f33758-bd69-4951-8148-181de3b92474" providerId="ADAL" clId="{A436842E-EA5C-4A6D-B51D-DDAE8BC6E9BD}" dt="2023-11-05T22:57:06.186" v="13994"/>
          <ac:spMkLst>
            <pc:docMk/>
            <pc:sldMk cId="733552054" sldId="347"/>
            <ac:spMk id="11" creationId="{57545F59-1058-3D34-D0AF-AC44869215CE}"/>
          </ac:spMkLst>
        </pc:spChg>
        <pc:spChg chg="mod">
          <ac:chgData name="Tan, Roger" userId="f6f33758-bd69-4951-8148-181de3b92474" providerId="ADAL" clId="{A436842E-EA5C-4A6D-B51D-DDAE8BC6E9BD}" dt="2023-11-05T22:57:02.982" v="13921"/>
          <ac:spMkLst>
            <pc:docMk/>
            <pc:sldMk cId="733552054" sldId="347"/>
            <ac:spMk id="14" creationId="{AA6A9922-4B97-F0B9-261E-456969B1E1EB}"/>
          </ac:spMkLst>
        </pc:spChg>
        <pc:spChg chg="mod">
          <ac:chgData name="Tan, Roger" userId="f6f33758-bd69-4951-8148-181de3b92474" providerId="ADAL" clId="{A436842E-EA5C-4A6D-B51D-DDAE8BC6E9BD}" dt="2023-11-05T22:57:06.183" v="13983"/>
          <ac:spMkLst>
            <pc:docMk/>
            <pc:sldMk cId="733552054" sldId="347"/>
            <ac:spMk id="15" creationId="{DF890152-EEC4-AD1C-F056-D88DAC560EF4}"/>
          </ac:spMkLst>
        </pc:spChg>
        <pc:spChg chg="mod">
          <ac:chgData name="Tan, Roger" userId="f6f33758-bd69-4951-8148-181de3b92474" providerId="ADAL" clId="{A436842E-EA5C-4A6D-B51D-DDAE8BC6E9BD}" dt="2023-11-05T22:57:02.982" v="13921"/>
          <ac:spMkLst>
            <pc:docMk/>
            <pc:sldMk cId="733552054" sldId="347"/>
            <ac:spMk id="16" creationId="{D32D3B82-2878-8AE7-8DEB-5FC7C6BCDF26}"/>
          </ac:spMkLst>
        </pc:spChg>
        <pc:spChg chg="add mod">
          <ac:chgData name="Tan, Roger" userId="f6f33758-bd69-4951-8148-181de3b92474" providerId="ADAL" clId="{A436842E-EA5C-4A6D-B51D-DDAE8BC6E9BD}" dt="2023-11-08T01:29:47.522" v="76220"/>
          <ac:spMkLst>
            <pc:docMk/>
            <pc:sldMk cId="733552054" sldId="347"/>
            <ac:spMk id="17" creationId="{19DAC1CE-4BE1-DCA8-67AD-FC0817E5040A}"/>
          </ac:spMkLst>
        </pc:spChg>
        <pc:spChg chg="add del mod modVis">
          <ac:chgData name="Tan, Roger" userId="f6f33758-bd69-4951-8148-181de3b92474" providerId="ADAL" clId="{A436842E-EA5C-4A6D-B51D-DDAE8BC6E9BD}" dt="2023-11-07T07:20:13.300" v="58453"/>
          <ac:spMkLst>
            <pc:docMk/>
            <pc:sldMk cId="733552054" sldId="347"/>
            <ac:spMk id="17" creationId="{7A36B5E2-D063-670E-64C2-918333999A66}"/>
          </ac:spMkLst>
        </pc:spChg>
        <pc:spChg chg="add del mod">
          <ac:chgData name="Tan, Roger" userId="f6f33758-bd69-4951-8148-181de3b92474" providerId="ADAL" clId="{A436842E-EA5C-4A6D-B51D-DDAE8BC6E9BD}" dt="2023-11-07T17:02:54.601" v="73353" actId="478"/>
          <ac:spMkLst>
            <pc:docMk/>
            <pc:sldMk cId="733552054" sldId="347"/>
            <ac:spMk id="19" creationId="{4AEBBD5D-42F1-A3F5-A2D0-F8D47B6E83F4}"/>
          </ac:spMkLst>
        </pc:spChg>
        <pc:spChg chg="mod">
          <ac:chgData name="Tan, Roger" userId="f6f33758-bd69-4951-8148-181de3b92474" providerId="ADAL" clId="{A436842E-EA5C-4A6D-B51D-DDAE8BC6E9BD}" dt="2023-11-05T22:57:06.184" v="13985"/>
          <ac:spMkLst>
            <pc:docMk/>
            <pc:sldMk cId="733552054" sldId="347"/>
            <ac:spMk id="77" creationId="{0F4A2A48-99E8-A2B9-BC45-D93A7BF3E94A}"/>
          </ac:spMkLst>
        </pc:spChg>
        <pc:spChg chg="mod">
          <ac:chgData name="Tan, Roger" userId="f6f33758-bd69-4951-8148-181de3b92474" providerId="ADAL" clId="{A436842E-EA5C-4A6D-B51D-DDAE8BC6E9BD}" dt="2023-11-05T22:57:06.184" v="13986"/>
          <ac:spMkLst>
            <pc:docMk/>
            <pc:sldMk cId="733552054" sldId="347"/>
            <ac:spMk id="78" creationId="{2D6FBB12-B34C-5D30-4F4F-27BC1D242999}"/>
          </ac:spMkLst>
        </pc:spChg>
        <pc:spChg chg="mod">
          <ac:chgData name="Tan, Roger" userId="f6f33758-bd69-4951-8148-181de3b92474" providerId="ADAL" clId="{A436842E-EA5C-4A6D-B51D-DDAE8BC6E9BD}" dt="2023-11-05T22:57:06.185" v="13987"/>
          <ac:spMkLst>
            <pc:docMk/>
            <pc:sldMk cId="733552054" sldId="347"/>
            <ac:spMk id="79" creationId="{D4EDD7F4-5774-69DA-4C88-6F3548665B23}"/>
          </ac:spMkLst>
        </pc:spChg>
        <pc:spChg chg="mod">
          <ac:chgData name="Tan, Roger" userId="f6f33758-bd69-4951-8148-181de3b92474" providerId="ADAL" clId="{A436842E-EA5C-4A6D-B51D-DDAE8BC6E9BD}" dt="2023-11-05T22:57:06.185" v="13988"/>
          <ac:spMkLst>
            <pc:docMk/>
            <pc:sldMk cId="733552054" sldId="347"/>
            <ac:spMk id="80" creationId="{F22443A6-ED81-1569-4012-E981F5462221}"/>
          </ac:spMkLst>
        </pc:spChg>
        <pc:spChg chg="mod">
          <ac:chgData name="Tan, Roger" userId="f6f33758-bd69-4951-8148-181de3b92474" providerId="ADAL" clId="{A436842E-EA5C-4A6D-B51D-DDAE8BC6E9BD}" dt="2023-11-05T22:57:06.177" v="13955"/>
          <ac:spMkLst>
            <pc:docMk/>
            <pc:sldMk cId="733552054" sldId="347"/>
            <ac:spMk id="81" creationId="{4DDE0B70-8E12-F5DC-AA91-45F1DC46CC92}"/>
          </ac:spMkLst>
        </pc:spChg>
        <pc:spChg chg="mod">
          <ac:chgData name="Tan, Roger" userId="f6f33758-bd69-4951-8148-181de3b92474" providerId="ADAL" clId="{A436842E-EA5C-4A6D-B51D-DDAE8BC6E9BD}" dt="2023-11-05T22:57:06.176" v="13952"/>
          <ac:spMkLst>
            <pc:docMk/>
            <pc:sldMk cId="733552054" sldId="347"/>
            <ac:spMk id="85" creationId="{0DF97D3E-1387-A470-E842-DE4C98DDFB2E}"/>
          </ac:spMkLst>
        </pc:spChg>
        <pc:spChg chg="mod">
          <ac:chgData name="Tan, Roger" userId="f6f33758-bd69-4951-8148-181de3b92474" providerId="ADAL" clId="{A436842E-EA5C-4A6D-B51D-DDAE8BC6E9BD}" dt="2023-11-05T22:57:06.176" v="13954"/>
          <ac:spMkLst>
            <pc:docMk/>
            <pc:sldMk cId="733552054" sldId="347"/>
            <ac:spMk id="89" creationId="{EDEF56D4-4CFF-84C2-B9E4-EBE138A5C217}"/>
          </ac:spMkLst>
        </pc:spChg>
        <pc:spChg chg="mod">
          <ac:chgData name="Tan, Roger" userId="f6f33758-bd69-4951-8148-181de3b92474" providerId="ADAL" clId="{A436842E-EA5C-4A6D-B51D-DDAE8BC6E9BD}" dt="2023-11-05T22:57:06.175" v="13950"/>
          <ac:spMkLst>
            <pc:docMk/>
            <pc:sldMk cId="733552054" sldId="347"/>
            <ac:spMk id="103" creationId="{492CE047-E623-30DE-11E7-58E962A62BC6}"/>
          </ac:spMkLst>
        </pc:spChg>
        <pc:spChg chg="mod">
          <ac:chgData name="Tan, Roger" userId="f6f33758-bd69-4951-8148-181de3b92474" providerId="ADAL" clId="{A436842E-EA5C-4A6D-B51D-DDAE8BC6E9BD}" dt="2023-11-05T22:57:06.175" v="13951"/>
          <ac:spMkLst>
            <pc:docMk/>
            <pc:sldMk cId="733552054" sldId="347"/>
            <ac:spMk id="148" creationId="{C49B1EE0-05A4-D9A4-3FBE-68D2348A7E42}"/>
          </ac:spMkLst>
        </pc:spChg>
        <pc:spChg chg="mod">
          <ac:chgData name="Tan, Roger" userId="f6f33758-bd69-4951-8148-181de3b92474" providerId="ADAL" clId="{A436842E-EA5C-4A6D-B51D-DDAE8BC6E9BD}" dt="2023-11-05T22:57:06.176" v="13953"/>
          <ac:spMkLst>
            <pc:docMk/>
            <pc:sldMk cId="733552054" sldId="347"/>
            <ac:spMk id="149" creationId="{8A861EB6-B4DB-3FED-D5AB-FCC0679E3215}"/>
          </ac:spMkLst>
        </pc:spChg>
        <pc:spChg chg="mod">
          <ac:chgData name="Tan, Roger" userId="f6f33758-bd69-4951-8148-181de3b92474" providerId="ADAL" clId="{A436842E-EA5C-4A6D-B51D-DDAE8BC6E9BD}" dt="2023-11-05T22:57:06.177" v="13956"/>
          <ac:spMkLst>
            <pc:docMk/>
            <pc:sldMk cId="733552054" sldId="347"/>
            <ac:spMk id="158" creationId="{6C9D3823-C015-5FED-9EDF-89D3AC9BBB24}"/>
          </ac:spMkLst>
        </pc:spChg>
        <pc:spChg chg="mod">
          <ac:chgData name="Tan, Roger" userId="f6f33758-bd69-4951-8148-181de3b92474" providerId="ADAL" clId="{A436842E-EA5C-4A6D-B51D-DDAE8BC6E9BD}" dt="2023-11-05T22:57:06.175" v="13949"/>
          <ac:spMkLst>
            <pc:docMk/>
            <pc:sldMk cId="733552054" sldId="347"/>
            <ac:spMk id="159" creationId="{9CF7D556-85F1-E05F-789C-35EF2BD8DBC4}"/>
          </ac:spMkLst>
        </pc:spChg>
        <pc:spChg chg="mod">
          <ac:chgData name="Tan, Roger" userId="f6f33758-bd69-4951-8148-181de3b92474" providerId="ADAL" clId="{A436842E-EA5C-4A6D-B51D-DDAE8BC6E9BD}" dt="2023-11-05T22:57:06.184" v="13984"/>
          <ac:spMkLst>
            <pc:docMk/>
            <pc:sldMk cId="733552054" sldId="347"/>
            <ac:spMk id="180" creationId="{495516FC-4492-DB45-850D-C071F382690F}"/>
          </ac:spMkLst>
        </pc:spChg>
        <pc:spChg chg="mod">
          <ac:chgData name="Tan, Roger" userId="f6f33758-bd69-4951-8148-181de3b92474" providerId="ADAL" clId="{A436842E-EA5C-4A6D-B51D-DDAE8BC6E9BD}" dt="2023-11-05T22:57:06.182" v="13976"/>
          <ac:spMkLst>
            <pc:docMk/>
            <pc:sldMk cId="733552054" sldId="347"/>
            <ac:spMk id="181" creationId="{0016AC2B-AEEF-9E72-77ED-6A1A98AC1DC5}"/>
          </ac:spMkLst>
        </pc:spChg>
        <pc:spChg chg="mod ord">
          <ac:chgData name="Tan, Roger" userId="f6f33758-bd69-4951-8148-181de3b92474" providerId="ADAL" clId="{A436842E-EA5C-4A6D-B51D-DDAE8BC6E9BD}" dt="2023-11-05T22:57:06.185" v="13990"/>
          <ac:spMkLst>
            <pc:docMk/>
            <pc:sldMk cId="733552054" sldId="347"/>
            <ac:spMk id="268" creationId="{620E1BE2-51C7-9550-5A2A-E9125E5555C5}"/>
          </ac:spMkLst>
        </pc:spChg>
        <pc:spChg chg="mod ord">
          <ac:chgData name="Tan, Roger" userId="f6f33758-bd69-4951-8148-181de3b92474" providerId="ADAL" clId="{A436842E-EA5C-4A6D-B51D-DDAE8BC6E9BD}" dt="2023-11-05T22:57:06.179" v="13961"/>
          <ac:spMkLst>
            <pc:docMk/>
            <pc:sldMk cId="733552054" sldId="347"/>
            <ac:spMk id="279" creationId="{162B4E5D-8816-5EAF-99C6-EE43368713C6}"/>
          </ac:spMkLst>
        </pc:spChg>
        <pc:spChg chg="mod ord">
          <ac:chgData name="Tan, Roger" userId="f6f33758-bd69-4951-8148-181de3b92474" providerId="ADAL" clId="{A436842E-EA5C-4A6D-B51D-DDAE8BC6E9BD}" dt="2023-11-05T22:57:06.179" v="13963"/>
          <ac:spMkLst>
            <pc:docMk/>
            <pc:sldMk cId="733552054" sldId="347"/>
            <ac:spMk id="280" creationId="{3A3E0FE5-3234-A3CB-6527-E0E365B5EEE0}"/>
          </ac:spMkLst>
        </pc:spChg>
        <pc:spChg chg="mod">
          <ac:chgData name="Tan, Roger" userId="f6f33758-bd69-4951-8148-181de3b92474" providerId="ADAL" clId="{A436842E-EA5C-4A6D-B51D-DDAE8BC6E9BD}" dt="2023-11-05T22:57:06.177" v="13957"/>
          <ac:spMkLst>
            <pc:docMk/>
            <pc:sldMk cId="733552054" sldId="347"/>
            <ac:spMk id="281" creationId="{905F8DCA-D892-6433-1D92-FAC9DF1ED391}"/>
          </ac:spMkLst>
        </pc:spChg>
        <pc:spChg chg="mod ord">
          <ac:chgData name="Tan, Roger" userId="f6f33758-bd69-4951-8148-181de3b92474" providerId="ADAL" clId="{A436842E-EA5C-4A6D-B51D-DDAE8BC6E9BD}" dt="2023-11-05T22:57:06.179" v="13965"/>
          <ac:spMkLst>
            <pc:docMk/>
            <pc:sldMk cId="733552054" sldId="347"/>
            <ac:spMk id="282" creationId="{B6090B68-55B8-4631-E2F9-87911AD5DFD6}"/>
          </ac:spMkLst>
        </pc:spChg>
        <pc:spChg chg="mod ord">
          <ac:chgData name="Tan, Roger" userId="f6f33758-bd69-4951-8148-181de3b92474" providerId="ADAL" clId="{A436842E-EA5C-4A6D-B51D-DDAE8BC6E9BD}" dt="2023-11-05T22:57:06.180" v="13967"/>
          <ac:spMkLst>
            <pc:docMk/>
            <pc:sldMk cId="733552054" sldId="347"/>
            <ac:spMk id="283" creationId="{A1F534C2-723C-578D-1683-72FF7DCE8B00}"/>
          </ac:spMkLst>
        </pc:spChg>
        <pc:spChg chg="mod">
          <ac:chgData name="Tan, Roger" userId="f6f33758-bd69-4951-8148-181de3b92474" providerId="ADAL" clId="{A436842E-EA5C-4A6D-B51D-DDAE8BC6E9BD}" dt="2023-11-05T22:57:06.178" v="13958"/>
          <ac:spMkLst>
            <pc:docMk/>
            <pc:sldMk cId="733552054" sldId="347"/>
            <ac:spMk id="284" creationId="{755EE9AE-DC32-4196-9644-28D8038ABE8E}"/>
          </ac:spMkLst>
        </pc:spChg>
        <pc:spChg chg="mod ord">
          <ac:chgData name="Tan, Roger" userId="f6f33758-bd69-4951-8148-181de3b92474" providerId="ADAL" clId="{A436842E-EA5C-4A6D-B51D-DDAE8BC6E9BD}" dt="2023-11-05T22:57:06.181" v="13971"/>
          <ac:spMkLst>
            <pc:docMk/>
            <pc:sldMk cId="733552054" sldId="347"/>
            <ac:spMk id="285" creationId="{C9765B4B-AAEB-9635-60C2-163A8D1E4565}"/>
          </ac:spMkLst>
        </pc:spChg>
        <pc:spChg chg="mod ord">
          <ac:chgData name="Tan, Roger" userId="f6f33758-bd69-4951-8148-181de3b92474" providerId="ADAL" clId="{A436842E-EA5C-4A6D-B51D-DDAE8BC6E9BD}" dt="2023-11-05T22:57:06.180" v="13969"/>
          <ac:spMkLst>
            <pc:docMk/>
            <pc:sldMk cId="733552054" sldId="347"/>
            <ac:spMk id="286" creationId="{057A9AD9-8DE8-F989-3600-DE26838C447A}"/>
          </ac:spMkLst>
        </pc:spChg>
        <pc:spChg chg="mod">
          <ac:chgData name="Tan, Roger" userId="f6f33758-bd69-4951-8148-181de3b92474" providerId="ADAL" clId="{A436842E-EA5C-4A6D-B51D-DDAE8BC6E9BD}" dt="2023-11-05T22:57:06.178" v="13959"/>
          <ac:spMkLst>
            <pc:docMk/>
            <pc:sldMk cId="733552054" sldId="347"/>
            <ac:spMk id="287" creationId="{ED3B12BB-D3D3-546E-4AC2-8BCC1B68E4B9}"/>
          </ac:spMkLst>
        </pc:spChg>
        <pc:spChg chg="mod">
          <ac:chgData name="Tan, Roger" userId="f6f33758-bd69-4951-8148-181de3b92474" providerId="ADAL" clId="{A436842E-EA5C-4A6D-B51D-DDAE8BC6E9BD}" dt="2023-11-05T22:57:06.183" v="13981"/>
          <ac:spMkLst>
            <pc:docMk/>
            <pc:sldMk cId="733552054" sldId="347"/>
            <ac:spMk id="302" creationId="{B97A568E-E365-8644-0CBA-4A9BCB1AA49E}"/>
          </ac:spMkLst>
        </pc:spChg>
        <pc:spChg chg="mod ord">
          <ac:chgData name="Tan, Roger" userId="f6f33758-bd69-4951-8148-181de3b92474" providerId="ADAL" clId="{A436842E-EA5C-4A6D-B51D-DDAE8BC6E9BD}" dt="2023-11-07T07:20:02.376" v="58424" actId="1076"/>
          <ac:spMkLst>
            <pc:docMk/>
            <pc:sldMk cId="733552054" sldId="347"/>
            <ac:spMk id="320" creationId="{428CD0BE-F5FF-0DDE-5410-AA6031A64292}"/>
          </ac:spMkLst>
        </pc:spChg>
        <pc:spChg chg="mod ord">
          <ac:chgData name="Tan, Roger" userId="f6f33758-bd69-4951-8148-181de3b92474" providerId="ADAL" clId="{A436842E-EA5C-4A6D-B51D-DDAE8BC6E9BD}" dt="2023-11-08T22:28:27.398" v="85799" actId="57"/>
          <ac:spMkLst>
            <pc:docMk/>
            <pc:sldMk cId="733552054" sldId="347"/>
            <ac:spMk id="323" creationId="{C7C2516B-2BED-C330-BCB1-07F861875719}"/>
          </ac:spMkLst>
        </pc:spChg>
        <pc:spChg chg="mod ord">
          <ac:chgData name="Tan, Roger" userId="f6f33758-bd69-4951-8148-181de3b92474" providerId="ADAL" clId="{A436842E-EA5C-4A6D-B51D-DDAE8BC6E9BD}" dt="2023-11-08T22:28:32.179" v="85800" actId="57"/>
          <ac:spMkLst>
            <pc:docMk/>
            <pc:sldMk cId="733552054" sldId="347"/>
            <ac:spMk id="324" creationId="{27477198-8076-F2A5-0DB4-D2B7D384DD03}"/>
          </ac:spMkLst>
        </pc:spChg>
        <pc:spChg chg="mod ord">
          <ac:chgData name="Tan, Roger" userId="f6f33758-bd69-4951-8148-181de3b92474" providerId="ADAL" clId="{A436842E-EA5C-4A6D-B51D-DDAE8BC6E9BD}" dt="2023-11-08T08:51:46.843" v="77393" actId="20577"/>
          <ac:spMkLst>
            <pc:docMk/>
            <pc:sldMk cId="733552054" sldId="347"/>
            <ac:spMk id="328" creationId="{60E4F3CA-8AB4-32EB-474E-DC41C572941D}"/>
          </ac:spMkLst>
        </pc:spChg>
        <pc:grpChg chg="add mod ord">
          <ac:chgData name="Tan, Roger" userId="f6f33758-bd69-4951-8148-181de3b92474" providerId="ADAL" clId="{A436842E-EA5C-4A6D-B51D-DDAE8BC6E9BD}" dt="2023-11-05T22:57:06.171" v="13928"/>
          <ac:grpSpMkLst>
            <pc:docMk/>
            <pc:sldMk cId="733552054" sldId="347"/>
            <ac:grpSpMk id="4" creationId="{C3EA2589-94EB-701E-18DD-EC22D203986D}"/>
          </ac:grpSpMkLst>
        </pc:grpChg>
        <pc:grpChg chg="add mod ord">
          <ac:chgData name="Tan, Roger" userId="f6f33758-bd69-4951-8148-181de3b92474" providerId="ADAL" clId="{A436842E-EA5C-4A6D-B51D-DDAE8BC6E9BD}" dt="2023-11-05T22:57:14.206" v="14011" actId="1076"/>
          <ac:grpSpMkLst>
            <pc:docMk/>
            <pc:sldMk cId="733552054" sldId="347"/>
            <ac:grpSpMk id="13" creationId="{3EC695F8-71E2-B057-99DC-07C2CD1FA5D1}"/>
          </ac:grpSpMkLst>
        </pc:grpChg>
        <pc:graphicFrameChg chg="mod">
          <ac:chgData name="Tan, Roger" userId="f6f33758-bd69-4951-8148-181de3b92474" providerId="ADAL" clId="{A436842E-EA5C-4A6D-B51D-DDAE8BC6E9BD}" dt="2023-11-07T07:20:13.306" v="58455"/>
          <ac:graphicFrameMkLst>
            <pc:docMk/>
            <pc:sldMk cId="733552054" sldId="347"/>
            <ac:graphicFrameMk id="12" creationId="{86999B2F-C49A-C28E-24BB-2A341C1389B1}"/>
          </ac:graphicFrameMkLst>
        </pc:graphicFrameChg>
        <pc:graphicFrameChg chg="mod ord">
          <ac:chgData name="Tan, Roger" userId="f6f33758-bd69-4951-8148-181de3b92474" providerId="ADAL" clId="{A436842E-EA5C-4A6D-B51D-DDAE8BC6E9BD}" dt="2023-11-05T22:57:06.171" v="13932"/>
          <ac:graphicFrameMkLst>
            <pc:docMk/>
            <pc:sldMk cId="733552054" sldId="347"/>
            <ac:graphicFrameMk id="319" creationId="{18494ACF-A97A-D3B9-E8A6-A1100CBB5F3B}"/>
          </ac:graphicFrameMkLst>
        </pc:graphicFrameChg>
        <pc:cxnChg chg="mod ord">
          <ac:chgData name="Tan, Roger" userId="f6f33758-bd69-4951-8148-181de3b92474" providerId="ADAL" clId="{A436842E-EA5C-4A6D-B51D-DDAE8BC6E9BD}" dt="2023-11-05T22:57:06.173" v="13938"/>
          <ac:cxnSpMkLst>
            <pc:docMk/>
            <pc:sldMk cId="733552054" sldId="347"/>
            <ac:cxnSpMk id="90" creationId="{24C7EDF7-D160-86AB-C2FD-26A84CBF77C6}"/>
          </ac:cxnSpMkLst>
        </pc:cxnChg>
        <pc:cxnChg chg="mod ord">
          <ac:chgData name="Tan, Roger" userId="f6f33758-bd69-4951-8148-181de3b92474" providerId="ADAL" clId="{A436842E-EA5C-4A6D-B51D-DDAE8BC6E9BD}" dt="2023-11-05T22:57:06.172" v="13934"/>
          <ac:cxnSpMkLst>
            <pc:docMk/>
            <pc:sldMk cId="733552054" sldId="347"/>
            <ac:cxnSpMk id="94" creationId="{DFED300D-B7EE-DE5F-3D67-BE178E9203EB}"/>
          </ac:cxnSpMkLst>
        </pc:cxnChg>
        <pc:cxnChg chg="mod ord">
          <ac:chgData name="Tan, Roger" userId="f6f33758-bd69-4951-8148-181de3b92474" providerId="ADAL" clId="{A436842E-EA5C-4A6D-B51D-DDAE8BC6E9BD}" dt="2023-11-05T22:57:06.174" v="13946"/>
          <ac:cxnSpMkLst>
            <pc:docMk/>
            <pc:sldMk cId="733552054" sldId="347"/>
            <ac:cxnSpMk id="98" creationId="{E06BCB14-D4F0-79C4-7E01-C91B58A327F6}"/>
          </ac:cxnSpMkLst>
        </pc:cxnChg>
        <pc:cxnChg chg="mod ord">
          <ac:chgData name="Tan, Roger" userId="f6f33758-bd69-4951-8148-181de3b92474" providerId="ADAL" clId="{A436842E-EA5C-4A6D-B51D-DDAE8BC6E9BD}" dt="2023-11-05T22:57:06.174" v="13944"/>
          <ac:cxnSpMkLst>
            <pc:docMk/>
            <pc:sldMk cId="733552054" sldId="347"/>
            <ac:cxnSpMk id="104" creationId="{52636944-78F9-2626-E131-4011050DD943}"/>
          </ac:cxnSpMkLst>
        </pc:cxnChg>
        <pc:cxnChg chg="mod ord">
          <ac:chgData name="Tan, Roger" userId="f6f33758-bd69-4951-8148-181de3b92474" providerId="ADAL" clId="{A436842E-EA5C-4A6D-B51D-DDAE8BC6E9BD}" dt="2023-11-05T22:57:06.173" v="13940"/>
          <ac:cxnSpMkLst>
            <pc:docMk/>
            <pc:sldMk cId="733552054" sldId="347"/>
            <ac:cxnSpMk id="152" creationId="{D8D3CE6E-3718-C09E-623E-168095831249}"/>
          </ac:cxnSpMkLst>
        </pc:cxnChg>
        <pc:cxnChg chg="mod ord">
          <ac:chgData name="Tan, Roger" userId="f6f33758-bd69-4951-8148-181de3b92474" providerId="ADAL" clId="{A436842E-EA5C-4A6D-B51D-DDAE8BC6E9BD}" dt="2023-11-05T22:57:06.174" v="13948"/>
          <ac:cxnSpMkLst>
            <pc:docMk/>
            <pc:sldMk cId="733552054" sldId="347"/>
            <ac:cxnSpMk id="153" creationId="{48A3AAF1-7169-29B1-00DF-B44C306A6D83}"/>
          </ac:cxnSpMkLst>
        </pc:cxnChg>
        <pc:cxnChg chg="mod ord">
          <ac:chgData name="Tan, Roger" userId="f6f33758-bd69-4951-8148-181de3b92474" providerId="ADAL" clId="{A436842E-EA5C-4A6D-B51D-DDAE8BC6E9BD}" dt="2023-11-05T22:57:06.173" v="13942"/>
          <ac:cxnSpMkLst>
            <pc:docMk/>
            <pc:sldMk cId="733552054" sldId="347"/>
            <ac:cxnSpMk id="160" creationId="{11A1A88D-3665-D3BC-CC71-2FB49FD8DA73}"/>
          </ac:cxnSpMkLst>
        </pc:cxnChg>
        <pc:cxnChg chg="mod ord">
          <ac:chgData name="Tan, Roger" userId="f6f33758-bd69-4951-8148-181de3b92474" providerId="ADAL" clId="{A436842E-EA5C-4A6D-B51D-DDAE8BC6E9BD}" dt="2023-11-05T22:57:06.172" v="13936"/>
          <ac:cxnSpMkLst>
            <pc:docMk/>
            <pc:sldMk cId="733552054" sldId="347"/>
            <ac:cxnSpMk id="161" creationId="{10613AF6-13AA-35E2-23F7-B86450B04B7C}"/>
          </ac:cxnSpMkLst>
        </pc:cxnChg>
        <pc:cxnChg chg="mod ord">
          <ac:chgData name="Tan, Roger" userId="f6f33758-bd69-4951-8148-181de3b92474" providerId="ADAL" clId="{A436842E-EA5C-4A6D-B51D-DDAE8BC6E9BD}" dt="2023-11-05T22:57:06.182" v="13978"/>
          <ac:cxnSpMkLst>
            <pc:docMk/>
            <pc:sldMk cId="733552054" sldId="347"/>
            <ac:cxnSpMk id="184" creationId="{D979262C-5FE6-B28F-58A8-C9065BB6DC84}"/>
          </ac:cxnSpMkLst>
        </pc:cxnChg>
        <pc:cxnChg chg="mod ord">
          <ac:chgData name="Tan, Roger" userId="f6f33758-bd69-4951-8148-181de3b92474" providerId="ADAL" clId="{A436842E-EA5C-4A6D-B51D-DDAE8BC6E9BD}" dt="2023-11-05T22:57:06.182" v="13980"/>
          <ac:cxnSpMkLst>
            <pc:docMk/>
            <pc:sldMk cId="733552054" sldId="347"/>
            <ac:cxnSpMk id="265" creationId="{1D903229-5AD7-AAF2-1189-586FF0C3EFF4}"/>
          </ac:cxnSpMkLst>
        </pc:cxnChg>
        <pc:cxnChg chg="mod ord">
          <ac:chgData name="Tan, Roger" userId="f6f33758-bd69-4951-8148-181de3b92474" providerId="ADAL" clId="{A436842E-EA5C-4A6D-B51D-DDAE8BC6E9BD}" dt="2023-11-05T22:57:06.181" v="13973"/>
          <ac:cxnSpMkLst>
            <pc:docMk/>
            <pc:sldMk cId="733552054" sldId="347"/>
            <ac:cxnSpMk id="269" creationId="{0DA114C1-76AF-0159-B52B-5552BF9E28D5}"/>
          </ac:cxnSpMkLst>
        </pc:cxnChg>
        <pc:cxnChg chg="mod ord">
          <ac:chgData name="Tan, Roger" userId="f6f33758-bd69-4951-8148-181de3b92474" providerId="ADAL" clId="{A436842E-EA5C-4A6D-B51D-DDAE8BC6E9BD}" dt="2023-11-05T22:57:06.181" v="13975"/>
          <ac:cxnSpMkLst>
            <pc:docMk/>
            <pc:sldMk cId="733552054" sldId="347"/>
            <ac:cxnSpMk id="272" creationId="{7CF1E258-EC98-9C97-7007-2549161DA448}"/>
          </ac:cxnSpMkLst>
        </pc:cxnChg>
        <pc:cxnChg chg="mod ord">
          <ac:chgData name="Tan, Roger" userId="f6f33758-bd69-4951-8148-181de3b92474" providerId="ADAL" clId="{A436842E-EA5C-4A6D-B51D-DDAE8BC6E9BD}" dt="2023-11-07T07:20:21.685" v="58456" actId="14100"/>
          <ac:cxnSpMkLst>
            <pc:docMk/>
            <pc:sldMk cId="733552054" sldId="347"/>
            <ac:cxnSpMk id="321" creationId="{0C14B2F5-D8B8-A78B-7423-4C62A40D65CC}"/>
          </ac:cxnSpMkLst>
        </pc:cxnChg>
      </pc:sldChg>
      <pc:sldChg chg="addSp delSp modSp add del mod modTransition modClrScheme modShow chgLayout">
        <pc:chgData name="Tan, Roger" userId="f6f33758-bd69-4951-8148-181de3b92474" providerId="ADAL" clId="{A436842E-EA5C-4A6D-B51D-DDAE8BC6E9BD}" dt="2023-11-07T17:24:59.551" v="74389" actId="2696"/>
        <pc:sldMkLst>
          <pc:docMk/>
          <pc:sldMk cId="3345404253" sldId="348"/>
        </pc:sldMkLst>
        <pc:spChg chg="add mod or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" creationId="{7A122DDB-75F7-A9E9-2923-77BEC9F48B18}"/>
          </ac:spMkLst>
        </pc:spChg>
        <pc:spChg chg="add del mod modVis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3" creationId="{6E6AA79D-1802-340A-E981-ED2348D6086B}"/>
          </ac:spMkLst>
        </pc:spChg>
        <pc:spChg chg="add del mod modVis">
          <ac:chgData name="Tan, Roger" userId="f6f33758-bd69-4951-8148-181de3b92474" providerId="ADAL" clId="{A436842E-EA5C-4A6D-B51D-DDAE8BC6E9BD}" dt="2023-11-05T06:24:28.416" v="6821"/>
          <ac:spMkLst>
            <pc:docMk/>
            <pc:sldMk cId="3345404253" sldId="348"/>
            <ac:spMk id="3" creationId="{9D7C6E7D-3AD1-B3B8-3C8C-C740826629EC}"/>
          </ac:spMkLst>
        </pc:spChg>
        <pc:spChg chg="add mod or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6" creationId="{61999B40-D6BD-2145-842A-DB7BD5EBAA9B}"/>
          </ac:spMkLst>
        </pc:spChg>
        <pc:spChg chg="mod">
          <ac:chgData name="Tan, Roger" userId="f6f33758-bd69-4951-8148-181de3b92474" providerId="ADAL" clId="{A436842E-EA5C-4A6D-B51D-DDAE8BC6E9BD}" dt="2023-11-06T06:43:30.714" v="20470"/>
          <ac:spMkLst>
            <pc:docMk/>
            <pc:sldMk cId="3345404253" sldId="348"/>
            <ac:spMk id="76" creationId="{C05BE20A-F731-DA30-86F2-15F824006E80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78" creationId="{5ED211F4-E3B3-CF85-3730-5923FE57A3B7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79" creationId="{64AC2E82-B1C8-40A8-1096-9834D931467F}"/>
          </ac:spMkLst>
        </pc:spChg>
        <pc:spChg chg="mod">
          <ac:chgData name="Tan, Roger" userId="f6f33758-bd69-4951-8148-181de3b92474" providerId="ADAL" clId="{A436842E-EA5C-4A6D-B51D-DDAE8BC6E9BD}" dt="2023-11-06T06:43:30.714" v="20469"/>
          <ac:spMkLst>
            <pc:docMk/>
            <pc:sldMk cId="3345404253" sldId="348"/>
            <ac:spMk id="83" creationId="{C8DB2FF8-26DD-51F7-1E48-4D16871BDC75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84" creationId="{7709E3D4-133F-7E78-C555-378F3FFD7837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87" creationId="{7C6B60C7-AF75-51AB-27D3-98831251B6BB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90" creationId="{B2C46E14-A231-B2F9-57D0-855BDF06D7B8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93" creationId="{DBC6256E-A008-B706-5458-1C7F3AE962E5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96" creationId="{5E28CCB4-F12C-BB3D-61C6-747BB80A4522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99" creationId="{44B1D554-907A-C482-6EE0-E31BACE76EB2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102" creationId="{2B42771B-89F4-8DAE-BE9F-772075F007F2}"/>
          </ac:spMkLst>
        </pc:spChg>
        <pc:spChg chg="mod">
          <ac:chgData name="Tan, Roger" userId="f6f33758-bd69-4951-8148-181de3b92474" providerId="ADAL" clId="{A436842E-EA5C-4A6D-B51D-DDAE8BC6E9BD}" dt="2023-11-06T06:43:30.710" v="20462"/>
          <ac:spMkLst>
            <pc:docMk/>
            <pc:sldMk cId="3345404253" sldId="348"/>
            <ac:spMk id="211" creationId="{FD5192EA-19D5-554A-4F75-C4AD369F84A4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2" creationId="{5BE28F67-1B28-1D94-F4EB-2871A388AFF9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3" creationId="{AAC97D4C-690A-E770-517E-430EA4C359CF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4" creationId="{3C085518-8DFB-980E-F2CE-28A90C02097F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5" creationId="{1BF866DB-435A-0BC0-862E-938F94DCBED8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6" creationId="{AC7E2827-1863-E71E-30AC-EB744B03DE6C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7" creationId="{C246FC45-4A33-4E4E-C41A-D796A04331D7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8" creationId="{9DCAE952-9B18-3D8A-4525-B9DEF43D8F97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19" creationId="{B32EA27E-440D-3AFA-C735-2862E90CBA6A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20" creationId="{571F7EDB-A480-2131-E714-A5B0C963E3D6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21" creationId="{9A57B91D-6203-72D0-8E87-738E9AE560A6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22" creationId="{276113E9-B471-2A31-8935-C0AD4FB604C4}"/>
          </ac:spMkLst>
        </pc:spChg>
        <pc:spChg chg="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23" creationId="{5D284A1C-D305-04DC-A34A-831A6E46D2D5}"/>
          </ac:spMkLst>
        </pc:spChg>
        <pc:spChg chg="add del mo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224" creationId="{DBD1CE1B-C9E8-ABD3-D147-7B634782B230}"/>
          </ac:spMkLst>
        </pc:spChg>
        <pc:spChg chg="mod or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481" creationId="{1FDE6CB3-2EE5-97F7-5A8B-21FEA68C093C}"/>
          </ac:spMkLst>
        </pc:spChg>
        <pc:spChg chg="del mod ord">
          <ac:chgData name="Tan, Roger" userId="f6f33758-bd69-4951-8148-181de3b92474" providerId="ADAL" clId="{A436842E-EA5C-4A6D-B51D-DDAE8BC6E9BD}" dt="2023-11-05T06:28:56.332" v="6924" actId="478"/>
          <ac:spMkLst>
            <pc:docMk/>
            <pc:sldMk cId="3345404253" sldId="348"/>
            <ac:spMk id="484" creationId="{F98D5E44-455D-4A07-38A0-AD9A9324D48A}"/>
          </ac:spMkLst>
        </pc:spChg>
        <pc:spChg chg="mod ord">
          <ac:chgData name="Tan, Roger" userId="f6f33758-bd69-4951-8148-181de3b92474" providerId="ADAL" clId="{A436842E-EA5C-4A6D-B51D-DDAE8BC6E9BD}" dt="2023-11-06T06:46:48.247" v="20645"/>
          <ac:spMkLst>
            <pc:docMk/>
            <pc:sldMk cId="3345404253" sldId="348"/>
            <ac:spMk id="485" creationId="{9919C743-B9CA-D2D5-767A-F02BFF6150B4}"/>
          </ac:spMkLst>
        </pc:spChg>
        <pc:graphicFrameChg chg="add del mod ord replST">
          <ac:chgData name="Tan, Roger" userId="f6f33758-bd69-4951-8148-181de3b92474" providerId="ADAL" clId="{A436842E-EA5C-4A6D-B51D-DDAE8BC6E9BD}" dt="2023-11-06T06:46:48.247" v="20645"/>
          <ac:graphicFrameMkLst>
            <pc:docMk/>
            <pc:sldMk cId="3345404253" sldId="348"/>
            <ac:graphicFrameMk id="4" creationId="{E17B4AF0-ABEC-A710-8427-8377C2A1A633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6T06:46:48.247" v="20645"/>
          <ac:graphicFrameMkLst>
            <pc:docMk/>
            <pc:sldMk cId="3345404253" sldId="348"/>
            <ac:graphicFrameMk id="5" creationId="{9B2E9352-88E8-608C-1186-3C55325B47CE}"/>
          </ac:graphicFrameMkLst>
        </pc:graphicFrameChg>
        <pc:graphicFrameChg chg="mod">
          <ac:chgData name="Tan, Roger" userId="f6f33758-bd69-4951-8148-181de3b92474" providerId="ADAL" clId="{A436842E-EA5C-4A6D-B51D-DDAE8BC6E9BD}" dt="2023-11-06T06:46:48.254" v="20647"/>
          <ac:graphicFrameMkLst>
            <pc:docMk/>
            <pc:sldMk cId="3345404253" sldId="348"/>
            <ac:graphicFrameMk id="9" creationId="{5DE7E905-5EDA-8429-DE11-43E8EDD31802}"/>
          </ac:graphicFrameMkLst>
        </pc:graphicFrameChg>
        <pc:graphicFrameChg chg="mod ord modGraphic">
          <ac:chgData name="Tan, Roger" userId="f6f33758-bd69-4951-8148-181de3b92474" providerId="ADAL" clId="{A436842E-EA5C-4A6D-B51D-DDAE8BC6E9BD}" dt="2023-11-06T06:46:48.247" v="20645"/>
          <ac:graphicFrameMkLst>
            <pc:docMk/>
            <pc:sldMk cId="3345404253" sldId="348"/>
            <ac:graphicFrameMk id="459" creationId="{A4A1DB1E-5439-4444-C760-1050438CD2A1}"/>
          </ac:graphicFrameMkLst>
        </pc:graphicFrameChg>
        <pc:graphicFrameChg chg="del">
          <ac:chgData name="Tan, Roger" userId="f6f33758-bd69-4951-8148-181de3b92474" providerId="ADAL" clId="{A436842E-EA5C-4A6D-B51D-DDAE8BC6E9BD}" dt="2023-11-05T06:24:28.365" v="6772"/>
          <ac:graphicFrameMkLst>
            <pc:docMk/>
            <pc:sldMk cId="3345404253" sldId="348"/>
            <ac:graphicFrameMk id="483" creationId="{62ED9049-1515-39A3-74FC-BA2A13C0F3AE}"/>
          </ac:graphicFrameMkLst>
        </pc:graphicFrameChg>
        <pc:cxnChg chg="mod ord">
          <ac:chgData name="Tan, Roger" userId="f6f33758-bd69-4951-8148-181de3b92474" providerId="ADAL" clId="{A436842E-EA5C-4A6D-B51D-DDAE8BC6E9BD}" dt="2023-11-06T06:46:48.247" v="20645"/>
          <ac:cxnSpMkLst>
            <pc:docMk/>
            <pc:sldMk cId="3345404253" sldId="348"/>
            <ac:cxnSpMk id="479" creationId="{354FF9F7-A32B-1D38-5975-E3B3519996D3}"/>
          </ac:cxnSpMkLst>
        </pc:cxnChg>
      </pc:sldChg>
      <pc:sldChg chg="modSp mod">
        <pc:chgData name="Tan, Roger" userId="f6f33758-bd69-4951-8148-181de3b92474" providerId="ADAL" clId="{A436842E-EA5C-4A6D-B51D-DDAE8BC6E9BD}" dt="2023-11-08T02:21:59.521" v="76263"/>
        <pc:sldMkLst>
          <pc:docMk/>
          <pc:sldMk cId="3628047139" sldId="351"/>
        </pc:sldMkLst>
        <pc:graphicFrameChg chg="mod">
          <ac:chgData name="Tan, Roger" userId="f6f33758-bd69-4951-8148-181de3b92474" providerId="ADAL" clId="{A436842E-EA5C-4A6D-B51D-DDAE8BC6E9BD}" dt="2023-11-08T02:21:59.521" v="76263"/>
          <ac:graphicFrameMkLst>
            <pc:docMk/>
            <pc:sldMk cId="3628047139" sldId="351"/>
            <ac:graphicFrameMk id="4" creationId="{FD4A65FB-339A-B2BC-4155-257FFC3BBBB9}"/>
          </ac:graphicFrameMkLst>
        </pc:graphicFrameChg>
      </pc:sldChg>
      <pc:sldChg chg="modSp mod">
        <pc:chgData name="Tan, Roger" userId="f6f33758-bd69-4951-8148-181de3b92474" providerId="ADAL" clId="{A436842E-EA5C-4A6D-B51D-DDAE8BC6E9BD}" dt="2023-11-08T05:43:06.994" v="76886" actId="20577"/>
        <pc:sldMkLst>
          <pc:docMk/>
          <pc:sldMk cId="1428870141" sldId="352"/>
        </pc:sldMkLst>
        <pc:spChg chg="mod">
          <ac:chgData name="Tan, Roger" userId="f6f33758-bd69-4951-8148-181de3b92474" providerId="ADAL" clId="{A436842E-EA5C-4A6D-B51D-DDAE8BC6E9BD}" dt="2023-11-08T05:43:06.994" v="76886" actId="20577"/>
          <ac:spMkLst>
            <pc:docMk/>
            <pc:sldMk cId="1428870141" sldId="352"/>
            <ac:spMk id="20" creationId="{28315E8B-3DD9-4773-35A6-8B0EA29AD904}"/>
          </ac:spMkLst>
        </pc:spChg>
      </pc:sldChg>
      <pc:sldChg chg="addSp delSp modSp del mod modTransition modClrScheme modShow chgLayout">
        <pc:chgData name="Tan, Roger" userId="f6f33758-bd69-4951-8148-181de3b92474" providerId="ADAL" clId="{A436842E-EA5C-4A6D-B51D-DDAE8BC6E9BD}" dt="2023-11-07T19:26:58.874" v="75866" actId="47"/>
        <pc:sldMkLst>
          <pc:docMk/>
          <pc:sldMk cId="153294527" sldId="353"/>
        </pc:sldMkLst>
        <pc:spChg chg="mod ord">
          <ac:chgData name="Tan, Roger" userId="f6f33758-bd69-4951-8148-181de3b92474" providerId="ADAL" clId="{A436842E-EA5C-4A6D-B51D-DDAE8BC6E9BD}" dt="2023-11-05T03:26:38.639" v="2635"/>
          <ac:spMkLst>
            <pc:docMk/>
            <pc:sldMk cId="153294527" sldId="353"/>
            <ac:spMk id="2" creationId="{D38E5C8C-3841-BCDE-2788-4F1BD656772E}"/>
          </ac:spMkLst>
        </pc:spChg>
        <pc:spChg chg="mod">
          <ac:chgData name="Tan, Roger" userId="f6f33758-bd69-4951-8148-181de3b92474" providerId="ADAL" clId="{A436842E-EA5C-4A6D-B51D-DDAE8BC6E9BD}" dt="2023-11-05T03:26:38.640" v="2638"/>
          <ac:spMkLst>
            <pc:docMk/>
            <pc:sldMk cId="153294527" sldId="353"/>
            <ac:spMk id="3" creationId="{27851A68-3172-4EE2-8476-2E5DD39D0C47}"/>
          </ac:spMkLst>
        </pc:spChg>
        <pc:spChg chg="add del mod modVis">
          <ac:chgData name="Tan, Roger" userId="f6f33758-bd69-4951-8148-181de3b92474" providerId="ADAL" clId="{A436842E-EA5C-4A6D-B51D-DDAE8BC6E9BD}" dt="2023-11-05T03:12:13.507" v="165"/>
          <ac:spMkLst>
            <pc:docMk/>
            <pc:sldMk cId="153294527" sldId="353"/>
            <ac:spMk id="4" creationId="{21A4A989-7E05-EE74-2317-FD6AE20BC4A4}"/>
          </ac:spMkLst>
        </pc:spChg>
        <pc:spChg chg="add del mod modVis">
          <ac:chgData name="Tan, Roger" userId="f6f33758-bd69-4951-8148-181de3b92474" providerId="ADAL" clId="{A436842E-EA5C-4A6D-B51D-DDAE8BC6E9BD}" dt="2023-11-05T03:22:07.888" v="381"/>
          <ac:spMkLst>
            <pc:docMk/>
            <pc:sldMk cId="153294527" sldId="353"/>
            <ac:spMk id="4" creationId="{CD8D70A5-170B-12CA-32E6-523455C0567C}"/>
          </ac:spMkLst>
        </pc:spChg>
        <pc:spChg chg="mod">
          <ac:chgData name="Tan, Roger" userId="f6f33758-bd69-4951-8148-181de3b92474" providerId="ADAL" clId="{A436842E-EA5C-4A6D-B51D-DDAE8BC6E9BD}" dt="2023-11-05T03:26:38.640" v="2639"/>
          <ac:spMkLst>
            <pc:docMk/>
            <pc:sldMk cId="153294527" sldId="353"/>
            <ac:spMk id="5" creationId="{7847591B-1221-76F8-F159-60F2713E193F}"/>
          </ac:spMkLst>
        </pc:spChg>
        <pc:spChg chg="add del mod modVis">
          <ac:chgData name="Tan, Roger" userId="f6f33758-bd69-4951-8148-181de3b92474" providerId="ADAL" clId="{A436842E-EA5C-4A6D-B51D-DDAE8BC6E9BD}" dt="2023-11-05T03:24:13.450" v="521"/>
          <ac:spMkLst>
            <pc:docMk/>
            <pc:sldMk cId="153294527" sldId="353"/>
            <ac:spMk id="6" creationId="{B6209923-B625-EECD-40D7-503865920598}"/>
          </ac:spMkLst>
        </pc:spChg>
        <pc:spChg chg="add del mod modVis">
          <ac:chgData name="Tan, Roger" userId="f6f33758-bd69-4951-8148-181de3b92474" providerId="ADAL" clId="{A436842E-EA5C-4A6D-B51D-DDAE8BC6E9BD}" dt="2023-11-05T03:24:17.259" v="628"/>
          <ac:spMkLst>
            <pc:docMk/>
            <pc:sldMk cId="153294527" sldId="353"/>
            <ac:spMk id="9" creationId="{F047CD4E-5179-8B03-A2AC-A37E3EE03323}"/>
          </ac:spMkLst>
        </pc:spChg>
        <pc:spChg chg="add del mod modVis">
          <ac:chgData name="Tan, Roger" userId="f6f33758-bd69-4951-8148-181de3b92474" providerId="ADAL" clId="{A436842E-EA5C-4A6D-B51D-DDAE8BC6E9BD}" dt="2023-11-05T03:13:22.451" v="202"/>
          <ac:spMkLst>
            <pc:docMk/>
            <pc:sldMk cId="153294527" sldId="353"/>
            <ac:spMk id="10" creationId="{BD8E04A4-7264-F3FD-1939-51D8E0128A03}"/>
          </ac:spMkLst>
        </pc:spChg>
        <pc:spChg chg="add del mod modVis">
          <ac:chgData name="Tan, Roger" userId="f6f33758-bd69-4951-8148-181de3b92474" providerId="ADAL" clId="{A436842E-EA5C-4A6D-B51D-DDAE8BC6E9BD}" dt="2023-11-05T03:13:57.131" v="233"/>
          <ac:spMkLst>
            <pc:docMk/>
            <pc:sldMk cId="153294527" sldId="353"/>
            <ac:spMk id="12" creationId="{4BE1DB06-BBE2-33DC-05AF-2369F2EE4186}"/>
          </ac:spMkLst>
        </pc:spChg>
        <pc:spChg chg="add del mod modVis">
          <ac:chgData name="Tan, Roger" userId="f6f33758-bd69-4951-8148-181de3b92474" providerId="ADAL" clId="{A436842E-EA5C-4A6D-B51D-DDAE8BC6E9BD}" dt="2023-11-05T03:24:20.871" v="735"/>
          <ac:spMkLst>
            <pc:docMk/>
            <pc:sldMk cId="153294527" sldId="353"/>
            <ac:spMk id="12" creationId="{B534E4B6-7846-B164-AAF8-7D93EC0CD987}"/>
          </ac:spMkLst>
        </pc:spChg>
        <pc:spChg chg="add del mod modVis">
          <ac:chgData name="Tan, Roger" userId="f6f33758-bd69-4951-8148-181de3b92474" providerId="ADAL" clId="{A436842E-EA5C-4A6D-B51D-DDAE8BC6E9BD}" dt="2023-11-05T03:24:56.347" v="860"/>
          <ac:spMkLst>
            <pc:docMk/>
            <pc:sldMk cId="153294527" sldId="353"/>
            <ac:spMk id="14" creationId="{E0BF5B51-785F-7422-BD9A-A64FFE1FEB10}"/>
          </ac:spMkLst>
        </pc:spChg>
        <pc:spChg chg="mod">
          <ac:chgData name="Tan, Roger" userId="f6f33758-bd69-4951-8148-181de3b92474" providerId="ADAL" clId="{A436842E-EA5C-4A6D-B51D-DDAE8BC6E9BD}" dt="2023-11-05T03:27:14.467" v="2744"/>
          <ac:spMkLst>
            <pc:docMk/>
            <pc:sldMk cId="153294527" sldId="353"/>
            <ac:spMk id="17" creationId="{83D8F380-3B49-E6D4-0802-6D4922AD150E}"/>
          </ac:spMkLst>
        </pc:spChg>
        <pc:spChg chg="add del mod modVis">
          <ac:chgData name="Tan, Roger" userId="f6f33758-bd69-4951-8148-181de3b92474" providerId="ADAL" clId="{A436842E-EA5C-4A6D-B51D-DDAE8BC6E9BD}" dt="2023-11-05T03:25:09.767" v="1021"/>
          <ac:spMkLst>
            <pc:docMk/>
            <pc:sldMk cId="153294527" sldId="353"/>
            <ac:spMk id="18" creationId="{D1E1A744-378C-F820-10A7-4B8909D7DE69}"/>
          </ac:spMkLst>
        </pc:spChg>
        <pc:spChg chg="mod ord">
          <ac:chgData name="Tan, Roger" userId="f6f33758-bd69-4951-8148-181de3b92474" providerId="ADAL" clId="{A436842E-EA5C-4A6D-B51D-DDAE8BC6E9BD}" dt="2023-11-05T03:26:38.641" v="2643"/>
          <ac:spMkLst>
            <pc:docMk/>
            <pc:sldMk cId="153294527" sldId="353"/>
            <ac:spMk id="20" creationId="{AB930219-4A48-DEF0-AE52-570BFDB1948F}"/>
          </ac:spMkLst>
        </pc:spChg>
        <pc:spChg chg="add del mod modVis">
          <ac:chgData name="Tan, Roger" userId="f6f33758-bd69-4951-8148-181de3b92474" providerId="ADAL" clId="{A436842E-EA5C-4A6D-B51D-DDAE8BC6E9BD}" dt="2023-11-05T03:25:15.544" v="1158"/>
          <ac:spMkLst>
            <pc:docMk/>
            <pc:sldMk cId="153294527" sldId="353"/>
            <ac:spMk id="22" creationId="{89D3BEAE-7958-9C08-697D-8F37CFBBC0BB}"/>
          </ac:spMkLst>
        </pc:spChg>
        <pc:spChg chg="add del mod modVis">
          <ac:chgData name="Tan, Roger" userId="f6f33758-bd69-4951-8148-181de3b92474" providerId="ADAL" clId="{A436842E-EA5C-4A6D-B51D-DDAE8BC6E9BD}" dt="2023-11-05T03:25:18.350" v="1291"/>
          <ac:spMkLst>
            <pc:docMk/>
            <pc:sldMk cId="153294527" sldId="353"/>
            <ac:spMk id="25" creationId="{1E8E30E9-BC67-6E79-7A6F-1B44140743EC}"/>
          </ac:spMkLst>
        </pc:spChg>
        <pc:spChg chg="add del mod modVis">
          <ac:chgData name="Tan, Roger" userId="f6f33758-bd69-4951-8148-181de3b92474" providerId="ADAL" clId="{A436842E-EA5C-4A6D-B51D-DDAE8BC6E9BD}" dt="2023-11-05T03:25:22.565" v="1424"/>
          <ac:spMkLst>
            <pc:docMk/>
            <pc:sldMk cId="153294527" sldId="353"/>
            <ac:spMk id="28" creationId="{6DB4729D-3B99-B06C-A0DE-003E6D442FE2}"/>
          </ac:spMkLst>
        </pc:spChg>
        <pc:spChg chg="add del mod modVis">
          <ac:chgData name="Tan, Roger" userId="f6f33758-bd69-4951-8148-181de3b92474" providerId="ADAL" clId="{A436842E-EA5C-4A6D-B51D-DDAE8BC6E9BD}" dt="2023-11-05T03:26:05.347" v="2240"/>
          <ac:spMkLst>
            <pc:docMk/>
            <pc:sldMk cId="153294527" sldId="353"/>
            <ac:spMk id="39" creationId="{E55E6008-306B-BC1D-834D-B2CF1ED9241A}"/>
          </ac:spMkLst>
        </pc:spChg>
        <pc:spChg chg="add del mod modVis">
          <ac:chgData name="Tan, Roger" userId="f6f33758-bd69-4951-8148-181de3b92474" providerId="ADAL" clId="{A436842E-EA5C-4A6D-B51D-DDAE8BC6E9BD}" dt="2023-11-05T03:26:10.654" v="2285"/>
          <ac:spMkLst>
            <pc:docMk/>
            <pc:sldMk cId="153294527" sldId="353"/>
            <ac:spMk id="40" creationId="{4694389B-6CBF-305E-B3C6-8FEC8CE0AEAA}"/>
          </ac:spMkLst>
        </pc:spChg>
        <pc:spChg chg="add del mod modVis">
          <ac:chgData name="Tan, Roger" userId="f6f33758-bd69-4951-8148-181de3b92474" providerId="ADAL" clId="{A436842E-EA5C-4A6D-B51D-DDAE8BC6E9BD}" dt="2023-11-05T03:26:15.161" v="2365"/>
          <ac:spMkLst>
            <pc:docMk/>
            <pc:sldMk cId="153294527" sldId="353"/>
            <ac:spMk id="41" creationId="{0FDD63AB-B61D-4207-FF1A-21E8ADC0101F}"/>
          </ac:spMkLst>
        </pc:spChg>
        <pc:spChg chg="add del mod modVis">
          <ac:chgData name="Tan, Roger" userId="f6f33758-bd69-4951-8148-181de3b92474" providerId="ADAL" clId="{A436842E-EA5C-4A6D-B51D-DDAE8BC6E9BD}" dt="2023-11-05T03:26:20.977" v="2447"/>
          <ac:spMkLst>
            <pc:docMk/>
            <pc:sldMk cId="153294527" sldId="353"/>
            <ac:spMk id="43" creationId="{87A59C0B-7E04-3F8A-A50F-088A7B51D0C8}"/>
          </ac:spMkLst>
        </pc:spChg>
        <pc:spChg chg="add del mod modVis">
          <ac:chgData name="Tan, Roger" userId="f6f33758-bd69-4951-8148-181de3b92474" providerId="ADAL" clId="{A436842E-EA5C-4A6D-B51D-DDAE8BC6E9BD}" dt="2023-11-05T03:26:25.564" v="2527"/>
          <ac:spMkLst>
            <pc:docMk/>
            <pc:sldMk cId="153294527" sldId="353"/>
            <ac:spMk id="45" creationId="{5E9B1C93-6312-95F5-19B3-E6BDB23FE27D}"/>
          </ac:spMkLst>
        </pc:spChg>
        <pc:spChg chg="add del mod modVis">
          <ac:chgData name="Tan, Roger" userId="f6f33758-bd69-4951-8148-181de3b92474" providerId="ADAL" clId="{A436842E-EA5C-4A6D-B51D-DDAE8BC6E9BD}" dt="2023-11-05T03:26:32.567" v="2609"/>
          <ac:spMkLst>
            <pc:docMk/>
            <pc:sldMk cId="153294527" sldId="353"/>
            <ac:spMk id="47" creationId="{41AB7814-D6BD-9B2F-1D05-6B519849FFB1}"/>
          </ac:spMkLst>
        </pc:spChg>
        <pc:spChg chg="add del mod modVis">
          <ac:chgData name="Tan, Roger" userId="f6f33758-bd69-4951-8148-181de3b92474" providerId="ADAL" clId="{A436842E-EA5C-4A6D-B51D-DDAE8BC6E9BD}" dt="2023-11-05T03:27:10.293" v="2729"/>
          <ac:spMkLst>
            <pc:docMk/>
            <pc:sldMk cId="153294527" sldId="353"/>
            <ac:spMk id="50" creationId="{48F39994-F4C7-E3CA-46D2-8EBB8B2B6A22}"/>
          </ac:spMkLst>
        </pc:spChg>
        <pc:spChg chg="mod">
          <ac:chgData name="Tan, Roger" userId="f6f33758-bd69-4951-8148-181de3b92474" providerId="ADAL" clId="{A436842E-EA5C-4A6D-B51D-DDAE8BC6E9BD}" dt="2023-11-05T03:26:38.642" v="2647"/>
          <ac:spMkLst>
            <pc:docMk/>
            <pc:sldMk cId="153294527" sldId="353"/>
            <ac:spMk id="58" creationId="{F3DFF600-8704-4CE6-3A0F-5CCAF2D9FE91}"/>
          </ac:spMkLst>
        </pc:spChg>
        <pc:spChg chg="mod">
          <ac:chgData name="Tan, Roger" userId="f6f33758-bd69-4951-8148-181de3b92474" providerId="ADAL" clId="{A436842E-EA5C-4A6D-B51D-DDAE8BC6E9BD}" dt="2023-11-05T03:26:38.642" v="2648"/>
          <ac:spMkLst>
            <pc:docMk/>
            <pc:sldMk cId="153294527" sldId="353"/>
            <ac:spMk id="59" creationId="{B1C8EEB9-E3E5-126E-831C-7581C37541E1}"/>
          </ac:spMkLst>
        </pc:spChg>
        <pc:spChg chg="mod ord">
          <ac:chgData name="Tan, Roger" userId="f6f33758-bd69-4951-8148-181de3b92474" providerId="ADAL" clId="{A436842E-EA5C-4A6D-B51D-DDAE8BC6E9BD}" dt="2023-11-05T03:27:14.477" v="2753"/>
          <ac:spMkLst>
            <pc:docMk/>
            <pc:sldMk cId="153294527" sldId="353"/>
            <ac:spMk id="61" creationId="{4E9DEBED-3FBB-BBD2-CED6-0F25DDE4D20C}"/>
          </ac:spMkLst>
        </pc:spChg>
        <pc:spChg chg="mod">
          <ac:chgData name="Tan, Roger" userId="f6f33758-bd69-4951-8148-181de3b92474" providerId="ADAL" clId="{A436842E-EA5C-4A6D-B51D-DDAE8BC6E9BD}" dt="2023-11-05T03:27:14.479" v="2757"/>
          <ac:spMkLst>
            <pc:docMk/>
            <pc:sldMk cId="153294527" sldId="353"/>
            <ac:spMk id="63" creationId="{B3526834-F29D-322D-8656-3256FC3246BD}"/>
          </ac:spMkLst>
        </pc:spChg>
        <pc:spChg chg="mod">
          <ac:chgData name="Tan, Roger" userId="f6f33758-bd69-4951-8148-181de3b92474" providerId="ADAL" clId="{A436842E-EA5C-4A6D-B51D-DDAE8BC6E9BD}" dt="2023-11-05T03:26:38.640" v="2640"/>
          <ac:spMkLst>
            <pc:docMk/>
            <pc:sldMk cId="153294527" sldId="353"/>
            <ac:spMk id="100" creationId="{9C681AFD-3E9F-290C-40CB-B94154E73CDC}"/>
          </ac:spMkLst>
        </pc:spChg>
        <pc:spChg chg="mod">
          <ac:chgData name="Tan, Roger" userId="f6f33758-bd69-4951-8148-181de3b92474" providerId="ADAL" clId="{A436842E-EA5C-4A6D-B51D-DDAE8BC6E9BD}" dt="2023-11-05T03:26:38.641" v="2641"/>
          <ac:spMkLst>
            <pc:docMk/>
            <pc:sldMk cId="153294527" sldId="353"/>
            <ac:spMk id="106" creationId="{8A61F6B0-A72F-97AE-9D0B-25CCD3DFAC6B}"/>
          </ac:spMkLst>
        </pc:spChg>
        <pc:spChg chg="mod">
          <ac:chgData name="Tan, Roger" userId="f6f33758-bd69-4951-8148-181de3b92474" providerId="ADAL" clId="{A436842E-EA5C-4A6D-B51D-DDAE8BC6E9BD}" dt="2023-11-05T03:26:38.643" v="2649"/>
          <ac:spMkLst>
            <pc:docMk/>
            <pc:sldMk cId="153294527" sldId="353"/>
            <ac:spMk id="114" creationId="{A18D2A71-E273-11B1-3871-9F04A2B75444}"/>
          </ac:spMkLst>
        </pc:spChg>
        <pc:spChg chg="mod">
          <ac:chgData name="Tan, Roger" userId="f6f33758-bd69-4951-8148-181de3b92474" providerId="ADAL" clId="{A436842E-EA5C-4A6D-B51D-DDAE8BC6E9BD}" dt="2023-11-05T03:26:38.643" v="2650"/>
          <ac:spMkLst>
            <pc:docMk/>
            <pc:sldMk cId="153294527" sldId="353"/>
            <ac:spMk id="119" creationId="{6A5079A0-E0B7-A998-628C-CEE9C18840F0}"/>
          </ac:spMkLst>
        </pc:spChg>
        <pc:spChg chg="mod ord">
          <ac:chgData name="Tan, Roger" userId="f6f33758-bd69-4951-8148-181de3b92474" providerId="ADAL" clId="{A436842E-EA5C-4A6D-B51D-DDAE8BC6E9BD}" dt="2023-11-05T03:26:38.644" v="2655"/>
          <ac:spMkLst>
            <pc:docMk/>
            <pc:sldMk cId="153294527" sldId="353"/>
            <ac:spMk id="128" creationId="{0576C39B-D19A-DA5D-7B20-A7AF9180C54C}"/>
          </ac:spMkLst>
        </pc:spChg>
        <pc:spChg chg="del mod ord">
          <ac:chgData name="Tan, Roger" userId="f6f33758-bd69-4951-8148-181de3b92474" providerId="ADAL" clId="{A436842E-EA5C-4A6D-B51D-DDAE8BC6E9BD}" dt="2023-11-05T03:25:47.266" v="2071"/>
          <ac:spMkLst>
            <pc:docMk/>
            <pc:sldMk cId="153294527" sldId="353"/>
            <ac:spMk id="131" creationId="{BF9B7918-3F38-BC06-24CC-274D2B034300}"/>
          </ac:spMkLst>
        </pc:spChg>
        <pc:spChg chg="del mod ord">
          <ac:chgData name="Tan, Roger" userId="f6f33758-bd69-4951-8148-181de3b92474" providerId="ADAL" clId="{A436842E-EA5C-4A6D-B51D-DDAE8BC6E9BD}" dt="2023-11-05T03:25:50.028" v="2141"/>
          <ac:spMkLst>
            <pc:docMk/>
            <pc:sldMk cId="153294527" sldId="353"/>
            <ac:spMk id="151" creationId="{653CC2D2-A109-865F-4838-3A09E80FE43F}"/>
          </ac:spMkLst>
        </pc:spChg>
        <pc:spChg chg="del mod ord">
          <ac:chgData name="Tan, Roger" userId="f6f33758-bd69-4951-8148-181de3b92474" providerId="ADAL" clId="{A436842E-EA5C-4A6D-B51D-DDAE8BC6E9BD}" dt="2023-11-05T03:25:53.552" v="2196" actId="478"/>
          <ac:spMkLst>
            <pc:docMk/>
            <pc:sldMk cId="153294527" sldId="353"/>
            <ac:spMk id="163" creationId="{55970BFC-3EC6-4BDC-68C7-CE8956A2BD7B}"/>
          </ac:spMkLst>
        </pc:spChg>
        <pc:spChg chg="mod ord">
          <ac:chgData name="Tan, Roger" userId="f6f33758-bd69-4951-8148-181de3b92474" providerId="ADAL" clId="{A436842E-EA5C-4A6D-B51D-DDAE8BC6E9BD}" dt="2023-11-05T03:26:38.645" v="2659"/>
          <ac:spMkLst>
            <pc:docMk/>
            <pc:sldMk cId="153294527" sldId="353"/>
            <ac:spMk id="213" creationId="{98A5CB74-676C-4BB8-387A-1297345D863B}"/>
          </ac:spMkLst>
        </pc:spChg>
        <pc:spChg chg="mod ord">
          <ac:chgData name="Tan, Roger" userId="f6f33758-bd69-4951-8148-181de3b92474" providerId="ADAL" clId="{A436842E-EA5C-4A6D-B51D-DDAE8BC6E9BD}" dt="2023-11-05T22:14:06.067" v="11751" actId="207"/>
          <ac:spMkLst>
            <pc:docMk/>
            <pc:sldMk cId="153294527" sldId="353"/>
            <ac:spMk id="219" creationId="{CD06FDE8-A56D-11DA-B974-2BB817B526D9}"/>
          </ac:spMkLst>
        </pc:spChg>
        <pc:graphicFrameChg chg="add del mod ord replST">
          <ac:chgData name="Tan, Roger" userId="f6f33758-bd69-4951-8148-181de3b92474" providerId="ADAL" clId="{A436842E-EA5C-4A6D-B51D-DDAE8BC6E9BD}" dt="2023-11-05T03:24:17.220" v="566"/>
          <ac:graphicFrameMkLst>
            <pc:docMk/>
            <pc:sldMk cId="153294527" sldId="353"/>
            <ac:graphicFrameMk id="7" creationId="{2CC80CAD-A5FC-B529-2FBC-90989EE2021C}"/>
          </ac:graphicFrameMkLst>
        </pc:graphicFrameChg>
        <pc:graphicFrameChg chg="mod">
          <ac:chgData name="Tan, Roger" userId="f6f33758-bd69-4951-8148-181de3b92474" providerId="ADAL" clId="{A436842E-EA5C-4A6D-B51D-DDAE8BC6E9BD}" dt="2023-11-05T03:27:14.485" v="2761"/>
          <ac:graphicFrameMkLst>
            <pc:docMk/>
            <pc:sldMk cId="153294527" sldId="353"/>
            <ac:graphicFrameMk id="8" creationId="{7C2468B8-94B3-1E45-C5D3-2E4C642053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4:20.832" v="673"/>
          <ac:graphicFrameMkLst>
            <pc:docMk/>
            <pc:sldMk cId="153294527" sldId="353"/>
            <ac:graphicFrameMk id="10" creationId="{5D053CB0-09DE-2304-2CCF-C7988B38E5B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4:56.302" v="798"/>
          <ac:graphicFrameMkLst>
            <pc:docMk/>
            <pc:sldMk cId="153294527" sldId="353"/>
            <ac:graphicFrameMk id="13" creationId="{E53F6DB6-369B-C12D-3D55-F70E4CF3329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28.071" v="1455"/>
          <ac:graphicFrameMkLst>
            <pc:docMk/>
            <pc:sldMk cId="153294527" sldId="353"/>
            <ac:graphicFrameMk id="15" creationId="{E52BAD2F-6EA3-6E74-290A-F5BB965E328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15.504" v="1094"/>
          <ac:graphicFrameMkLst>
            <pc:docMk/>
            <pc:sldMk cId="153294527" sldId="353"/>
            <ac:graphicFrameMk id="19" creationId="{A2D5F590-DDCF-6F41-1EA0-A4A2D651E48A}"/>
          </ac:graphicFrameMkLst>
        </pc:graphicFrameChg>
        <pc:graphicFrameChg chg="del">
          <ac:chgData name="Tan, Roger" userId="f6f33758-bd69-4951-8148-181de3b92474" providerId="ADAL" clId="{A436842E-EA5C-4A6D-B51D-DDAE8BC6E9BD}" dt="2023-11-05T03:24:13.407" v="457"/>
          <ac:graphicFrameMkLst>
            <pc:docMk/>
            <pc:sldMk cId="153294527" sldId="353"/>
            <ac:graphicFrameMk id="21" creationId="{DE009413-4552-C0D9-80D3-28E93B1204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18.310" v="1229"/>
          <ac:graphicFrameMkLst>
            <pc:docMk/>
            <pc:sldMk cId="153294527" sldId="353"/>
            <ac:graphicFrameMk id="23" creationId="{FBE82606-D2A5-C7E2-9FDF-A9ACC8AFDDB3}"/>
          </ac:graphicFrameMkLst>
        </pc:graphicFrameChg>
        <pc:graphicFrameChg chg="del mod ord">
          <ac:chgData name="Tan, Roger" userId="f6f33758-bd69-4951-8148-181de3b92474" providerId="ADAL" clId="{A436842E-EA5C-4A6D-B51D-DDAE8BC6E9BD}" dt="2023-11-05T03:25:09.719" v="959"/>
          <ac:graphicFrameMkLst>
            <pc:docMk/>
            <pc:sldMk cId="153294527" sldId="353"/>
            <ac:graphicFrameMk id="26" creationId="{37DB4D6A-7D92-B177-18FF-62B170157E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22.506" v="1362"/>
          <ac:graphicFrameMkLst>
            <pc:docMk/>
            <pc:sldMk cId="153294527" sldId="353"/>
            <ac:graphicFrameMk id="27" creationId="{C077FDE5-7641-CC32-51AE-997FBDC510E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50.050" v="2149"/>
          <ac:graphicFrameMkLst>
            <pc:docMk/>
            <pc:sldMk cId="153294527" sldId="353"/>
            <ac:graphicFrameMk id="29" creationId="{5304686D-E0E5-60CC-F064-315E7DA2E01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31.646" v="1546"/>
          <ac:graphicFrameMkLst>
            <pc:docMk/>
            <pc:sldMk cId="153294527" sldId="353"/>
            <ac:graphicFrameMk id="30" creationId="{33789B6E-30D8-3A4D-5379-6468701E135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32.638" v="1637"/>
          <ac:graphicFrameMkLst>
            <pc:docMk/>
            <pc:sldMk cId="153294527" sldId="353"/>
            <ac:graphicFrameMk id="31" creationId="{101BFCB4-676F-CB8E-6070-D349895E79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34.065" v="1728"/>
          <ac:graphicFrameMkLst>
            <pc:docMk/>
            <pc:sldMk cId="153294527" sldId="353"/>
            <ac:graphicFrameMk id="32" creationId="{3526D233-FDAF-4390-7737-4716A9BE973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35.921" v="1819"/>
          <ac:graphicFrameMkLst>
            <pc:docMk/>
            <pc:sldMk cId="153294527" sldId="353"/>
            <ac:graphicFrameMk id="33" creationId="{D4547FAE-8418-0CA0-EE8E-5FFE19D4E8D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38.217" v="1910"/>
          <ac:graphicFrameMkLst>
            <pc:docMk/>
            <pc:sldMk cId="153294527" sldId="353"/>
            <ac:graphicFrameMk id="34" creationId="{8107F020-9D01-DD8D-476B-A8211F8A12E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40.643" v="2001"/>
          <ac:graphicFrameMkLst>
            <pc:docMk/>
            <pc:sldMk cId="153294527" sldId="353"/>
            <ac:graphicFrameMk id="35" creationId="{9398BFAA-CEC1-57C2-B521-10132EFCA4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5:47.279" v="2079"/>
          <ac:graphicFrameMkLst>
            <pc:docMk/>
            <pc:sldMk cId="153294527" sldId="353"/>
            <ac:graphicFrameMk id="36" creationId="{3C425030-CB53-932C-FDFD-892C75E9021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6:15.129" v="2323"/>
          <ac:graphicFrameMkLst>
            <pc:docMk/>
            <pc:sldMk cId="153294527" sldId="353"/>
            <ac:graphicFrameMk id="37" creationId="{F8EB32D2-B8B3-909A-9309-3B540973F01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6:25.530" v="2485"/>
          <ac:graphicFrameMkLst>
            <pc:docMk/>
            <pc:sldMk cId="153294527" sldId="353"/>
            <ac:graphicFrameMk id="38" creationId="{9BEE77AB-C315-3655-286F-0B479720D00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6:20.927" v="2405"/>
          <ac:graphicFrameMkLst>
            <pc:docMk/>
            <pc:sldMk cId="153294527" sldId="353"/>
            <ac:graphicFrameMk id="42" creationId="{A92D64E7-F3B7-5910-38AD-B1F1311B9BB4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5T03:26:38.639" v="2637"/>
          <ac:graphicFrameMkLst>
            <pc:docMk/>
            <pc:sldMk cId="153294527" sldId="353"/>
            <ac:graphicFrameMk id="44" creationId="{93AE56D7-96B5-A127-9AD6-B952DC5A1D0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6:32.536" v="2567"/>
          <ac:graphicFrameMkLst>
            <pc:docMk/>
            <pc:sldMk cId="153294527" sldId="353"/>
            <ac:graphicFrameMk id="46" creationId="{A6EBA631-31EE-1688-CB17-D9D20AD7D1E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26:38.617" v="2627"/>
          <ac:graphicFrameMkLst>
            <pc:docMk/>
            <pc:sldMk cId="153294527" sldId="353"/>
            <ac:graphicFrameMk id="48" creationId="{E7A9BCD8-7248-41F1-BF9F-1C8FE69BF482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5T03:26:38.642" v="2646"/>
          <ac:graphicFrameMkLst>
            <pc:docMk/>
            <pc:sldMk cId="153294527" sldId="353"/>
            <ac:graphicFrameMk id="49" creationId="{A9A10A77-3A72-7E9D-F596-0ABBE741FE66}"/>
          </ac:graphicFrameMkLst>
        </pc:graphicFrameChg>
        <pc:cxnChg chg="mod ord">
          <ac:chgData name="Tan, Roger" userId="f6f33758-bd69-4951-8148-181de3b92474" providerId="ADAL" clId="{A436842E-EA5C-4A6D-B51D-DDAE8BC6E9BD}" dt="2023-11-05T03:26:41.765" v="2670" actId="1076"/>
          <ac:cxnSpMkLst>
            <pc:docMk/>
            <pc:sldMk cId="153294527" sldId="353"/>
            <ac:cxnSpMk id="16" creationId="{45F62A0D-CECE-F0A6-5C22-537E0A331C2D}"/>
          </ac:cxnSpMkLst>
        </pc:cxnChg>
        <pc:cxnChg chg="mod ord">
          <ac:chgData name="Tan, Roger" userId="f6f33758-bd69-4951-8148-181de3b92474" providerId="ADAL" clId="{A436842E-EA5C-4A6D-B51D-DDAE8BC6E9BD}" dt="2023-11-05T03:26:38.647" v="2665"/>
          <ac:cxnSpMkLst>
            <pc:docMk/>
            <pc:sldMk cId="153294527" sldId="353"/>
            <ac:cxnSpMk id="24" creationId="{0A1AAE7D-E594-9A0D-E299-3249B7E7C926}"/>
          </ac:cxnSpMkLst>
        </pc:cxnChg>
        <pc:cxnChg chg="mod ord">
          <ac:chgData name="Tan, Roger" userId="f6f33758-bd69-4951-8148-181de3b92474" providerId="ADAL" clId="{A436842E-EA5C-4A6D-B51D-DDAE8BC6E9BD}" dt="2023-11-05T03:26:38.645" v="2657"/>
          <ac:cxnSpMkLst>
            <pc:docMk/>
            <pc:sldMk cId="153294527" sldId="353"/>
            <ac:cxnSpMk id="129" creationId="{4C684A90-A1E8-D5EF-1001-F0D6C7AFB3AB}"/>
          </ac:cxnSpMkLst>
        </pc:cxnChg>
        <pc:cxnChg chg="del mod ord">
          <ac:chgData name="Tan, Roger" userId="f6f33758-bd69-4951-8148-181de3b92474" providerId="ADAL" clId="{A436842E-EA5C-4A6D-B51D-DDAE8BC6E9BD}" dt="2023-11-05T03:25:47.265" v="2069"/>
          <ac:cxnSpMkLst>
            <pc:docMk/>
            <pc:sldMk cId="153294527" sldId="353"/>
            <ac:cxnSpMk id="133" creationId="{8226742B-C3A5-86A3-D506-D4B6A0A8D532}"/>
          </ac:cxnSpMkLst>
        </pc:cxnChg>
        <pc:cxnChg chg="del mod ord">
          <ac:chgData name="Tan, Roger" userId="f6f33758-bd69-4951-8148-181de3b92474" providerId="ADAL" clId="{A436842E-EA5C-4A6D-B51D-DDAE8BC6E9BD}" dt="2023-11-05T03:25:47.264" v="2067"/>
          <ac:cxnSpMkLst>
            <pc:docMk/>
            <pc:sldMk cId="153294527" sldId="353"/>
            <ac:cxnSpMk id="134" creationId="{E5EDAD51-0D82-C22C-D439-93A23ABED200}"/>
          </ac:cxnSpMkLst>
        </pc:cxnChg>
        <pc:cxnChg chg="del mod ord">
          <ac:chgData name="Tan, Roger" userId="f6f33758-bd69-4951-8148-181de3b92474" providerId="ADAL" clId="{A436842E-EA5C-4A6D-B51D-DDAE8BC6E9BD}" dt="2023-11-05T03:25:47.263" v="2065"/>
          <ac:cxnSpMkLst>
            <pc:docMk/>
            <pc:sldMk cId="153294527" sldId="353"/>
            <ac:cxnSpMk id="135" creationId="{C10A9ED0-DD2B-171F-FBAC-5A82D3DC6077}"/>
          </ac:cxnSpMkLst>
        </pc:cxnChg>
        <pc:cxnChg chg="del mod ord">
          <ac:chgData name="Tan, Roger" userId="f6f33758-bd69-4951-8148-181de3b92474" providerId="ADAL" clId="{A436842E-EA5C-4A6D-B51D-DDAE8BC6E9BD}" dt="2023-11-05T03:25:50.027" v="2139"/>
          <ac:cxnSpMkLst>
            <pc:docMk/>
            <pc:sldMk cId="153294527" sldId="353"/>
            <ac:cxnSpMk id="152" creationId="{0AE32392-9557-343F-6114-E5FE846AFF1C}"/>
          </ac:cxnSpMkLst>
        </pc:cxnChg>
        <pc:cxnChg chg="del mod ord">
          <ac:chgData name="Tan, Roger" userId="f6f33758-bd69-4951-8148-181de3b92474" providerId="ADAL" clId="{A436842E-EA5C-4A6D-B51D-DDAE8BC6E9BD}" dt="2023-11-05T03:25:50.026" v="2137"/>
          <ac:cxnSpMkLst>
            <pc:docMk/>
            <pc:sldMk cId="153294527" sldId="353"/>
            <ac:cxnSpMk id="153" creationId="{4F9DDF49-8C6A-BBEC-7E56-DF5C1D085364}"/>
          </ac:cxnSpMkLst>
        </pc:cxnChg>
        <pc:cxnChg chg="del mod ord">
          <ac:chgData name="Tan, Roger" userId="f6f33758-bd69-4951-8148-181de3b92474" providerId="ADAL" clId="{A436842E-EA5C-4A6D-B51D-DDAE8BC6E9BD}" dt="2023-11-05T03:25:50.024" v="2135"/>
          <ac:cxnSpMkLst>
            <pc:docMk/>
            <pc:sldMk cId="153294527" sldId="353"/>
            <ac:cxnSpMk id="154" creationId="{17D7B860-9CB3-8CDE-B0C4-EA5F0D10D961}"/>
          </ac:cxnSpMkLst>
        </pc:cxnChg>
        <pc:cxnChg chg="del mod ord">
          <ac:chgData name="Tan, Roger" userId="f6f33758-bd69-4951-8148-181de3b92474" providerId="ADAL" clId="{A436842E-EA5C-4A6D-B51D-DDAE8BC6E9BD}" dt="2023-11-05T03:25:54.701" v="2197" actId="478"/>
          <ac:cxnSpMkLst>
            <pc:docMk/>
            <pc:sldMk cId="153294527" sldId="353"/>
            <ac:cxnSpMk id="164" creationId="{C5064760-9F70-E536-0BD1-75CC7AE3DA1A}"/>
          </ac:cxnSpMkLst>
        </pc:cxnChg>
      </pc:sldChg>
      <pc:sldChg chg="addSp delSp modSp mod ord modTransition modClrScheme modShow chgLayout">
        <pc:chgData name="Tan, Roger" userId="f6f33758-bd69-4951-8148-181de3b92474" providerId="ADAL" clId="{A436842E-EA5C-4A6D-B51D-DDAE8BC6E9BD}" dt="2023-11-08T22:16:29.024" v="81321"/>
        <pc:sldMkLst>
          <pc:docMk/>
          <pc:sldMk cId="2948950000" sldId="354"/>
        </pc:sldMkLst>
        <pc:spChg chg="mod ord">
          <ac:chgData name="Tan, Roger" userId="f6f33758-bd69-4951-8148-181de3b92474" providerId="ADAL" clId="{A436842E-EA5C-4A6D-B51D-DDAE8BC6E9BD}" dt="2023-11-07T19:25:34.462" v="75855" actId="404"/>
          <ac:spMkLst>
            <pc:docMk/>
            <pc:sldMk cId="2948950000" sldId="354"/>
            <ac:spMk id="2" creationId="{D38E5C8C-3841-BCDE-2788-4F1BD656772E}"/>
          </ac:spMkLst>
        </pc:spChg>
        <pc:spChg chg="add del mod modVis">
          <ac:chgData name="Tan, Roger" userId="f6f33758-bd69-4951-8148-181de3b92474" providerId="ADAL" clId="{A436842E-EA5C-4A6D-B51D-DDAE8BC6E9BD}" dt="2023-11-05T22:14:14.750" v="11799"/>
          <ac:spMkLst>
            <pc:docMk/>
            <pc:sldMk cId="2948950000" sldId="354"/>
            <ac:spMk id="3" creationId="{8A923F77-2AFC-889A-DAD1-92C591084C6E}"/>
          </ac:spMkLst>
        </pc:spChg>
        <pc:spChg chg="add del mod">
          <ac:chgData name="Tan, Roger" userId="f6f33758-bd69-4951-8148-181de3b92474" providerId="ADAL" clId="{A436842E-EA5C-4A6D-B51D-DDAE8BC6E9BD}" dt="2023-11-08T21:53:47.835" v="81062" actId="478"/>
          <ac:spMkLst>
            <pc:docMk/>
            <pc:sldMk cId="2948950000" sldId="354"/>
            <ac:spMk id="4" creationId="{3DC1908D-4513-259C-E07B-DE40465218C5}"/>
          </ac:spMkLst>
        </pc:spChg>
        <pc:spChg chg="add del mod modVis">
          <ac:chgData name="Tan, Roger" userId="f6f33758-bd69-4951-8148-181de3b92474" providerId="ADAL" clId="{A436842E-EA5C-4A6D-B51D-DDAE8BC6E9BD}" dt="2023-11-05T22:14:30.762" v="12021"/>
          <ac:spMkLst>
            <pc:docMk/>
            <pc:sldMk cId="2948950000" sldId="354"/>
            <ac:spMk id="4" creationId="{D167A1A0-4AA7-8869-44D0-4CE7D2492FF5}"/>
          </ac:spMkLst>
        </pc:spChg>
        <pc:spChg chg="add del mod">
          <ac:chgData name="Tan, Roger" userId="f6f33758-bd69-4951-8148-181de3b92474" providerId="ADAL" clId="{A436842E-EA5C-4A6D-B51D-DDAE8BC6E9BD}" dt="2023-11-08T21:56:27.055" v="81114" actId="478"/>
          <ac:spMkLst>
            <pc:docMk/>
            <pc:sldMk cId="2948950000" sldId="354"/>
            <ac:spMk id="5" creationId="{40E73BBC-914E-1FA3-DA09-C3F0FB8CEF7D}"/>
          </ac:spMkLst>
        </pc:spChg>
        <pc:spChg chg="add del mod modVis">
          <ac:chgData name="Tan, Roger" userId="f6f33758-bd69-4951-8148-181de3b92474" providerId="ADAL" clId="{A436842E-EA5C-4A6D-B51D-DDAE8BC6E9BD}" dt="2023-11-05T22:14:32.623" v="12130"/>
          <ac:spMkLst>
            <pc:docMk/>
            <pc:sldMk cId="2948950000" sldId="354"/>
            <ac:spMk id="6" creationId="{95B6CCD3-4C1F-E1EC-D0CF-420FEA9C5382}"/>
          </ac:spMkLst>
        </pc:spChg>
        <pc:spChg chg="add mod">
          <ac:chgData name="Tan, Roger" userId="f6f33758-bd69-4951-8148-181de3b92474" providerId="ADAL" clId="{A436842E-EA5C-4A6D-B51D-DDAE8BC6E9BD}" dt="2023-11-08T22:16:29.024" v="81321"/>
          <ac:spMkLst>
            <pc:docMk/>
            <pc:sldMk cId="2948950000" sldId="354"/>
            <ac:spMk id="6" creationId="{F906A700-AD09-5336-9114-39582C2DF3FC}"/>
          </ac:spMkLst>
        </pc:spChg>
        <pc:spChg chg="add del mod modVis">
          <ac:chgData name="Tan, Roger" userId="f6f33758-bd69-4951-8148-181de3b92474" providerId="ADAL" clId="{A436842E-EA5C-4A6D-B51D-DDAE8BC6E9BD}" dt="2023-11-05T22:14:38.932" v="12272"/>
          <ac:spMkLst>
            <pc:docMk/>
            <pc:sldMk cId="2948950000" sldId="354"/>
            <ac:spMk id="9" creationId="{106109F6-D613-B9E9-7098-65CA49967014}"/>
          </ac:spMkLst>
        </pc:spChg>
        <pc:spChg chg="add del mod modVis">
          <ac:chgData name="Tan, Roger" userId="f6f33758-bd69-4951-8148-181de3b92474" providerId="ADAL" clId="{A436842E-EA5C-4A6D-B51D-DDAE8BC6E9BD}" dt="2023-11-05T22:14:40.810" v="12379"/>
          <ac:spMkLst>
            <pc:docMk/>
            <pc:sldMk cId="2948950000" sldId="354"/>
            <ac:spMk id="11" creationId="{30AA551A-06F7-D9EB-E799-00BEAF2FB24D}"/>
          </ac:spMkLst>
        </pc:spChg>
        <pc:spChg chg="mod">
          <ac:chgData name="Tan, Roger" userId="f6f33758-bd69-4951-8148-181de3b92474" providerId="ADAL" clId="{A436842E-EA5C-4A6D-B51D-DDAE8BC6E9BD}" dt="2023-11-05T22:15:19.749" v="13012"/>
          <ac:spMkLst>
            <pc:docMk/>
            <pc:sldMk cId="2948950000" sldId="354"/>
            <ac:spMk id="13" creationId="{EC99361F-542D-58A2-8885-BE41C5CB3848}"/>
          </ac:spMkLst>
        </pc:spChg>
        <pc:spChg chg="add del mod modVis">
          <ac:chgData name="Tan, Roger" userId="f6f33758-bd69-4951-8148-181de3b92474" providerId="ADAL" clId="{A436842E-EA5C-4A6D-B51D-DDAE8BC6E9BD}" dt="2023-11-05T22:14:50.857" v="12534"/>
          <ac:spMkLst>
            <pc:docMk/>
            <pc:sldMk cId="2948950000" sldId="354"/>
            <ac:spMk id="14" creationId="{1707DA3A-FF62-5A08-DFA2-4A24DA98BD41}"/>
          </ac:spMkLst>
        </pc:spChg>
        <pc:spChg chg="mod">
          <ac:chgData name="Tan, Roger" userId="f6f33758-bd69-4951-8148-181de3b92474" providerId="ADAL" clId="{A436842E-EA5C-4A6D-B51D-DDAE8BC6E9BD}" dt="2023-11-05T22:15:19.749" v="13013"/>
          <ac:spMkLst>
            <pc:docMk/>
            <pc:sldMk cId="2948950000" sldId="354"/>
            <ac:spMk id="15" creationId="{985059B3-79E3-4CCC-3270-A1E578D007F6}"/>
          </ac:spMkLst>
        </pc:spChg>
        <pc:spChg chg="add del mod modVis">
          <ac:chgData name="Tan, Roger" userId="f6f33758-bd69-4951-8148-181de3b92474" providerId="ADAL" clId="{A436842E-EA5C-4A6D-B51D-DDAE8BC6E9BD}" dt="2023-11-05T22:14:54.904" v="12619"/>
          <ac:spMkLst>
            <pc:docMk/>
            <pc:sldMk cId="2948950000" sldId="354"/>
            <ac:spMk id="17" creationId="{F95094B8-7805-A23C-5A3D-44EA85578138}"/>
          </ac:spMkLst>
        </pc:spChg>
        <pc:spChg chg="mod">
          <ac:chgData name="Tan, Roger" userId="f6f33758-bd69-4951-8148-181de3b92474" providerId="ADAL" clId="{A436842E-EA5C-4A6D-B51D-DDAE8BC6E9BD}" dt="2023-11-05T22:15:19.745" v="13002"/>
          <ac:spMkLst>
            <pc:docMk/>
            <pc:sldMk cId="2948950000" sldId="354"/>
            <ac:spMk id="18" creationId="{3163B661-8C09-BC7E-82C6-7D3AE909F677}"/>
          </ac:spMkLst>
        </pc:spChg>
        <pc:spChg chg="add del mod modVis">
          <ac:chgData name="Tan, Roger" userId="f6f33758-bd69-4951-8148-181de3b92474" providerId="ADAL" clId="{A436842E-EA5C-4A6D-B51D-DDAE8BC6E9BD}" dt="2023-11-05T22:15:01.091" v="12705"/>
          <ac:spMkLst>
            <pc:docMk/>
            <pc:sldMk cId="2948950000" sldId="354"/>
            <ac:spMk id="20" creationId="{E89CA0CE-E049-55E1-6C85-CB733CE8101C}"/>
          </ac:spMkLst>
        </pc:spChg>
        <pc:spChg chg="add del mod modVis">
          <ac:chgData name="Tan, Roger" userId="f6f33758-bd69-4951-8148-181de3b92474" providerId="ADAL" clId="{A436842E-EA5C-4A6D-B51D-DDAE8BC6E9BD}" dt="2023-11-05T22:15:09.383" v="12817"/>
          <ac:spMkLst>
            <pc:docMk/>
            <pc:sldMk cId="2948950000" sldId="354"/>
            <ac:spMk id="22" creationId="{7199ECEA-229E-AFBD-7113-A3BB120662C9}"/>
          </ac:spMkLst>
        </pc:spChg>
        <pc:spChg chg="add del mod modVis">
          <ac:chgData name="Tan, Roger" userId="f6f33758-bd69-4951-8148-181de3b92474" providerId="ADAL" clId="{A436842E-EA5C-4A6D-B51D-DDAE8BC6E9BD}" dt="2023-11-05T22:15:16.583" v="12917"/>
          <ac:spMkLst>
            <pc:docMk/>
            <pc:sldMk cId="2948950000" sldId="354"/>
            <ac:spMk id="24" creationId="{2D376665-2CCE-7A24-C8A2-9F1EC5E70471}"/>
          </ac:spMkLst>
        </pc:spChg>
        <pc:spChg chg="mod">
          <ac:chgData name="Tan, Roger" userId="f6f33758-bd69-4951-8148-181de3b92474" providerId="ADAL" clId="{A436842E-EA5C-4A6D-B51D-DDAE8BC6E9BD}" dt="2023-11-05T22:15:19.748" v="13010"/>
          <ac:spMkLst>
            <pc:docMk/>
            <pc:sldMk cId="2948950000" sldId="354"/>
            <ac:spMk id="25" creationId="{620B242F-FB96-1114-4235-7FB0BD74A9F2}"/>
          </ac:spMkLst>
        </pc:spChg>
        <pc:spChg chg="mod">
          <ac:chgData name="Tan, Roger" userId="f6f33758-bd69-4951-8148-181de3b92474" providerId="ADAL" clId="{A436842E-EA5C-4A6D-B51D-DDAE8BC6E9BD}" dt="2023-11-05T22:15:19.748" v="13011"/>
          <ac:spMkLst>
            <pc:docMk/>
            <pc:sldMk cId="2948950000" sldId="354"/>
            <ac:spMk id="27" creationId="{A7DC921B-D373-06F3-836A-FF0FB048FA4A}"/>
          </ac:spMkLst>
        </pc:spChg>
        <pc:spChg chg="add del mod modVis">
          <ac:chgData name="Tan, Roger" userId="f6f33758-bd69-4951-8148-181de3b92474" providerId="ADAL" clId="{A436842E-EA5C-4A6D-B51D-DDAE8BC6E9BD}" dt="2023-11-05T22:15:19.750" v="13017"/>
          <ac:spMkLst>
            <pc:docMk/>
            <pc:sldMk cId="2948950000" sldId="354"/>
            <ac:spMk id="28" creationId="{DDE3DDD2-30D2-AAE3-E845-B4E729EA1BBF}"/>
          </ac:spMkLst>
        </pc:spChg>
        <pc:spChg chg="mod">
          <ac:chgData name="Tan, Roger" userId="f6f33758-bd69-4951-8148-181de3b92474" providerId="ADAL" clId="{A436842E-EA5C-4A6D-B51D-DDAE8BC6E9BD}" dt="2023-11-05T22:15:19.746" v="13003"/>
          <ac:spMkLst>
            <pc:docMk/>
            <pc:sldMk cId="2948950000" sldId="354"/>
            <ac:spMk id="38" creationId="{BBD3CB43-F04F-B920-A34B-98BA719DDBF5}"/>
          </ac:spMkLst>
        </pc:spChg>
        <pc:spChg chg="mod">
          <ac:chgData name="Tan, Roger" userId="f6f33758-bd69-4951-8148-181de3b92474" providerId="ADAL" clId="{A436842E-EA5C-4A6D-B51D-DDAE8BC6E9BD}" dt="2023-11-05T22:15:19.745" v="13001"/>
          <ac:spMkLst>
            <pc:docMk/>
            <pc:sldMk cId="2948950000" sldId="354"/>
            <ac:spMk id="126" creationId="{29814101-6D09-583A-C86A-E2C672185F8A}"/>
          </ac:spMkLst>
        </pc:spChg>
        <pc:spChg chg="mod">
          <ac:chgData name="Tan, Roger" userId="f6f33758-bd69-4951-8148-181de3b92474" providerId="ADAL" clId="{A436842E-EA5C-4A6D-B51D-DDAE8BC6E9BD}" dt="2023-11-05T22:15:19.746" v="13004"/>
          <ac:spMkLst>
            <pc:docMk/>
            <pc:sldMk cId="2948950000" sldId="354"/>
            <ac:spMk id="246" creationId="{B6F3AD08-8222-9D3F-BF30-71A422D62E2E}"/>
          </ac:spMkLst>
        </pc:spChg>
        <pc:spChg chg="del mod">
          <ac:chgData name="Tan, Roger" userId="f6f33758-bd69-4951-8148-181de3b92474" providerId="ADAL" clId="{A436842E-EA5C-4A6D-B51D-DDAE8BC6E9BD}" dt="2023-11-05T22:14:30.718" v="11949"/>
          <ac:spMkLst>
            <pc:docMk/>
            <pc:sldMk cId="2948950000" sldId="354"/>
            <ac:spMk id="255" creationId="{8F762782-E686-7CAA-89C8-6D87D37B862B}"/>
          </ac:spMkLst>
        </pc:spChg>
        <pc:spChg chg="del">
          <ac:chgData name="Tan, Roger" userId="f6f33758-bd69-4951-8148-181de3b92474" providerId="ADAL" clId="{A436842E-EA5C-4A6D-B51D-DDAE8BC6E9BD}" dt="2023-11-05T22:14:30.640" v="11870"/>
          <ac:spMkLst>
            <pc:docMk/>
            <pc:sldMk cId="2948950000" sldId="354"/>
            <ac:spMk id="256" creationId="{7772F0AB-883C-5A10-D874-E08D4F2E5C7A}"/>
          </ac:spMkLst>
        </pc:spChg>
        <pc:spChg chg="del">
          <ac:chgData name="Tan, Roger" userId="f6f33758-bd69-4951-8148-181de3b92474" providerId="ADAL" clId="{A436842E-EA5C-4A6D-B51D-DDAE8BC6E9BD}" dt="2023-11-05T22:14:30.640" v="11869"/>
          <ac:spMkLst>
            <pc:docMk/>
            <pc:sldMk cId="2948950000" sldId="354"/>
            <ac:spMk id="257" creationId="{54B18322-5141-4E42-349B-30F03FE695B2}"/>
          </ac:spMkLst>
        </pc:spChg>
        <pc:spChg chg="del">
          <ac:chgData name="Tan, Roger" userId="f6f33758-bd69-4951-8148-181de3b92474" providerId="ADAL" clId="{A436842E-EA5C-4A6D-B51D-DDAE8BC6E9BD}" dt="2023-11-05T22:14:30.639" v="11868"/>
          <ac:spMkLst>
            <pc:docMk/>
            <pc:sldMk cId="2948950000" sldId="354"/>
            <ac:spMk id="258" creationId="{AFF51CEF-3F41-FA06-04FE-543BBE66295F}"/>
          </ac:spMkLst>
        </pc:spChg>
        <pc:spChg chg="del">
          <ac:chgData name="Tan, Roger" userId="f6f33758-bd69-4951-8148-181de3b92474" providerId="ADAL" clId="{A436842E-EA5C-4A6D-B51D-DDAE8BC6E9BD}" dt="2023-11-05T22:14:30.639" v="11867"/>
          <ac:spMkLst>
            <pc:docMk/>
            <pc:sldMk cId="2948950000" sldId="354"/>
            <ac:spMk id="259" creationId="{D4A0569B-46CF-F935-0F91-EDEB3FF9ADB2}"/>
          </ac:spMkLst>
        </pc:spChg>
        <pc:spChg chg="del">
          <ac:chgData name="Tan, Roger" userId="f6f33758-bd69-4951-8148-181de3b92474" providerId="ADAL" clId="{A436842E-EA5C-4A6D-B51D-DDAE8BC6E9BD}" dt="2023-11-05T22:14:30.639" v="11866"/>
          <ac:spMkLst>
            <pc:docMk/>
            <pc:sldMk cId="2948950000" sldId="354"/>
            <ac:spMk id="260" creationId="{49B6F86E-C605-89B6-2BB7-E82B785502C5}"/>
          </ac:spMkLst>
        </pc:spChg>
        <pc:spChg chg="del">
          <ac:chgData name="Tan, Roger" userId="f6f33758-bd69-4951-8148-181de3b92474" providerId="ADAL" clId="{A436842E-EA5C-4A6D-B51D-DDAE8BC6E9BD}" dt="2023-11-05T22:14:30.638" v="11865"/>
          <ac:spMkLst>
            <pc:docMk/>
            <pc:sldMk cId="2948950000" sldId="354"/>
            <ac:spMk id="261" creationId="{4B73CDE0-AF8E-DB4F-665C-8D9DA35170B5}"/>
          </ac:spMkLst>
        </pc:spChg>
        <pc:spChg chg="del">
          <ac:chgData name="Tan, Roger" userId="f6f33758-bd69-4951-8148-181de3b92474" providerId="ADAL" clId="{A436842E-EA5C-4A6D-B51D-DDAE8BC6E9BD}" dt="2023-11-05T22:14:30.638" v="11864"/>
          <ac:spMkLst>
            <pc:docMk/>
            <pc:sldMk cId="2948950000" sldId="354"/>
            <ac:spMk id="262" creationId="{5DA1366D-78FC-CAB3-DF80-31290F838472}"/>
          </ac:spMkLst>
        </pc:spChg>
        <pc:spChg chg="del">
          <ac:chgData name="Tan, Roger" userId="f6f33758-bd69-4951-8148-181de3b92474" providerId="ADAL" clId="{A436842E-EA5C-4A6D-B51D-DDAE8BC6E9BD}" dt="2023-11-05T22:14:30.638" v="11863"/>
          <ac:spMkLst>
            <pc:docMk/>
            <pc:sldMk cId="2948950000" sldId="354"/>
            <ac:spMk id="263" creationId="{C84163D6-9061-BCDA-4117-54B5BB69F48D}"/>
          </ac:spMkLst>
        </pc:spChg>
        <pc:spChg chg="del">
          <ac:chgData name="Tan, Roger" userId="f6f33758-bd69-4951-8148-181de3b92474" providerId="ADAL" clId="{A436842E-EA5C-4A6D-B51D-DDAE8BC6E9BD}" dt="2023-11-05T22:14:30.637" v="11862"/>
          <ac:spMkLst>
            <pc:docMk/>
            <pc:sldMk cId="2948950000" sldId="354"/>
            <ac:spMk id="264" creationId="{D1427242-A773-68B8-5EAF-CDC3685D3276}"/>
          </ac:spMkLst>
        </pc:spChg>
        <pc:spChg chg="del">
          <ac:chgData name="Tan, Roger" userId="f6f33758-bd69-4951-8148-181de3b92474" providerId="ADAL" clId="{A436842E-EA5C-4A6D-B51D-DDAE8BC6E9BD}" dt="2023-11-05T22:14:30.637" v="11861"/>
          <ac:spMkLst>
            <pc:docMk/>
            <pc:sldMk cId="2948950000" sldId="354"/>
            <ac:spMk id="265" creationId="{013DC600-4929-07A9-8F5D-6A898B533EB5}"/>
          </ac:spMkLst>
        </pc:spChg>
        <pc:spChg chg="mod">
          <ac:chgData name="Tan, Roger" userId="f6f33758-bd69-4951-8148-181de3b92474" providerId="ADAL" clId="{A436842E-EA5C-4A6D-B51D-DDAE8BC6E9BD}" dt="2023-11-05T22:15:19.746" v="13005"/>
          <ac:spMkLst>
            <pc:docMk/>
            <pc:sldMk cId="2948950000" sldId="354"/>
            <ac:spMk id="277" creationId="{26A3177C-D9DF-3170-34D6-5485A2E39F08}"/>
          </ac:spMkLst>
        </pc:spChg>
        <pc:spChg chg="mod">
          <ac:chgData name="Tan, Roger" userId="f6f33758-bd69-4951-8148-181de3b92474" providerId="ADAL" clId="{A436842E-EA5C-4A6D-B51D-DDAE8BC6E9BD}" dt="2023-11-05T22:15:19.747" v="13006"/>
          <ac:spMkLst>
            <pc:docMk/>
            <pc:sldMk cId="2948950000" sldId="354"/>
            <ac:spMk id="284" creationId="{C0C84B8F-AD0C-65D8-3708-8C0D1F8BD05A}"/>
          </ac:spMkLst>
        </pc:spChg>
        <pc:spChg chg="mod">
          <ac:chgData name="Tan, Roger" userId="f6f33758-bd69-4951-8148-181de3b92474" providerId="ADAL" clId="{A436842E-EA5C-4A6D-B51D-DDAE8BC6E9BD}" dt="2023-11-05T22:15:19.747" v="13007"/>
          <ac:spMkLst>
            <pc:docMk/>
            <pc:sldMk cId="2948950000" sldId="354"/>
            <ac:spMk id="291" creationId="{EF660BAC-E244-C0FB-2323-C3613018DFFF}"/>
          </ac:spMkLst>
        </pc:spChg>
        <pc:spChg chg="mod ord">
          <ac:chgData name="Tan, Roger" userId="f6f33758-bd69-4951-8148-181de3b92474" providerId="ADAL" clId="{A436842E-EA5C-4A6D-B51D-DDAE8BC6E9BD}" dt="2023-11-05T22:15:19.747" v="13009"/>
          <ac:spMkLst>
            <pc:docMk/>
            <pc:sldMk cId="2948950000" sldId="354"/>
            <ac:spMk id="316" creationId="{69D6838A-4C57-A8BF-E356-BE6A10F24FA3}"/>
          </ac:spMkLst>
        </pc:spChg>
        <pc:graphicFrameChg chg="add del mod ord replST">
          <ac:chgData name="Tan, Roger" userId="f6f33758-bd69-4951-8148-181de3b92474" providerId="ADAL" clId="{A436842E-EA5C-4A6D-B51D-DDAE8BC6E9BD}" dt="2023-11-05T22:14:32.595" v="12089"/>
          <ac:graphicFrameMkLst>
            <pc:docMk/>
            <pc:sldMk cId="2948950000" sldId="354"/>
            <ac:graphicFrameMk id="5" creationId="{EF55F197-76A0-906E-7A58-8FC0F61F261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4:38.902" v="12230"/>
          <ac:graphicFrameMkLst>
            <pc:docMk/>
            <pc:sldMk cId="2948950000" sldId="354"/>
            <ac:graphicFrameMk id="7" creationId="{134F38FF-67FA-F714-F916-0C5A972A55CD}"/>
          </ac:graphicFrameMkLst>
        </pc:graphicFrameChg>
        <pc:graphicFrameChg chg="mod">
          <ac:chgData name="Tan, Roger" userId="f6f33758-bd69-4951-8148-181de3b92474" providerId="ADAL" clId="{A436842E-EA5C-4A6D-B51D-DDAE8BC6E9BD}" dt="2023-11-05T22:15:19.757" v="13019"/>
          <ac:graphicFrameMkLst>
            <pc:docMk/>
            <pc:sldMk cId="2948950000" sldId="354"/>
            <ac:graphicFrameMk id="8" creationId="{7C2468B8-94B3-1E45-C5D3-2E4C642053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4:40.775" v="12338"/>
          <ac:graphicFrameMkLst>
            <pc:docMk/>
            <pc:sldMk cId="2948950000" sldId="354"/>
            <ac:graphicFrameMk id="10" creationId="{AA61DAA0-C273-813A-B1DE-04C4563D7A2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4:50.824" v="12493"/>
          <ac:graphicFrameMkLst>
            <pc:docMk/>
            <pc:sldMk cId="2948950000" sldId="354"/>
            <ac:graphicFrameMk id="12" creationId="{15B0BCA7-6132-5778-2EF2-19098A59D0E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4:54.882" v="12586"/>
          <ac:graphicFrameMkLst>
            <pc:docMk/>
            <pc:sldMk cId="2948950000" sldId="354"/>
            <ac:graphicFrameMk id="16" creationId="{22D57062-4D2A-8CE2-E5E5-83BB72298B6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5:01.069" v="12672"/>
          <ac:graphicFrameMkLst>
            <pc:docMk/>
            <pc:sldMk cId="2948950000" sldId="354"/>
            <ac:graphicFrameMk id="19" creationId="{27EB9A25-AD16-90C3-EE02-8FCBBD4D6C9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5:09.356" v="12775"/>
          <ac:graphicFrameMkLst>
            <pc:docMk/>
            <pc:sldMk cId="2948950000" sldId="354"/>
            <ac:graphicFrameMk id="21" creationId="{A79125B2-896C-E265-8D4C-2D94E70AD0E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5:16.556" v="12875"/>
          <ac:graphicFrameMkLst>
            <pc:docMk/>
            <pc:sldMk cId="2948950000" sldId="354"/>
            <ac:graphicFrameMk id="23" creationId="{EF6A30CE-4EF5-3C42-BEB3-C61494D1493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15:19.716" v="12975"/>
          <ac:graphicFrameMkLst>
            <pc:docMk/>
            <pc:sldMk cId="2948950000" sldId="354"/>
            <ac:graphicFrameMk id="26" creationId="{89B8719B-93A7-4DA4-0AD9-EA8C684060A9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5T22:15:19.743" v="12994"/>
          <ac:graphicFrameMkLst>
            <pc:docMk/>
            <pc:sldMk cId="2948950000" sldId="354"/>
            <ac:graphicFrameMk id="29" creationId="{1FC3BD75-3CCB-9CAE-2806-8D651B95AE9D}"/>
          </ac:graphicFrameMkLst>
        </pc:graphicFrameChg>
        <pc:graphicFrameChg chg="del">
          <ac:chgData name="Tan, Roger" userId="f6f33758-bd69-4951-8148-181de3b92474" providerId="ADAL" clId="{A436842E-EA5C-4A6D-B51D-DDAE8BC6E9BD}" dt="2023-11-05T22:14:30.733" v="11979"/>
          <ac:graphicFrameMkLst>
            <pc:docMk/>
            <pc:sldMk cId="2948950000" sldId="354"/>
            <ac:graphicFrameMk id="322" creationId="{DF2C5195-7F7D-15F3-7EA7-FE74DD502DD7}"/>
          </ac:graphicFrameMkLst>
        </pc:graphicFrameChg>
        <pc:cxnChg chg="mod ord">
          <ac:chgData name="Tan, Roger" userId="f6f33758-bd69-4951-8148-181de3b92474" providerId="ADAL" clId="{A436842E-EA5C-4A6D-B51D-DDAE8BC6E9BD}" dt="2023-11-05T22:15:19.744" v="12996"/>
          <ac:cxnSpMkLst>
            <pc:docMk/>
            <pc:sldMk cId="2948950000" sldId="354"/>
            <ac:cxnSpMk id="317" creationId="{DCB1B3C4-CC64-2162-F944-5A76AB63A3A7}"/>
          </ac:cxnSpMkLst>
        </pc:cxnChg>
        <pc:cxnChg chg="mod ord">
          <ac:chgData name="Tan, Roger" userId="f6f33758-bd69-4951-8148-181de3b92474" providerId="ADAL" clId="{A436842E-EA5C-4A6D-B51D-DDAE8BC6E9BD}" dt="2023-11-05T22:15:19.744" v="12998"/>
          <ac:cxnSpMkLst>
            <pc:docMk/>
            <pc:sldMk cId="2948950000" sldId="354"/>
            <ac:cxnSpMk id="318" creationId="{A5E84D42-72C2-7043-938A-84A3D663BFC2}"/>
          </ac:cxnSpMkLst>
        </pc:cxnChg>
        <pc:cxnChg chg="mod ord">
          <ac:chgData name="Tan, Roger" userId="f6f33758-bd69-4951-8148-181de3b92474" providerId="ADAL" clId="{A436842E-EA5C-4A6D-B51D-DDAE8BC6E9BD}" dt="2023-11-05T22:15:19.744" v="13000"/>
          <ac:cxnSpMkLst>
            <pc:docMk/>
            <pc:sldMk cId="2948950000" sldId="354"/>
            <ac:cxnSpMk id="319" creationId="{D70F67A2-F7DD-DA98-FD5F-D9BD5B016A4D}"/>
          </ac:cxnSpMkLst>
        </pc:cxnChg>
      </pc:sldChg>
      <pc:sldChg chg="addSp delSp modSp add del mod">
        <pc:chgData name="Tan, Roger" userId="f6f33758-bd69-4951-8148-181de3b92474" providerId="ADAL" clId="{A436842E-EA5C-4A6D-B51D-DDAE8BC6E9BD}" dt="2023-11-05T03:44:15.116" v="3774" actId="47"/>
        <pc:sldMkLst>
          <pc:docMk/>
          <pc:sldMk cId="2875311200" sldId="355"/>
        </pc:sldMkLst>
        <pc:spChg chg="del">
          <ac:chgData name="Tan, Roger" userId="f6f33758-bd69-4951-8148-181de3b92474" providerId="ADAL" clId="{A436842E-EA5C-4A6D-B51D-DDAE8BC6E9BD}" dt="2023-11-05T03:36:14.039" v="2778"/>
          <ac:spMkLst>
            <pc:docMk/>
            <pc:sldMk cId="2875311200" sldId="355"/>
            <ac:spMk id="3" creationId="{27851A68-3172-4EE2-8476-2E5DD39D0C47}"/>
          </ac:spMkLst>
        </pc:spChg>
        <pc:spChg chg="del">
          <ac:chgData name="Tan, Roger" userId="f6f33758-bd69-4951-8148-181de3b92474" providerId="ADAL" clId="{A436842E-EA5C-4A6D-B51D-DDAE8BC6E9BD}" dt="2023-11-05T03:36:14.038" v="2776"/>
          <ac:spMkLst>
            <pc:docMk/>
            <pc:sldMk cId="2875311200" sldId="355"/>
            <ac:spMk id="5" creationId="{7847591B-1221-76F8-F159-60F2713E193F}"/>
          </ac:spMkLst>
        </pc:spChg>
        <pc:spChg chg="del">
          <ac:chgData name="Tan, Roger" userId="f6f33758-bd69-4951-8148-181de3b92474" providerId="ADAL" clId="{A436842E-EA5C-4A6D-B51D-DDAE8BC6E9BD}" dt="2023-11-05T03:36:14.037" v="2774"/>
          <ac:spMkLst>
            <pc:docMk/>
            <pc:sldMk cId="2875311200" sldId="355"/>
            <ac:spMk id="17" creationId="{83D8F380-3B49-E6D4-0802-6D4922AD150E}"/>
          </ac:spMkLst>
        </pc:spChg>
        <pc:spChg chg="del">
          <ac:chgData name="Tan, Roger" userId="f6f33758-bd69-4951-8148-181de3b92474" providerId="ADAL" clId="{A436842E-EA5C-4A6D-B51D-DDAE8BC6E9BD}" dt="2023-11-05T03:36:14.037" v="2773"/>
          <ac:spMkLst>
            <pc:docMk/>
            <pc:sldMk cId="2875311200" sldId="355"/>
            <ac:spMk id="20" creationId="{AB930219-4A48-DEF0-AE52-570BFDB1948F}"/>
          </ac:spMkLst>
        </pc:spChg>
        <pc:spChg chg="del">
          <ac:chgData name="Tan, Roger" userId="f6f33758-bd69-4951-8148-181de3b92474" providerId="ADAL" clId="{A436842E-EA5C-4A6D-B51D-DDAE8BC6E9BD}" dt="2023-11-05T03:36:14.041" v="2784"/>
          <ac:spMkLst>
            <pc:docMk/>
            <pc:sldMk cId="2875311200" sldId="355"/>
            <ac:spMk id="58" creationId="{F3DFF600-8704-4CE6-3A0F-5CCAF2D9FE91}"/>
          </ac:spMkLst>
        </pc:spChg>
        <pc:spChg chg="del">
          <ac:chgData name="Tan, Roger" userId="f6f33758-bd69-4951-8148-181de3b92474" providerId="ADAL" clId="{A436842E-EA5C-4A6D-B51D-DDAE8BC6E9BD}" dt="2023-11-05T03:36:14.040" v="2782"/>
          <ac:spMkLst>
            <pc:docMk/>
            <pc:sldMk cId="2875311200" sldId="355"/>
            <ac:spMk id="59" creationId="{B1C8EEB9-E3E5-126E-831C-7581C37541E1}"/>
          </ac:spMkLst>
        </pc:spChg>
        <pc:spChg chg="del">
          <ac:chgData name="Tan, Roger" userId="f6f33758-bd69-4951-8148-181de3b92474" providerId="ADAL" clId="{A436842E-EA5C-4A6D-B51D-DDAE8BC6E9BD}" dt="2023-11-05T03:36:14.035" v="2770"/>
          <ac:spMkLst>
            <pc:docMk/>
            <pc:sldMk cId="2875311200" sldId="355"/>
            <ac:spMk id="61" creationId="{4E9DEBED-3FBB-BBD2-CED6-0F25DDE4D20C}"/>
          </ac:spMkLst>
        </pc:spChg>
        <pc:spChg chg="del">
          <ac:chgData name="Tan, Roger" userId="f6f33758-bd69-4951-8148-181de3b92474" providerId="ADAL" clId="{A436842E-EA5C-4A6D-B51D-DDAE8BC6E9BD}" dt="2023-11-05T03:36:14.035" v="2771"/>
          <ac:spMkLst>
            <pc:docMk/>
            <pc:sldMk cId="2875311200" sldId="355"/>
            <ac:spMk id="63" creationId="{B3526834-F29D-322D-8656-3256FC3246BD}"/>
          </ac:spMkLst>
        </pc:spChg>
        <pc:spChg chg="del">
          <ac:chgData name="Tan, Roger" userId="f6f33758-bd69-4951-8148-181de3b92474" providerId="ADAL" clId="{A436842E-EA5C-4A6D-B51D-DDAE8BC6E9BD}" dt="2023-11-05T03:36:14.038" v="2777"/>
          <ac:spMkLst>
            <pc:docMk/>
            <pc:sldMk cId="2875311200" sldId="355"/>
            <ac:spMk id="100" creationId="{9C681AFD-3E9F-290C-40CB-B94154E73CDC}"/>
          </ac:spMkLst>
        </pc:spChg>
        <pc:spChg chg="del">
          <ac:chgData name="Tan, Roger" userId="f6f33758-bd69-4951-8148-181de3b92474" providerId="ADAL" clId="{A436842E-EA5C-4A6D-B51D-DDAE8BC6E9BD}" dt="2023-11-05T03:36:14.038" v="2775"/>
          <ac:spMkLst>
            <pc:docMk/>
            <pc:sldMk cId="2875311200" sldId="355"/>
            <ac:spMk id="106" creationId="{8A61F6B0-A72F-97AE-9D0B-25CCD3DFAC6B}"/>
          </ac:spMkLst>
        </pc:spChg>
        <pc:spChg chg="del">
          <ac:chgData name="Tan, Roger" userId="f6f33758-bd69-4951-8148-181de3b92474" providerId="ADAL" clId="{A436842E-EA5C-4A6D-B51D-DDAE8BC6E9BD}" dt="2023-11-05T03:36:14.041" v="2783"/>
          <ac:spMkLst>
            <pc:docMk/>
            <pc:sldMk cId="2875311200" sldId="355"/>
            <ac:spMk id="114" creationId="{A18D2A71-E273-11B1-3871-9F04A2B75444}"/>
          </ac:spMkLst>
        </pc:spChg>
        <pc:spChg chg="del">
          <ac:chgData name="Tan, Roger" userId="f6f33758-bd69-4951-8148-181de3b92474" providerId="ADAL" clId="{A436842E-EA5C-4A6D-B51D-DDAE8BC6E9BD}" dt="2023-11-05T03:36:14.040" v="2781"/>
          <ac:spMkLst>
            <pc:docMk/>
            <pc:sldMk cId="2875311200" sldId="355"/>
            <ac:spMk id="119" creationId="{6A5079A0-E0B7-A998-628C-CEE9C18840F0}"/>
          </ac:spMkLst>
        </pc:spChg>
        <pc:spChg chg="mod">
          <ac:chgData name="Tan, Roger" userId="f6f33758-bd69-4951-8148-181de3b92474" providerId="ADAL" clId="{A436842E-EA5C-4A6D-B51D-DDAE8BC6E9BD}" dt="2023-11-05T03:39:21.185" v="2905" actId="122"/>
          <ac:spMkLst>
            <pc:docMk/>
            <pc:sldMk cId="2875311200" sldId="355"/>
            <ac:spMk id="128" creationId="{0576C39B-D19A-DA5D-7B20-A7AF9180C54C}"/>
          </ac:spMkLst>
        </pc:spChg>
        <pc:spChg chg="mod">
          <ac:chgData name="Tan, Roger" userId="f6f33758-bd69-4951-8148-181de3b92474" providerId="ADAL" clId="{A436842E-EA5C-4A6D-B51D-DDAE8BC6E9BD}" dt="2023-11-05T03:37:54.676" v="2882" actId="1076"/>
          <ac:spMkLst>
            <pc:docMk/>
            <pc:sldMk cId="2875311200" sldId="355"/>
            <ac:spMk id="219" creationId="{CD06FDE8-A56D-11DA-B974-2BB817B526D9}"/>
          </ac:spMkLst>
        </pc:spChg>
        <pc:graphicFrameChg chg="add mod modGraphic">
          <ac:chgData name="Tan, Roger" userId="f6f33758-bd69-4951-8148-181de3b92474" providerId="ADAL" clId="{A436842E-EA5C-4A6D-B51D-DDAE8BC6E9BD}" dt="2023-11-05T03:37:58.658" v="2883" actId="1076"/>
          <ac:graphicFrameMkLst>
            <pc:docMk/>
            <pc:sldMk cId="2875311200" sldId="355"/>
            <ac:graphicFrameMk id="4" creationId="{131F4473-A684-C4BE-56D5-E6188F5E4FEF}"/>
          </ac:graphicFrameMkLst>
        </pc:graphicFrameChg>
        <pc:graphicFrameChg chg="mod">
          <ac:chgData name="Tan, Roger" userId="f6f33758-bd69-4951-8148-181de3b92474" providerId="ADAL" clId="{A436842E-EA5C-4A6D-B51D-DDAE8BC6E9BD}" dt="2023-11-05T03:36:14.051" v="2790"/>
          <ac:graphicFrameMkLst>
            <pc:docMk/>
            <pc:sldMk cId="2875311200" sldId="355"/>
            <ac:graphicFrameMk id="8" creationId="{7C2468B8-94B3-1E45-C5D3-2E4C64205350}"/>
          </ac:graphicFrameMkLst>
        </pc:graphicFrameChg>
        <pc:graphicFrameChg chg="del">
          <ac:chgData name="Tan, Roger" userId="f6f33758-bd69-4951-8148-181de3b92474" providerId="ADAL" clId="{A436842E-EA5C-4A6D-B51D-DDAE8BC6E9BD}" dt="2023-11-05T03:36:14.040" v="2780"/>
          <ac:graphicFrameMkLst>
            <pc:docMk/>
            <pc:sldMk cId="2875311200" sldId="355"/>
            <ac:graphicFrameMk id="44" creationId="{93AE56D7-96B5-A127-9AD6-B952DC5A1D0C}"/>
          </ac:graphicFrameMkLst>
        </pc:graphicFrameChg>
        <pc:graphicFrameChg chg="del">
          <ac:chgData name="Tan, Roger" userId="f6f33758-bd69-4951-8148-181de3b92474" providerId="ADAL" clId="{A436842E-EA5C-4A6D-B51D-DDAE8BC6E9BD}" dt="2023-11-05T03:36:14.042" v="2786"/>
          <ac:graphicFrameMkLst>
            <pc:docMk/>
            <pc:sldMk cId="2875311200" sldId="355"/>
            <ac:graphicFrameMk id="49" creationId="{A9A10A77-3A72-7E9D-F596-0ABBE741FE66}"/>
          </ac:graphicFrameMkLst>
        </pc:graphicFrameChg>
        <pc:cxnChg chg="del">
          <ac:chgData name="Tan, Roger" userId="f6f33758-bd69-4951-8148-181de3b92474" providerId="ADAL" clId="{A436842E-EA5C-4A6D-B51D-DDAE8BC6E9BD}" dt="2023-11-05T03:36:14.034" v="2766"/>
          <ac:cxnSpMkLst>
            <pc:docMk/>
            <pc:sldMk cId="2875311200" sldId="355"/>
            <ac:cxnSpMk id="16" creationId="{45F62A0D-CECE-F0A6-5C22-537E0A331C2D}"/>
          </ac:cxnSpMkLst>
        </pc:cxnChg>
        <pc:cxnChg chg="del">
          <ac:chgData name="Tan, Roger" userId="f6f33758-bd69-4951-8148-181de3b92474" providerId="ADAL" clId="{A436842E-EA5C-4A6D-B51D-DDAE8BC6E9BD}" dt="2023-11-05T03:36:14.035" v="2768"/>
          <ac:cxnSpMkLst>
            <pc:docMk/>
            <pc:sldMk cId="2875311200" sldId="355"/>
            <ac:cxnSpMk id="24" creationId="{0A1AAE7D-E594-9A0D-E299-3249B7E7C926}"/>
          </ac:cxnSpMkLst>
        </pc:cxnChg>
        <pc:cxnChg chg="del">
          <ac:chgData name="Tan, Roger" userId="f6f33758-bd69-4951-8148-181de3b92474" providerId="ADAL" clId="{A436842E-EA5C-4A6D-B51D-DDAE8BC6E9BD}" dt="2023-11-05T03:36:14.026" v="2764"/>
          <ac:cxnSpMkLst>
            <pc:docMk/>
            <pc:sldMk cId="2875311200" sldId="355"/>
            <ac:cxnSpMk id="129" creationId="{4C684A90-A1E8-D5EF-1001-F0D6C7AFB3AB}"/>
          </ac:cxnSpMkLst>
        </pc:cxnChg>
      </pc:sldChg>
      <pc:sldChg chg="addSp delSp modSp add mod ord modClrScheme chgLayout">
        <pc:chgData name="Tan, Roger" userId="f6f33758-bd69-4951-8148-181de3b92474" providerId="ADAL" clId="{A436842E-EA5C-4A6D-B51D-DDAE8BC6E9BD}" dt="2023-11-08T22:27:58.323" v="85796"/>
        <pc:sldMkLst>
          <pc:docMk/>
          <pc:sldMk cId="13900367" sldId="356"/>
        </pc:sldMkLst>
        <pc:spChg chg="add del mod modVis">
          <ac:chgData name="Tan, Roger" userId="f6f33758-bd69-4951-8148-181de3b92474" providerId="ADAL" clId="{A436842E-EA5C-4A6D-B51D-DDAE8BC6E9BD}" dt="2023-11-08T22:27:44.151" v="85400"/>
          <ac:spMkLst>
            <pc:docMk/>
            <pc:sldMk cId="13900367" sldId="356"/>
            <ac:spMk id="2" creationId="{249EF076-B42A-CDAD-D73F-6F5C2CE4A563}"/>
          </ac:spMkLst>
        </pc:spChg>
        <pc:spChg chg="mod ord">
          <ac:chgData name="Tan, Roger" userId="f6f33758-bd69-4951-8148-181de3b92474" providerId="ADAL" clId="{A436842E-EA5C-4A6D-B51D-DDAE8BC6E9BD}" dt="2023-11-07T17:10:33.137" v="73453" actId="21"/>
          <ac:spMkLst>
            <pc:docMk/>
            <pc:sldMk cId="13900367" sldId="356"/>
            <ac:spMk id="2" creationId="{D38E5C8C-3841-BCDE-2788-4F1BD656772E}"/>
          </ac:spMkLst>
        </pc:spChg>
        <pc:spChg chg="add del mod replST">
          <ac:chgData name="Tan, Roger" userId="f6f33758-bd69-4951-8148-181de3b92474" providerId="ADAL" clId="{A436842E-EA5C-4A6D-B51D-DDAE8BC6E9BD}" dt="2023-11-08T22:27:44.816" v="85452"/>
          <ac:spMkLst>
            <pc:docMk/>
            <pc:sldMk cId="13900367" sldId="356"/>
            <ac:spMk id="3" creationId="{9A4DDCAF-DE54-8FD4-9231-5E93EA516A39}"/>
          </ac:spMkLst>
        </pc:spChg>
        <pc:spChg chg="add del mod modVis">
          <ac:chgData name="Tan, Roger" userId="f6f33758-bd69-4951-8148-181de3b92474" providerId="ADAL" clId="{A436842E-EA5C-4A6D-B51D-DDAE8BC6E9BD}" dt="2023-11-05T03:42:12.080" v="3097"/>
          <ac:spMkLst>
            <pc:docMk/>
            <pc:sldMk cId="13900367" sldId="356"/>
            <ac:spMk id="3" creationId="{9D8E91D0-30C0-8CF5-50AD-CB7A4C2A7476}"/>
          </ac:spMkLst>
        </pc:spChg>
        <pc:spChg chg="add del mod modVis">
          <ac:chgData name="Tan, Roger" userId="f6f33758-bd69-4951-8148-181de3b92474" providerId="ADAL" clId="{A436842E-EA5C-4A6D-B51D-DDAE8BC6E9BD}" dt="2023-11-05T21:49:17.915" v="7257"/>
          <ac:spMkLst>
            <pc:docMk/>
            <pc:sldMk cId="13900367" sldId="356"/>
            <ac:spMk id="3" creationId="{B9D67C1F-6B2F-8AD9-4787-5A188A212FAD}"/>
          </ac:spMkLst>
        </pc:spChg>
        <pc:spChg chg="add del mod modVis">
          <ac:chgData name="Tan, Roger" userId="f6f33758-bd69-4951-8148-181de3b92474" providerId="ADAL" clId="{A436842E-EA5C-4A6D-B51D-DDAE8BC6E9BD}" dt="2023-11-05T03:42:19.774" v="3215"/>
          <ac:spMkLst>
            <pc:docMk/>
            <pc:sldMk cId="13900367" sldId="356"/>
            <ac:spMk id="5" creationId="{4484CCA4-2003-18E9-96C9-F44AD191725C}"/>
          </ac:spMkLst>
        </pc:spChg>
        <pc:spChg chg="add del">
          <ac:chgData name="Tan, Roger" userId="f6f33758-bd69-4951-8148-181de3b92474" providerId="ADAL" clId="{A436842E-EA5C-4A6D-B51D-DDAE8BC6E9BD}" dt="2023-11-07T17:10:21.206" v="73450" actId="22"/>
          <ac:spMkLst>
            <pc:docMk/>
            <pc:sldMk cId="13900367" sldId="356"/>
            <ac:spMk id="5" creationId="{56147244-9CC0-BC87-1813-8FE0467C2CF4}"/>
          </ac:spMkLst>
        </pc:spChg>
        <pc:spChg chg="add del mod replST">
          <ac:chgData name="Tan, Roger" userId="f6f33758-bd69-4951-8148-181de3b92474" providerId="ADAL" clId="{A436842E-EA5C-4A6D-B51D-DDAE8BC6E9BD}" dt="2023-11-08T22:27:44.817" v="85453"/>
          <ac:spMkLst>
            <pc:docMk/>
            <pc:sldMk cId="13900367" sldId="356"/>
            <ac:spMk id="5" creationId="{61818E78-765B-2184-3A85-398A129033A8}"/>
          </ac:spMkLst>
        </pc:spChg>
        <pc:spChg chg="add del mod modVis">
          <ac:chgData name="Tan, Roger" userId="f6f33758-bd69-4951-8148-181de3b92474" providerId="ADAL" clId="{A436842E-EA5C-4A6D-B51D-DDAE8BC6E9BD}" dt="2023-11-05T21:49:24.650" v="7338"/>
          <ac:spMkLst>
            <pc:docMk/>
            <pc:sldMk cId="13900367" sldId="356"/>
            <ac:spMk id="5" creationId="{FE32EA6E-798F-6926-C14A-8DB639FD8470}"/>
          </ac:spMkLst>
        </pc:spChg>
        <pc:spChg chg="add mod ord">
          <ac:chgData name="Tan, Roger" userId="f6f33758-bd69-4951-8148-181de3b92474" providerId="ADAL" clId="{A436842E-EA5C-4A6D-B51D-DDAE8BC6E9BD}" dt="2023-11-08T22:27:58.312" v="85786"/>
          <ac:spMkLst>
            <pc:docMk/>
            <pc:sldMk cId="13900367" sldId="356"/>
            <ac:spMk id="6" creationId="{F2C133AB-702A-277C-FDFD-36755940165B}"/>
          </ac:spMkLst>
        </pc:spChg>
        <pc:spChg chg="add del mod modVis">
          <ac:chgData name="Tan, Roger" userId="f6f33758-bd69-4951-8148-181de3b92474" providerId="ADAL" clId="{A436842E-EA5C-4A6D-B51D-DDAE8BC6E9BD}" dt="2023-11-05T03:42:23.543" v="3404"/>
          <ac:spMkLst>
            <pc:docMk/>
            <pc:sldMk cId="13900367" sldId="356"/>
            <ac:spMk id="7" creationId="{BBA4E3A5-A719-D58E-3A86-D37B98B3B8B7}"/>
          </ac:spMkLst>
        </pc:spChg>
        <pc:spChg chg="add del mod modVis">
          <ac:chgData name="Tan, Roger" userId="f6f33758-bd69-4951-8148-181de3b92474" providerId="ADAL" clId="{A436842E-EA5C-4A6D-B51D-DDAE8BC6E9BD}" dt="2023-11-05T21:49:30.682" v="7421"/>
          <ac:spMkLst>
            <pc:docMk/>
            <pc:sldMk cId="13900367" sldId="356"/>
            <ac:spMk id="7" creationId="{E74505BC-6305-42BA-AAA5-6E1ED292066C}"/>
          </ac:spMkLst>
        </pc:spChg>
        <pc:spChg chg="add del mod modVis">
          <ac:chgData name="Tan, Roger" userId="f6f33758-bd69-4951-8148-181de3b92474" providerId="ADAL" clId="{A436842E-EA5C-4A6D-B51D-DDAE8BC6E9BD}" dt="2023-11-05T03:42:28.275" v="3543"/>
          <ac:spMkLst>
            <pc:docMk/>
            <pc:sldMk cId="13900367" sldId="356"/>
            <ac:spMk id="10" creationId="{31E69845-96B4-C773-3317-1810DA0CF8B3}"/>
          </ac:spMkLst>
        </pc:spChg>
        <pc:spChg chg="add mod ord">
          <ac:chgData name="Tan, Roger" userId="f6f33758-bd69-4951-8148-181de3b92474" providerId="ADAL" clId="{A436842E-EA5C-4A6D-B51D-DDAE8BC6E9BD}" dt="2023-11-08T22:27:58.313" v="85788"/>
          <ac:spMkLst>
            <pc:docMk/>
            <pc:sldMk cId="13900367" sldId="356"/>
            <ac:spMk id="10" creationId="{9729098A-6865-5B1A-6855-6CB67DC63D28}"/>
          </ac:spMkLst>
        </pc:spChg>
        <pc:spChg chg="add del mod modVis">
          <ac:chgData name="Tan, Roger" userId="f6f33758-bd69-4951-8148-181de3b92474" providerId="ADAL" clId="{A436842E-EA5C-4A6D-B51D-DDAE8BC6E9BD}" dt="2023-11-05T21:49:32.204" v="7503"/>
          <ac:spMkLst>
            <pc:docMk/>
            <pc:sldMk cId="13900367" sldId="356"/>
            <ac:spMk id="10" creationId="{A71FEA48-C9FC-6C6D-3A73-1CE5F9316E5C}"/>
          </ac:spMkLst>
        </pc:spChg>
        <pc:spChg chg="mod ord">
          <ac:chgData name="Tan, Roger" userId="f6f33758-bd69-4951-8148-181de3b92474" providerId="ADAL" clId="{A436842E-EA5C-4A6D-B51D-DDAE8BC6E9BD}" dt="2023-11-08T22:27:58.313" v="85790"/>
          <ac:spMkLst>
            <pc:docMk/>
            <pc:sldMk cId="13900367" sldId="356"/>
            <ac:spMk id="11" creationId="{A1EEDBE3-1CA7-F9D1-6666-E272288BF1D0}"/>
          </ac:spMkLst>
        </pc:spChg>
        <pc:spChg chg="add del mod modVis">
          <ac:chgData name="Tan, Roger" userId="f6f33758-bd69-4951-8148-181de3b92474" providerId="ADAL" clId="{A436842E-EA5C-4A6D-B51D-DDAE8BC6E9BD}" dt="2023-11-05T21:49:37.769" v="7586"/>
          <ac:spMkLst>
            <pc:docMk/>
            <pc:sldMk cId="13900367" sldId="356"/>
            <ac:spMk id="12" creationId="{3B12119B-FFF5-C527-35BC-53492A9FB32C}"/>
          </ac:spMkLst>
        </pc:spChg>
        <pc:spChg chg="add del mod replST">
          <ac:chgData name="Tan, Roger" userId="f6f33758-bd69-4951-8148-181de3b92474" providerId="ADAL" clId="{A436842E-EA5C-4A6D-B51D-DDAE8BC6E9BD}" dt="2023-11-08T22:27:44.818" v="85454"/>
          <ac:spMkLst>
            <pc:docMk/>
            <pc:sldMk cId="13900367" sldId="356"/>
            <ac:spMk id="12" creationId="{70185B51-9593-A4DE-5D0C-4A45DBB2C76B}"/>
          </ac:spMkLst>
        </pc:spChg>
        <pc:spChg chg="add del mod modVis">
          <ac:chgData name="Tan, Roger" userId="f6f33758-bd69-4951-8148-181de3b92474" providerId="ADAL" clId="{A436842E-EA5C-4A6D-B51D-DDAE8BC6E9BD}" dt="2023-11-05T03:43:00.956" v="3679"/>
          <ac:spMkLst>
            <pc:docMk/>
            <pc:sldMk cId="13900367" sldId="356"/>
            <ac:spMk id="12" creationId="{B2946624-CCDC-9087-BD8C-33E8482949BA}"/>
          </ac:spMkLst>
        </pc:spChg>
        <pc:spChg chg="add del mod replST">
          <ac:chgData name="Tan, Roger" userId="f6f33758-bd69-4951-8148-181de3b92474" providerId="ADAL" clId="{A436842E-EA5C-4A6D-B51D-DDAE8BC6E9BD}" dt="2023-11-08T22:27:44.818" v="85455"/>
          <ac:spMkLst>
            <pc:docMk/>
            <pc:sldMk cId="13900367" sldId="356"/>
            <ac:spMk id="13" creationId="{61B624CF-A259-2B7E-A2F8-0DF396726E3E}"/>
          </ac:spMkLst>
        </pc:spChg>
        <pc:spChg chg="del mod">
          <ac:chgData name="Tan, Roger" userId="f6f33758-bd69-4951-8148-181de3b92474" providerId="ADAL" clId="{A436842E-EA5C-4A6D-B51D-DDAE8BC6E9BD}" dt="2023-11-05T03:42:46.160" v="3560"/>
          <ac:spMkLst>
            <pc:docMk/>
            <pc:sldMk cId="13900367" sldId="356"/>
            <ac:spMk id="13" creationId="{EC99361F-542D-58A2-8885-BE41C5CB3848}"/>
          </ac:spMkLst>
        </pc:spChg>
        <pc:spChg chg="add del mod replST">
          <ac:chgData name="Tan, Roger" userId="f6f33758-bd69-4951-8148-181de3b92474" providerId="ADAL" clId="{A436842E-EA5C-4A6D-B51D-DDAE8BC6E9BD}" dt="2023-11-08T22:27:44.819" v="85456"/>
          <ac:spMkLst>
            <pc:docMk/>
            <pc:sldMk cId="13900367" sldId="356"/>
            <ac:spMk id="14" creationId="{5D716171-1F22-4177-250F-F0D47B3FBDB5}"/>
          </ac:spMkLst>
        </pc:spChg>
        <pc:spChg chg="add del mod modVis">
          <ac:chgData name="Tan, Roger" userId="f6f33758-bd69-4951-8148-181de3b92474" providerId="ADAL" clId="{A436842E-EA5C-4A6D-B51D-DDAE8BC6E9BD}" dt="2023-11-05T21:49:44.939" v="7665"/>
          <ac:spMkLst>
            <pc:docMk/>
            <pc:sldMk cId="13900367" sldId="356"/>
            <ac:spMk id="14" creationId="{D36C9ACF-CD27-51A1-6F7C-B430503595D5}"/>
          </ac:spMkLst>
        </pc:spChg>
        <pc:spChg chg="add del mod replST">
          <ac:chgData name="Tan, Roger" userId="f6f33758-bd69-4951-8148-181de3b92474" providerId="ADAL" clId="{A436842E-EA5C-4A6D-B51D-DDAE8BC6E9BD}" dt="2023-11-08T22:27:44.819" v="85457"/>
          <ac:spMkLst>
            <pc:docMk/>
            <pc:sldMk cId="13900367" sldId="356"/>
            <ac:spMk id="15" creationId="{397AC718-3EFD-5026-DD52-4E2435F66C40}"/>
          </ac:spMkLst>
        </pc:spChg>
        <pc:spChg chg="del">
          <ac:chgData name="Tan, Roger" userId="f6f33758-bd69-4951-8148-181de3b92474" providerId="ADAL" clId="{A436842E-EA5C-4A6D-B51D-DDAE8BC6E9BD}" dt="2023-11-05T03:42:11.858" v="2911"/>
          <ac:spMkLst>
            <pc:docMk/>
            <pc:sldMk cId="13900367" sldId="356"/>
            <ac:spMk id="15" creationId="{985059B3-79E3-4CCC-3270-A1E578D007F6}"/>
          </ac:spMkLst>
        </pc:spChg>
        <pc:spChg chg="add del mod modVis">
          <ac:chgData name="Tan, Roger" userId="f6f33758-bd69-4951-8148-181de3b92474" providerId="ADAL" clId="{A436842E-EA5C-4A6D-B51D-DDAE8BC6E9BD}" dt="2023-11-05T21:49:46.870" v="8224"/>
          <ac:spMkLst>
            <pc:docMk/>
            <pc:sldMk cId="13900367" sldId="356"/>
            <ac:spMk id="16" creationId="{22AA0CD7-17C4-6386-5333-99CA527693A9}"/>
          </ac:spMkLst>
        </pc:spChg>
        <pc:spChg chg="add del mod modVis">
          <ac:chgData name="Tan, Roger" userId="f6f33758-bd69-4951-8148-181de3b92474" providerId="ADAL" clId="{A436842E-EA5C-4A6D-B51D-DDAE8BC6E9BD}" dt="2023-11-05T03:43:02.079" v="3753"/>
          <ac:spMkLst>
            <pc:docMk/>
            <pc:sldMk cId="13900367" sldId="356"/>
            <ac:spMk id="16" creationId="{25604E1F-1952-DB63-7DF0-6D5DD3970F55}"/>
          </ac:spMkLst>
        </pc:spChg>
        <pc:spChg chg="add del mod replST">
          <ac:chgData name="Tan, Roger" userId="f6f33758-bd69-4951-8148-181de3b92474" providerId="ADAL" clId="{A436842E-EA5C-4A6D-B51D-DDAE8BC6E9BD}" dt="2023-11-08T22:27:44.820" v="85458"/>
          <ac:spMkLst>
            <pc:docMk/>
            <pc:sldMk cId="13900367" sldId="356"/>
            <ac:spMk id="16" creationId="{C98FF673-5C10-329E-8EA1-509BA0013EE7}"/>
          </ac:spMkLst>
        </pc:spChg>
        <pc:spChg chg="add del mod replST">
          <ac:chgData name="Tan, Roger" userId="f6f33758-bd69-4951-8148-181de3b92474" providerId="ADAL" clId="{A436842E-EA5C-4A6D-B51D-DDAE8BC6E9BD}" dt="2023-11-08T22:27:44.821" v="85459"/>
          <ac:spMkLst>
            <pc:docMk/>
            <pc:sldMk cId="13900367" sldId="356"/>
            <ac:spMk id="17" creationId="{C82D00CF-C937-9E47-B8C5-78E5A87B5B58}"/>
          </ac:spMkLst>
        </pc:spChg>
        <pc:spChg chg="add del mod replST">
          <ac:chgData name="Tan, Roger" userId="f6f33758-bd69-4951-8148-181de3b92474" providerId="ADAL" clId="{A436842E-EA5C-4A6D-B51D-DDAE8BC6E9BD}" dt="2023-11-05T21:49:49.066" v="8276"/>
          <ac:spMkLst>
            <pc:docMk/>
            <pc:sldMk cId="13900367" sldId="356"/>
            <ac:spMk id="17" creationId="{E2ECEBEE-997A-F895-467E-5E64C9235C44}"/>
          </ac:spMkLst>
        </pc:spChg>
        <pc:spChg chg="mod">
          <ac:chgData name="Tan, Roger" userId="f6f33758-bd69-4951-8148-181de3b92474" providerId="ADAL" clId="{A436842E-EA5C-4A6D-B51D-DDAE8BC6E9BD}" dt="2023-11-08T22:27:58.305" v="85759"/>
          <ac:spMkLst>
            <pc:docMk/>
            <pc:sldMk cId="13900367" sldId="356"/>
            <ac:spMk id="18" creationId="{3163B661-8C09-BC7E-82C6-7D3AE909F677}"/>
          </ac:spMkLst>
        </pc:spChg>
        <pc:spChg chg="add mod ord">
          <ac:chgData name="Tan, Roger" userId="f6f33758-bd69-4951-8148-181de3b92474" providerId="ADAL" clId="{A436842E-EA5C-4A6D-B51D-DDAE8BC6E9BD}" dt="2023-11-08T22:27:58.305" v="85762"/>
          <ac:spMkLst>
            <pc:docMk/>
            <pc:sldMk cId="13900367" sldId="356"/>
            <ac:spMk id="19" creationId="{329F64D9-E4AC-1B95-528A-1D6689967B19}"/>
          </ac:spMkLst>
        </pc:spChg>
        <pc:spChg chg="add del mod replST">
          <ac:chgData name="Tan, Roger" userId="f6f33758-bd69-4951-8148-181de3b92474" providerId="ADAL" clId="{A436842E-EA5C-4A6D-B51D-DDAE8BC6E9BD}" dt="2023-11-05T21:49:49.068" v="8277"/>
          <ac:spMkLst>
            <pc:docMk/>
            <pc:sldMk cId="13900367" sldId="356"/>
            <ac:spMk id="20" creationId="{49E8781F-9B40-1C91-D7F1-4EDB9612B345}"/>
          </ac:spMkLst>
        </pc:spChg>
        <pc:spChg chg="add del mod modVis">
          <ac:chgData name="Tan, Roger" userId="f6f33758-bd69-4951-8148-181de3b92474" providerId="ADAL" clId="{A436842E-EA5C-4A6D-B51D-DDAE8BC6E9BD}" dt="2023-11-05T05:46:29.347" v="5961"/>
          <ac:spMkLst>
            <pc:docMk/>
            <pc:sldMk cId="13900367" sldId="356"/>
            <ac:spMk id="20" creationId="{59ABE53B-806D-8A6E-9DDD-02443049B985}"/>
          </ac:spMkLst>
        </pc:spChg>
        <pc:spChg chg="add del mod replST">
          <ac:chgData name="Tan, Roger" userId="f6f33758-bd69-4951-8148-181de3b92474" providerId="ADAL" clId="{A436842E-EA5C-4A6D-B51D-DDAE8BC6E9BD}" dt="2023-11-05T21:49:49.068" v="8278"/>
          <ac:spMkLst>
            <pc:docMk/>
            <pc:sldMk cId="13900367" sldId="356"/>
            <ac:spMk id="21" creationId="{AA1CF540-82FE-3513-DD7A-174597AE3D36}"/>
          </ac:spMkLst>
        </pc:spChg>
        <pc:spChg chg="add del mod modVis">
          <ac:chgData name="Tan, Roger" userId="f6f33758-bd69-4951-8148-181de3b92474" providerId="ADAL" clId="{A436842E-EA5C-4A6D-B51D-DDAE8BC6E9BD}" dt="2023-11-08T22:27:44.878" v="85506"/>
          <ac:spMkLst>
            <pc:docMk/>
            <pc:sldMk cId="13900367" sldId="356"/>
            <ac:spMk id="21" creationId="{FC28F083-3DCC-1166-4D30-E21A95EACC34}"/>
          </ac:spMkLst>
        </pc:spChg>
        <pc:spChg chg="add del mod replST">
          <ac:chgData name="Tan, Roger" userId="f6f33758-bd69-4951-8148-181de3b92474" providerId="ADAL" clId="{A436842E-EA5C-4A6D-B51D-DDAE8BC6E9BD}" dt="2023-11-05T21:49:49.069" v="8279"/>
          <ac:spMkLst>
            <pc:docMk/>
            <pc:sldMk cId="13900367" sldId="356"/>
            <ac:spMk id="22" creationId="{23F45682-790C-727F-60A7-1A195BAA8F07}"/>
          </ac:spMkLst>
        </pc:spChg>
        <pc:spChg chg="add del mod modVis">
          <ac:chgData name="Tan, Roger" userId="f6f33758-bd69-4951-8148-181de3b92474" providerId="ADAL" clId="{A436842E-EA5C-4A6D-B51D-DDAE8BC6E9BD}" dt="2023-11-05T05:48:29.957" v="6198"/>
          <ac:spMkLst>
            <pc:docMk/>
            <pc:sldMk cId="13900367" sldId="356"/>
            <ac:spMk id="22" creationId="{92B5FBB0-3299-F47E-18BA-2152680AF840}"/>
          </ac:spMkLst>
        </pc:spChg>
        <pc:spChg chg="add del mod modVis">
          <ac:chgData name="Tan, Roger" userId="f6f33758-bd69-4951-8148-181de3b92474" providerId="ADAL" clId="{A436842E-EA5C-4A6D-B51D-DDAE8BC6E9BD}" dt="2023-11-08T22:27:53.625" v="85610"/>
          <ac:spMkLst>
            <pc:docMk/>
            <pc:sldMk cId="13900367" sldId="356"/>
            <ac:spMk id="23" creationId="{AC96B41E-ACE7-38BF-2C68-B09DA5EEE870}"/>
          </ac:spMkLst>
        </pc:spChg>
        <pc:spChg chg="add del mod replST">
          <ac:chgData name="Tan, Roger" userId="f6f33758-bd69-4951-8148-181de3b92474" providerId="ADAL" clId="{A436842E-EA5C-4A6D-B51D-DDAE8BC6E9BD}" dt="2023-11-05T21:49:49.069" v="8280"/>
          <ac:spMkLst>
            <pc:docMk/>
            <pc:sldMk cId="13900367" sldId="356"/>
            <ac:spMk id="24" creationId="{EC463B78-78A9-92CE-6011-33407E1D7133}"/>
          </ac:spMkLst>
        </pc:spChg>
        <pc:spChg chg="del mod">
          <ac:chgData name="Tan, Roger" userId="f6f33758-bd69-4951-8148-181de3b92474" providerId="ADAL" clId="{A436842E-EA5C-4A6D-B51D-DDAE8BC6E9BD}" dt="2023-11-05T03:42:46.160" v="3559"/>
          <ac:spMkLst>
            <pc:docMk/>
            <pc:sldMk cId="13900367" sldId="356"/>
            <ac:spMk id="25" creationId="{620B242F-FB96-1114-4235-7FB0BD74A9F2}"/>
          </ac:spMkLst>
        </pc:spChg>
        <pc:spChg chg="add del mod replST">
          <ac:chgData name="Tan, Roger" userId="f6f33758-bd69-4951-8148-181de3b92474" providerId="ADAL" clId="{A436842E-EA5C-4A6D-B51D-DDAE8BC6E9BD}" dt="2023-11-05T21:49:49.070" v="8281"/>
          <ac:spMkLst>
            <pc:docMk/>
            <pc:sldMk cId="13900367" sldId="356"/>
            <ac:spMk id="25" creationId="{9DC32C10-6EC0-F4C3-E447-190151FCE0C3}"/>
          </ac:spMkLst>
        </pc:spChg>
        <pc:spChg chg="add del mod modVis">
          <ac:chgData name="Tan, Roger" userId="f6f33758-bd69-4951-8148-181de3b92474" providerId="ADAL" clId="{A436842E-EA5C-4A6D-B51D-DDAE8BC6E9BD}" dt="2023-11-08T22:27:56.614" v="85702"/>
          <ac:spMkLst>
            <pc:docMk/>
            <pc:sldMk cId="13900367" sldId="356"/>
            <ac:spMk id="25" creationId="{BD473C4B-59EB-6305-6A96-AC0A4AA4995A}"/>
          </ac:spMkLst>
        </pc:spChg>
        <pc:spChg chg="add del mod replST">
          <ac:chgData name="Tan, Roger" userId="f6f33758-bd69-4951-8148-181de3b92474" providerId="ADAL" clId="{A436842E-EA5C-4A6D-B51D-DDAE8BC6E9BD}" dt="2023-11-05T21:49:49.070" v="8282"/>
          <ac:spMkLst>
            <pc:docMk/>
            <pc:sldMk cId="13900367" sldId="356"/>
            <ac:spMk id="26" creationId="{884CD521-807D-356A-924E-5655EB17CCEC}"/>
          </ac:spMkLst>
        </pc:spChg>
        <pc:spChg chg="add del mod replST">
          <ac:chgData name="Tan, Roger" userId="f6f33758-bd69-4951-8148-181de3b92474" providerId="ADAL" clId="{A436842E-EA5C-4A6D-B51D-DDAE8BC6E9BD}" dt="2023-11-05T21:49:49.071" v="8283"/>
          <ac:spMkLst>
            <pc:docMk/>
            <pc:sldMk cId="13900367" sldId="356"/>
            <ac:spMk id="27" creationId="{A0AB8278-2BFA-B4DA-99C3-F134072ABF2F}"/>
          </ac:spMkLst>
        </pc:spChg>
        <pc:spChg chg="del">
          <ac:chgData name="Tan, Roger" userId="f6f33758-bd69-4951-8148-181de3b92474" providerId="ADAL" clId="{A436842E-EA5C-4A6D-B51D-DDAE8BC6E9BD}" dt="2023-11-05T03:42:11.852" v="2910"/>
          <ac:spMkLst>
            <pc:docMk/>
            <pc:sldMk cId="13900367" sldId="356"/>
            <ac:spMk id="27" creationId="{A7DC921B-D373-06F3-836A-FF0FB048FA4A}"/>
          </ac:spMkLst>
        </pc:spChg>
        <pc:spChg chg="add del mod modVis">
          <ac:chgData name="Tan, Roger" userId="f6f33758-bd69-4951-8148-181de3b92474" providerId="ADAL" clId="{A436842E-EA5C-4A6D-B51D-DDAE8BC6E9BD}" dt="2023-11-08T22:27:58.315" v="85794"/>
          <ac:spMkLst>
            <pc:docMk/>
            <pc:sldMk cId="13900367" sldId="356"/>
            <ac:spMk id="27" creationId="{BB9819E7-071E-F3A6-E88B-D73727167C68}"/>
          </ac:spMkLst>
        </pc:spChg>
        <pc:spChg chg="add del mod modVis">
          <ac:chgData name="Tan, Roger" userId="f6f33758-bd69-4951-8148-181de3b92474" providerId="ADAL" clId="{A436842E-EA5C-4A6D-B51D-DDAE8BC6E9BD}" dt="2023-11-05T21:49:49.097" v="8315"/>
          <ac:spMkLst>
            <pc:docMk/>
            <pc:sldMk cId="13900367" sldId="356"/>
            <ac:spMk id="29" creationId="{F6BE751E-E5E0-2EFC-5A47-BDE051ACEAAE}"/>
          </ac:spMkLst>
        </pc:spChg>
        <pc:spChg chg="add del mod modVis">
          <ac:chgData name="Tan, Roger" userId="f6f33758-bd69-4951-8148-181de3b92474" providerId="ADAL" clId="{A436842E-EA5C-4A6D-B51D-DDAE8BC6E9BD}" dt="2023-11-05T21:49:54.508" v="8913"/>
          <ac:spMkLst>
            <pc:docMk/>
            <pc:sldMk cId="13900367" sldId="356"/>
            <ac:spMk id="31" creationId="{B0738BA8-2B16-EFB9-B4EE-5CA487E7FE93}"/>
          </ac:spMkLst>
        </pc:spChg>
        <pc:spChg chg="add del mod replST">
          <ac:chgData name="Tan, Roger" userId="f6f33758-bd69-4951-8148-181de3b92474" providerId="ADAL" clId="{A436842E-EA5C-4A6D-B51D-DDAE8BC6E9BD}" dt="2023-11-05T21:49:55.522" v="8993"/>
          <ac:spMkLst>
            <pc:docMk/>
            <pc:sldMk cId="13900367" sldId="356"/>
            <ac:spMk id="32" creationId="{7DD816D2-9059-B904-4B8F-EF542C400B3B}"/>
          </ac:spMkLst>
        </pc:spChg>
        <pc:spChg chg="add del mod replST">
          <ac:chgData name="Tan, Roger" userId="f6f33758-bd69-4951-8148-181de3b92474" providerId="ADAL" clId="{A436842E-EA5C-4A6D-B51D-DDAE8BC6E9BD}" dt="2023-11-05T21:49:55.523" v="8994"/>
          <ac:spMkLst>
            <pc:docMk/>
            <pc:sldMk cId="13900367" sldId="356"/>
            <ac:spMk id="33" creationId="{F604E07C-CEF1-6166-C009-AE37C7F95AF6}"/>
          </ac:spMkLst>
        </pc:spChg>
        <pc:spChg chg="add del mod replST">
          <ac:chgData name="Tan, Roger" userId="f6f33758-bd69-4951-8148-181de3b92474" providerId="ADAL" clId="{A436842E-EA5C-4A6D-B51D-DDAE8BC6E9BD}" dt="2023-11-05T21:49:55.523" v="8995"/>
          <ac:spMkLst>
            <pc:docMk/>
            <pc:sldMk cId="13900367" sldId="356"/>
            <ac:spMk id="34" creationId="{92A89C94-296F-38B1-C0D8-95AA42D16288}"/>
          </ac:spMkLst>
        </pc:spChg>
        <pc:spChg chg="add del mod replST">
          <ac:chgData name="Tan, Roger" userId="f6f33758-bd69-4951-8148-181de3b92474" providerId="ADAL" clId="{A436842E-EA5C-4A6D-B51D-DDAE8BC6E9BD}" dt="2023-11-05T21:49:55.524" v="8996"/>
          <ac:spMkLst>
            <pc:docMk/>
            <pc:sldMk cId="13900367" sldId="356"/>
            <ac:spMk id="35" creationId="{C277E049-8DC4-DA43-AFC6-C5E152A75251}"/>
          </ac:spMkLst>
        </pc:spChg>
        <pc:spChg chg="add del mod replST">
          <ac:chgData name="Tan, Roger" userId="f6f33758-bd69-4951-8148-181de3b92474" providerId="ADAL" clId="{A436842E-EA5C-4A6D-B51D-DDAE8BC6E9BD}" dt="2023-11-05T21:49:55.524" v="8997"/>
          <ac:spMkLst>
            <pc:docMk/>
            <pc:sldMk cId="13900367" sldId="356"/>
            <ac:spMk id="36" creationId="{D667BBF2-ECEF-A2D0-3724-26CAE01DC9EB}"/>
          </ac:spMkLst>
        </pc:spChg>
        <pc:spChg chg="add del mod replST">
          <ac:chgData name="Tan, Roger" userId="f6f33758-bd69-4951-8148-181de3b92474" providerId="ADAL" clId="{A436842E-EA5C-4A6D-B51D-DDAE8BC6E9BD}" dt="2023-11-05T21:49:55.524" v="8998"/>
          <ac:spMkLst>
            <pc:docMk/>
            <pc:sldMk cId="13900367" sldId="356"/>
            <ac:spMk id="37" creationId="{06ADFC04-C17F-EC50-2DEB-AB42680935AC}"/>
          </ac:spMkLst>
        </pc:spChg>
        <pc:spChg chg="mod">
          <ac:chgData name="Tan, Roger" userId="f6f33758-bd69-4951-8148-181de3b92474" providerId="ADAL" clId="{A436842E-EA5C-4A6D-B51D-DDAE8BC6E9BD}" dt="2023-11-08T22:27:58.305" v="85760"/>
          <ac:spMkLst>
            <pc:docMk/>
            <pc:sldMk cId="13900367" sldId="356"/>
            <ac:spMk id="38" creationId="{BBD3CB43-F04F-B920-A34B-98BA719DDBF5}"/>
          </ac:spMkLst>
        </pc:spChg>
        <pc:spChg chg="add del mod replST">
          <ac:chgData name="Tan, Roger" userId="f6f33758-bd69-4951-8148-181de3b92474" providerId="ADAL" clId="{A436842E-EA5C-4A6D-B51D-DDAE8BC6E9BD}" dt="2023-11-05T21:49:55.525" v="8999"/>
          <ac:spMkLst>
            <pc:docMk/>
            <pc:sldMk cId="13900367" sldId="356"/>
            <ac:spMk id="39" creationId="{14015453-F414-7D6E-B0E8-600CB82F6AA7}"/>
          </ac:spMkLst>
        </pc:spChg>
        <pc:spChg chg="add del mod replST">
          <ac:chgData name="Tan, Roger" userId="f6f33758-bd69-4951-8148-181de3b92474" providerId="ADAL" clId="{A436842E-EA5C-4A6D-B51D-DDAE8BC6E9BD}" dt="2023-11-05T21:49:55.525" v="9000"/>
          <ac:spMkLst>
            <pc:docMk/>
            <pc:sldMk cId="13900367" sldId="356"/>
            <ac:spMk id="40" creationId="{185E9141-71DC-EE83-6C82-32DC829EC99A}"/>
          </ac:spMkLst>
        </pc:spChg>
        <pc:spChg chg="add del mod modVis">
          <ac:chgData name="Tan, Roger" userId="f6f33758-bd69-4951-8148-181de3b92474" providerId="ADAL" clId="{A436842E-EA5C-4A6D-B51D-DDAE8BC6E9BD}" dt="2023-11-05T21:49:55.553" v="9040"/>
          <ac:spMkLst>
            <pc:docMk/>
            <pc:sldMk cId="13900367" sldId="356"/>
            <ac:spMk id="42" creationId="{B2F989AB-FB0A-CD0C-4B93-85970F1616C0}"/>
          </ac:spMkLst>
        </pc:spChg>
        <pc:spChg chg="add del mod modVis">
          <ac:chgData name="Tan, Roger" userId="f6f33758-bd69-4951-8148-181de3b92474" providerId="ADAL" clId="{A436842E-EA5C-4A6D-B51D-DDAE8BC6E9BD}" dt="2023-11-05T21:49:58.692" v="9324"/>
          <ac:spMkLst>
            <pc:docMk/>
            <pc:sldMk cId="13900367" sldId="356"/>
            <ac:spMk id="44" creationId="{78CFAEFA-6964-5EEF-F3B8-4934B6D3C464}"/>
          </ac:spMkLst>
        </pc:spChg>
        <pc:spChg chg="add del mod replST">
          <ac:chgData name="Tan, Roger" userId="f6f33758-bd69-4951-8148-181de3b92474" providerId="ADAL" clId="{A436842E-EA5C-4A6D-B51D-DDAE8BC6E9BD}" dt="2023-11-05T21:50:05.183" v="9560"/>
          <ac:spMkLst>
            <pc:docMk/>
            <pc:sldMk cId="13900367" sldId="356"/>
            <ac:spMk id="45" creationId="{869DC7A7-2D2B-25F5-F438-A886FB6FC3C8}"/>
          </ac:spMkLst>
        </pc:spChg>
        <pc:spChg chg="add del mod replST">
          <ac:chgData name="Tan, Roger" userId="f6f33758-bd69-4951-8148-181de3b92474" providerId="ADAL" clId="{A436842E-EA5C-4A6D-B51D-DDAE8BC6E9BD}" dt="2023-11-05T21:50:05.184" v="9561"/>
          <ac:spMkLst>
            <pc:docMk/>
            <pc:sldMk cId="13900367" sldId="356"/>
            <ac:spMk id="46" creationId="{6403FB84-99F6-4DA2-C85E-ADA5551616AF}"/>
          </ac:spMkLst>
        </pc:spChg>
        <pc:spChg chg="add del mod modVis">
          <ac:chgData name="Tan, Roger" userId="f6f33758-bd69-4951-8148-181de3b92474" providerId="ADAL" clId="{A436842E-EA5C-4A6D-B51D-DDAE8BC6E9BD}" dt="2023-11-05T21:50:01.202" v="9401"/>
          <ac:spMkLst>
            <pc:docMk/>
            <pc:sldMk cId="13900367" sldId="356"/>
            <ac:spMk id="48" creationId="{5E47A062-6F7A-6E38-1A2E-5C12A12B84D9}"/>
          </ac:spMkLst>
        </pc:spChg>
        <pc:spChg chg="add del mod modVis">
          <ac:chgData name="Tan, Roger" userId="f6f33758-bd69-4951-8148-181de3b92474" providerId="ADAL" clId="{A436842E-EA5C-4A6D-B51D-DDAE8BC6E9BD}" dt="2023-11-05T21:50:03.173" v="9478"/>
          <ac:spMkLst>
            <pc:docMk/>
            <pc:sldMk cId="13900367" sldId="356"/>
            <ac:spMk id="50" creationId="{2180EE5F-4E0C-84E4-3BA2-58410EFDD76D}"/>
          </ac:spMkLst>
        </pc:spChg>
        <pc:spChg chg="add del mod modVis">
          <ac:chgData name="Tan, Roger" userId="f6f33758-bd69-4951-8148-181de3b92474" providerId="ADAL" clId="{A436842E-EA5C-4A6D-B51D-DDAE8BC6E9BD}" dt="2023-11-05T21:50:05.217" v="9601"/>
          <ac:spMkLst>
            <pc:docMk/>
            <pc:sldMk cId="13900367" sldId="356"/>
            <ac:spMk id="52" creationId="{151B7DBD-71DA-F0AB-8CDA-B33F82433C96}"/>
          </ac:spMkLst>
        </pc:spChg>
        <pc:spChg chg="add del mod modVis">
          <ac:chgData name="Tan, Roger" userId="f6f33758-bd69-4951-8148-181de3b92474" providerId="ADAL" clId="{A436842E-EA5C-4A6D-B51D-DDAE8BC6E9BD}" dt="2023-11-05T21:50:22.183" v="10010" actId="962"/>
          <ac:spMkLst>
            <pc:docMk/>
            <pc:sldMk cId="13900367" sldId="356"/>
            <ac:spMk id="54" creationId="{7956FD63-0865-AF19-F2C4-6329F74B0F44}"/>
          </ac:spMkLst>
        </pc:spChg>
        <pc:spChg chg="add del mod modVis">
          <ac:chgData name="Tan, Roger" userId="f6f33758-bd69-4951-8148-181de3b92474" providerId="ADAL" clId="{A436842E-EA5C-4A6D-B51D-DDAE8BC6E9BD}" dt="2023-11-05T21:50:21.434" v="9950" actId="962"/>
          <ac:spMkLst>
            <pc:docMk/>
            <pc:sldMk cId="13900367" sldId="356"/>
            <ac:spMk id="56" creationId="{0FFAE214-A31B-3D64-51DB-4B5D1E424A48}"/>
          </ac:spMkLst>
        </pc:spChg>
        <pc:spChg chg="add del mod modVis">
          <ac:chgData name="Tan, Roger" userId="f6f33758-bd69-4951-8148-181de3b92474" providerId="ADAL" clId="{A436842E-EA5C-4A6D-B51D-DDAE8BC6E9BD}" dt="2023-11-05T21:50:21.411" v="9894" actId="962"/>
          <ac:spMkLst>
            <pc:docMk/>
            <pc:sldMk cId="13900367" sldId="356"/>
            <ac:spMk id="58" creationId="{510A2F1C-446A-D298-6418-C94301E06E83}"/>
          </ac:spMkLst>
        </pc:spChg>
        <pc:spChg chg="add del mod modVis">
          <ac:chgData name="Tan, Roger" userId="f6f33758-bd69-4951-8148-181de3b92474" providerId="ADAL" clId="{A436842E-EA5C-4A6D-B51D-DDAE8BC6E9BD}" dt="2023-11-05T21:50:26.694" v="10179"/>
          <ac:spMkLst>
            <pc:docMk/>
            <pc:sldMk cId="13900367" sldId="356"/>
            <ac:spMk id="60" creationId="{E1FFE217-3CBE-E9D3-2F1F-60F75ECAE4BF}"/>
          </ac:spMkLst>
        </pc:spChg>
        <pc:spChg chg="add del mod modVis">
          <ac:chgData name="Tan, Roger" userId="f6f33758-bd69-4951-8148-181de3b92474" providerId="ADAL" clId="{A436842E-EA5C-4A6D-B51D-DDAE8BC6E9BD}" dt="2023-11-05T21:50:34.848" v="10253"/>
          <ac:spMkLst>
            <pc:docMk/>
            <pc:sldMk cId="13900367" sldId="356"/>
            <ac:spMk id="62" creationId="{60F11C8B-23F0-A9E9-EA53-AFBC594CE2A7}"/>
          </ac:spMkLst>
        </pc:spChg>
        <pc:spChg chg="add del mod modVis">
          <ac:chgData name="Tan, Roger" userId="f6f33758-bd69-4951-8148-181de3b92474" providerId="ADAL" clId="{A436842E-EA5C-4A6D-B51D-DDAE8BC6E9BD}" dt="2023-11-05T21:50:39.276" v="10331"/>
          <ac:spMkLst>
            <pc:docMk/>
            <pc:sldMk cId="13900367" sldId="356"/>
            <ac:spMk id="64" creationId="{51C349A2-C7B8-8F31-0E33-33CB4B82D7F0}"/>
          </ac:spMkLst>
        </pc:spChg>
        <pc:spChg chg="add del mod modVis">
          <ac:chgData name="Tan, Roger" userId="f6f33758-bd69-4951-8148-181de3b92474" providerId="ADAL" clId="{A436842E-EA5C-4A6D-B51D-DDAE8BC6E9BD}" dt="2023-11-05T21:50:44.159" v="10416"/>
          <ac:spMkLst>
            <pc:docMk/>
            <pc:sldMk cId="13900367" sldId="356"/>
            <ac:spMk id="66" creationId="{FAFD6F32-CA21-4309-F503-7168B490D93C}"/>
          </ac:spMkLst>
        </pc:spChg>
        <pc:spChg chg="add del mod modVis">
          <ac:chgData name="Tan, Roger" userId="f6f33758-bd69-4951-8148-181de3b92474" providerId="ADAL" clId="{A436842E-EA5C-4A6D-B51D-DDAE8BC6E9BD}" dt="2023-11-05T21:51:52.866" v="10981" actId="962"/>
          <ac:spMkLst>
            <pc:docMk/>
            <pc:sldMk cId="13900367" sldId="356"/>
            <ac:spMk id="68" creationId="{249A4C58-0BA2-E9F7-4859-A77B4BC2F955}"/>
          </ac:spMkLst>
        </pc:spChg>
        <pc:spChg chg="add del mod modVis">
          <ac:chgData name="Tan, Roger" userId="f6f33758-bd69-4951-8148-181de3b92474" providerId="ADAL" clId="{A436842E-EA5C-4A6D-B51D-DDAE8BC6E9BD}" dt="2023-11-05T21:51:51.846" v="10923" actId="962"/>
          <ac:spMkLst>
            <pc:docMk/>
            <pc:sldMk cId="13900367" sldId="356"/>
            <ac:spMk id="70" creationId="{1C0DFCA9-AB41-A8A7-DAE4-35479F507BCA}"/>
          </ac:spMkLst>
        </pc:spChg>
        <pc:spChg chg="add del mod modVis">
          <ac:chgData name="Tan, Roger" userId="f6f33758-bd69-4951-8148-181de3b92474" providerId="ADAL" clId="{A436842E-EA5C-4A6D-B51D-DDAE8BC6E9BD}" dt="2023-11-05T21:51:50.652" v="10863" actId="962"/>
          <ac:spMkLst>
            <pc:docMk/>
            <pc:sldMk cId="13900367" sldId="356"/>
            <ac:spMk id="72" creationId="{5DB8CE7C-52A3-96C5-550B-FBC04B77F8C4}"/>
          </ac:spMkLst>
        </pc:spChg>
        <pc:spChg chg="add del mod modVis">
          <ac:chgData name="Tan, Roger" userId="f6f33758-bd69-4951-8148-181de3b92474" providerId="ADAL" clId="{A436842E-EA5C-4A6D-B51D-DDAE8BC6E9BD}" dt="2023-11-05T21:51:49.271" v="10803" actId="962"/>
          <ac:spMkLst>
            <pc:docMk/>
            <pc:sldMk cId="13900367" sldId="356"/>
            <ac:spMk id="74" creationId="{8E88813E-5BCE-A431-7F22-88759FF69B89}"/>
          </ac:spMkLst>
        </pc:spChg>
        <pc:spChg chg="add del mod modVis">
          <ac:chgData name="Tan, Roger" userId="f6f33758-bd69-4951-8148-181de3b92474" providerId="ADAL" clId="{A436842E-EA5C-4A6D-B51D-DDAE8BC6E9BD}" dt="2023-11-05T22:35:57.289" v="13221"/>
          <ac:spMkLst>
            <pc:docMk/>
            <pc:sldMk cId="13900367" sldId="356"/>
            <ac:spMk id="83" creationId="{3BC95781-7833-645B-4F20-F644821FDF7A}"/>
          </ac:spMkLst>
        </pc:spChg>
        <pc:spChg chg="add del mod modVis">
          <ac:chgData name="Tan, Roger" userId="f6f33758-bd69-4951-8148-181de3b92474" providerId="ADAL" clId="{A436842E-EA5C-4A6D-B51D-DDAE8BC6E9BD}" dt="2023-11-05T22:36:05.659" v="13306"/>
          <ac:spMkLst>
            <pc:docMk/>
            <pc:sldMk cId="13900367" sldId="356"/>
            <ac:spMk id="85" creationId="{F45D79B2-0D56-46D1-0E03-A7C89984E7D0}"/>
          </ac:spMkLst>
        </pc:spChg>
        <pc:spChg chg="add mod ord">
          <ac:chgData name="Tan, Roger" userId="f6f33758-bd69-4951-8148-181de3b92474" providerId="ADAL" clId="{A436842E-EA5C-4A6D-B51D-DDAE8BC6E9BD}" dt="2023-11-08T22:27:58.309" v="85776"/>
          <ac:spMkLst>
            <pc:docMk/>
            <pc:sldMk cId="13900367" sldId="356"/>
            <ac:spMk id="87" creationId="{B96DC2F1-6DAB-C3E6-1FFC-BFA7013D54F0}"/>
          </ac:spMkLst>
        </pc:spChg>
        <pc:spChg chg="add mod ord">
          <ac:chgData name="Tan, Roger" userId="f6f33758-bd69-4951-8148-181de3b92474" providerId="ADAL" clId="{A436842E-EA5C-4A6D-B51D-DDAE8BC6E9BD}" dt="2023-11-08T22:27:58.310" v="85778"/>
          <ac:spMkLst>
            <pc:docMk/>
            <pc:sldMk cId="13900367" sldId="356"/>
            <ac:spMk id="88" creationId="{CE909672-CF4A-102F-04A9-3A443290B00A}"/>
          </ac:spMkLst>
        </pc:spChg>
        <pc:spChg chg="add del mod modVis">
          <ac:chgData name="Tan, Roger" userId="f6f33758-bd69-4951-8148-181de3b92474" providerId="ADAL" clId="{A436842E-EA5C-4A6D-B51D-DDAE8BC6E9BD}" dt="2023-11-06T06:01:46.860" v="17337"/>
          <ac:spMkLst>
            <pc:docMk/>
            <pc:sldMk cId="13900367" sldId="356"/>
            <ac:spMk id="89" creationId="{98369329-4DF3-ABB7-9399-2D270C9D2E79}"/>
          </ac:spMkLst>
        </pc:spChg>
        <pc:spChg chg="add del mod replST">
          <ac:chgData name="Tan, Roger" userId="f6f33758-bd69-4951-8148-181de3b92474" providerId="ADAL" clId="{A436842E-EA5C-4A6D-B51D-DDAE8BC6E9BD}" dt="2023-11-06T06:01:53.837" v="17382"/>
          <ac:spMkLst>
            <pc:docMk/>
            <pc:sldMk cId="13900367" sldId="356"/>
            <ac:spMk id="90" creationId="{288A1016-AB22-72BE-BB5A-E6546DA7D007}"/>
          </ac:spMkLst>
        </pc:spChg>
        <pc:spChg chg="add del mod modVis">
          <ac:chgData name="Tan, Roger" userId="f6f33758-bd69-4951-8148-181de3b92474" providerId="ADAL" clId="{A436842E-EA5C-4A6D-B51D-DDAE8BC6E9BD}" dt="2023-11-06T06:01:53.864" v="17419"/>
          <ac:spMkLst>
            <pc:docMk/>
            <pc:sldMk cId="13900367" sldId="356"/>
            <ac:spMk id="92" creationId="{C4374B3A-77AE-3EC8-09D4-D59CA0FC092C}"/>
          </ac:spMkLst>
        </pc:spChg>
        <pc:spChg chg="add del mod modVis">
          <ac:chgData name="Tan, Roger" userId="f6f33758-bd69-4951-8148-181de3b92474" providerId="ADAL" clId="{A436842E-EA5C-4A6D-B51D-DDAE8BC6E9BD}" dt="2023-11-06T06:02:00.869" v="17501"/>
          <ac:spMkLst>
            <pc:docMk/>
            <pc:sldMk cId="13900367" sldId="356"/>
            <ac:spMk id="94" creationId="{5E206DDB-866C-982F-8233-DA838375185A}"/>
          </ac:spMkLst>
        </pc:spChg>
        <pc:spChg chg="mod">
          <ac:chgData name="Tan, Roger" userId="f6f33758-bd69-4951-8148-181de3b92474" providerId="ADAL" clId="{A436842E-EA5C-4A6D-B51D-DDAE8BC6E9BD}" dt="2023-11-08T22:27:58.304" v="85758"/>
          <ac:spMkLst>
            <pc:docMk/>
            <pc:sldMk cId="13900367" sldId="356"/>
            <ac:spMk id="126" creationId="{29814101-6D09-583A-C86A-E2C672185F8A}"/>
          </ac:spMkLst>
        </pc:spChg>
        <pc:spChg chg="del mod">
          <ac:chgData name="Tan, Roger" userId="f6f33758-bd69-4951-8148-181de3b92474" providerId="ADAL" clId="{A436842E-EA5C-4A6D-B51D-DDAE8BC6E9BD}" dt="2023-11-05T21:49:56.943" v="9067"/>
          <ac:spMkLst>
            <pc:docMk/>
            <pc:sldMk cId="13900367" sldId="356"/>
            <ac:spMk id="246" creationId="{B6F3AD08-8222-9D3F-BF30-71A422D62E2E}"/>
          </ac:spMkLst>
        </pc:spChg>
        <pc:spChg chg="del mod">
          <ac:chgData name="Tan, Roger" userId="f6f33758-bd69-4951-8148-181de3b92474" providerId="ADAL" clId="{A436842E-EA5C-4A6D-B51D-DDAE8BC6E9BD}" dt="2023-11-05T03:42:23.489" v="3334"/>
          <ac:spMkLst>
            <pc:docMk/>
            <pc:sldMk cId="13900367" sldId="356"/>
            <ac:spMk id="255" creationId="{8F762782-E686-7CAA-89C8-6D87D37B862B}"/>
          </ac:spMkLst>
        </pc:spChg>
        <pc:spChg chg="del mod">
          <ac:chgData name="Tan, Roger" userId="f6f33758-bd69-4951-8148-181de3b92474" providerId="ADAL" clId="{A436842E-EA5C-4A6D-B51D-DDAE8BC6E9BD}" dt="2023-11-05T03:42:23.439" v="3289"/>
          <ac:spMkLst>
            <pc:docMk/>
            <pc:sldMk cId="13900367" sldId="356"/>
            <ac:spMk id="256" creationId="{7772F0AB-883C-5A10-D874-E08D4F2E5C7A}"/>
          </ac:spMkLst>
        </pc:spChg>
        <pc:spChg chg="del mod">
          <ac:chgData name="Tan, Roger" userId="f6f33758-bd69-4951-8148-181de3b92474" providerId="ADAL" clId="{A436842E-EA5C-4A6D-B51D-DDAE8BC6E9BD}" dt="2023-11-05T03:42:23.439" v="3288"/>
          <ac:spMkLst>
            <pc:docMk/>
            <pc:sldMk cId="13900367" sldId="356"/>
            <ac:spMk id="257" creationId="{54B18322-5141-4E42-349B-30F03FE695B2}"/>
          </ac:spMkLst>
        </pc:spChg>
        <pc:spChg chg="del mod">
          <ac:chgData name="Tan, Roger" userId="f6f33758-bd69-4951-8148-181de3b92474" providerId="ADAL" clId="{A436842E-EA5C-4A6D-B51D-DDAE8BC6E9BD}" dt="2023-11-05T03:42:23.438" v="3287"/>
          <ac:spMkLst>
            <pc:docMk/>
            <pc:sldMk cId="13900367" sldId="356"/>
            <ac:spMk id="258" creationId="{AFF51CEF-3F41-FA06-04FE-543BBE66295F}"/>
          </ac:spMkLst>
        </pc:spChg>
        <pc:spChg chg="del mod">
          <ac:chgData name="Tan, Roger" userId="f6f33758-bd69-4951-8148-181de3b92474" providerId="ADAL" clId="{A436842E-EA5C-4A6D-B51D-DDAE8BC6E9BD}" dt="2023-11-05T03:42:23.438" v="3286"/>
          <ac:spMkLst>
            <pc:docMk/>
            <pc:sldMk cId="13900367" sldId="356"/>
            <ac:spMk id="259" creationId="{D4A0569B-46CF-F935-0F91-EDEB3FF9ADB2}"/>
          </ac:spMkLst>
        </pc:spChg>
        <pc:spChg chg="del mod">
          <ac:chgData name="Tan, Roger" userId="f6f33758-bd69-4951-8148-181de3b92474" providerId="ADAL" clId="{A436842E-EA5C-4A6D-B51D-DDAE8BC6E9BD}" dt="2023-11-05T03:42:23.438" v="3285"/>
          <ac:spMkLst>
            <pc:docMk/>
            <pc:sldMk cId="13900367" sldId="356"/>
            <ac:spMk id="260" creationId="{49B6F86E-C605-89B6-2BB7-E82B785502C5}"/>
          </ac:spMkLst>
        </pc:spChg>
        <pc:spChg chg="del mod">
          <ac:chgData name="Tan, Roger" userId="f6f33758-bd69-4951-8148-181de3b92474" providerId="ADAL" clId="{A436842E-EA5C-4A6D-B51D-DDAE8BC6E9BD}" dt="2023-11-05T03:42:23.437" v="3284"/>
          <ac:spMkLst>
            <pc:docMk/>
            <pc:sldMk cId="13900367" sldId="356"/>
            <ac:spMk id="261" creationId="{4B73CDE0-AF8E-DB4F-665C-8D9DA35170B5}"/>
          </ac:spMkLst>
        </pc:spChg>
        <pc:spChg chg="del mod">
          <ac:chgData name="Tan, Roger" userId="f6f33758-bd69-4951-8148-181de3b92474" providerId="ADAL" clId="{A436842E-EA5C-4A6D-B51D-DDAE8BC6E9BD}" dt="2023-11-05T03:42:23.437" v="3283"/>
          <ac:spMkLst>
            <pc:docMk/>
            <pc:sldMk cId="13900367" sldId="356"/>
            <ac:spMk id="262" creationId="{5DA1366D-78FC-CAB3-DF80-31290F838472}"/>
          </ac:spMkLst>
        </pc:spChg>
        <pc:spChg chg="del mod">
          <ac:chgData name="Tan, Roger" userId="f6f33758-bd69-4951-8148-181de3b92474" providerId="ADAL" clId="{A436842E-EA5C-4A6D-B51D-DDAE8BC6E9BD}" dt="2023-11-05T03:42:23.437" v="3282"/>
          <ac:spMkLst>
            <pc:docMk/>
            <pc:sldMk cId="13900367" sldId="356"/>
            <ac:spMk id="263" creationId="{C84163D6-9061-BCDA-4117-54B5BB69F48D}"/>
          </ac:spMkLst>
        </pc:spChg>
        <pc:spChg chg="del mod">
          <ac:chgData name="Tan, Roger" userId="f6f33758-bd69-4951-8148-181de3b92474" providerId="ADAL" clId="{A436842E-EA5C-4A6D-B51D-DDAE8BC6E9BD}" dt="2023-11-05T03:42:23.436" v="3281"/>
          <ac:spMkLst>
            <pc:docMk/>
            <pc:sldMk cId="13900367" sldId="356"/>
            <ac:spMk id="264" creationId="{D1427242-A773-68B8-5EAF-CDC3685D3276}"/>
          </ac:spMkLst>
        </pc:spChg>
        <pc:spChg chg="del mod">
          <ac:chgData name="Tan, Roger" userId="f6f33758-bd69-4951-8148-181de3b92474" providerId="ADAL" clId="{A436842E-EA5C-4A6D-B51D-DDAE8BC6E9BD}" dt="2023-11-05T03:42:23.436" v="3280"/>
          <ac:spMkLst>
            <pc:docMk/>
            <pc:sldMk cId="13900367" sldId="356"/>
            <ac:spMk id="265" creationId="{013DC600-4929-07A9-8F5D-6A898B533EB5}"/>
          </ac:spMkLst>
        </pc:spChg>
        <pc:spChg chg="del">
          <ac:chgData name="Tan, Roger" userId="f6f33758-bd69-4951-8148-181de3b92474" providerId="ADAL" clId="{A436842E-EA5C-4A6D-B51D-DDAE8BC6E9BD}" dt="2023-11-05T03:42:11.859" v="2912"/>
          <ac:spMkLst>
            <pc:docMk/>
            <pc:sldMk cId="13900367" sldId="356"/>
            <ac:spMk id="277" creationId="{26A3177C-D9DF-3170-34D6-5485A2E39F08}"/>
          </ac:spMkLst>
        </pc:spChg>
        <pc:spChg chg="del mod">
          <ac:chgData name="Tan, Roger" userId="f6f33758-bd69-4951-8148-181de3b92474" providerId="ADAL" clId="{A436842E-EA5C-4A6D-B51D-DDAE8BC6E9BD}" dt="2023-11-05T21:49:56.944" v="9068"/>
          <ac:spMkLst>
            <pc:docMk/>
            <pc:sldMk cId="13900367" sldId="356"/>
            <ac:spMk id="284" creationId="{C0C84B8F-AD0C-65D8-3708-8C0D1F8BD05A}"/>
          </ac:spMkLst>
        </pc:spChg>
        <pc:spChg chg="del">
          <ac:chgData name="Tan, Roger" userId="f6f33758-bd69-4951-8148-181de3b92474" providerId="ADAL" clId="{A436842E-EA5C-4A6D-B51D-DDAE8BC6E9BD}" dt="2023-11-05T03:42:11.859" v="2913"/>
          <ac:spMkLst>
            <pc:docMk/>
            <pc:sldMk cId="13900367" sldId="356"/>
            <ac:spMk id="291" creationId="{EF660BAC-E244-C0FB-2323-C3613018DFFF}"/>
          </ac:spMkLst>
        </pc:spChg>
        <pc:spChg chg="add del mod ord">
          <ac:chgData name="Tan, Roger" userId="f6f33758-bd69-4951-8148-181de3b92474" providerId="ADAL" clId="{A436842E-EA5C-4A6D-B51D-DDAE8BC6E9BD}" dt="2023-11-05T22:36:05.601" v="13232"/>
          <ac:spMkLst>
            <pc:docMk/>
            <pc:sldMk cId="13900367" sldId="356"/>
            <ac:spMk id="316" creationId="{69D6838A-4C57-A8BF-E356-BE6A10F24FA3}"/>
          </ac:spMkLst>
        </pc:spChg>
        <pc:graphicFrameChg chg="add del mod ord replST">
          <ac:chgData name="Tan, Roger" userId="f6f33758-bd69-4951-8148-181de3b92474" providerId="ADAL" clId="{A436842E-EA5C-4A6D-B51D-DDAE8BC6E9BD}" dt="2023-11-05T21:49:24.631" v="7309"/>
          <ac:graphicFrameMkLst>
            <pc:docMk/>
            <pc:sldMk cId="13900367" sldId="356"/>
            <ac:graphicFrameMk id="4" creationId="{560099EA-5BB2-756B-0FE1-511967E0740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42:19.741" v="3171"/>
          <ac:graphicFrameMkLst>
            <pc:docMk/>
            <pc:sldMk cId="13900367" sldId="356"/>
            <ac:graphicFrameMk id="4" creationId="{8836D05F-4424-6193-0E6F-D49088C314D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42:23.506" v="3366"/>
          <ac:graphicFrameMkLst>
            <pc:docMk/>
            <pc:sldMk cId="13900367" sldId="356"/>
            <ac:graphicFrameMk id="6" creationId="{54DE0FE7-B272-F8D3-8A04-87CC4D16A39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30.662" v="7392"/>
          <ac:graphicFrameMkLst>
            <pc:docMk/>
            <pc:sldMk cId="13900367" sldId="356"/>
            <ac:graphicFrameMk id="6" creationId="{A2E89902-1984-171B-2CD8-C1D39336AF12}"/>
          </ac:graphicFrameMkLst>
        </pc:graphicFrameChg>
        <pc:graphicFrameChg chg="mod">
          <ac:chgData name="Tan, Roger" userId="f6f33758-bd69-4951-8148-181de3b92474" providerId="ADAL" clId="{A436842E-EA5C-4A6D-B51D-DDAE8BC6E9BD}" dt="2023-11-08T22:27:58.323" v="85796"/>
          <ac:graphicFrameMkLst>
            <pc:docMk/>
            <pc:sldMk cId="13900367" sldId="356"/>
            <ac:graphicFrameMk id="8" creationId="{7C2468B8-94B3-1E45-C5D3-2E4C642053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42:28.238" v="3505"/>
          <ac:graphicFrameMkLst>
            <pc:docMk/>
            <pc:sldMk cId="13900367" sldId="356"/>
            <ac:graphicFrameMk id="9" creationId="{83ADD80B-30C1-FBA1-1312-2B68B5121BA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32.184" v="7474"/>
          <ac:graphicFrameMkLst>
            <pc:docMk/>
            <pc:sldMk cId="13900367" sldId="356"/>
            <ac:graphicFrameMk id="9" creationId="{BE8CCA59-DE2F-AE86-1579-8D941132309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43:00.916" v="3644"/>
          <ac:graphicFrameMkLst>
            <pc:docMk/>
            <pc:sldMk cId="13900367" sldId="356"/>
            <ac:graphicFrameMk id="11" creationId="{5C110B77-1DD2-CAE4-58F8-C54EBE81E83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37.749" v="7557"/>
          <ac:graphicFrameMkLst>
            <pc:docMk/>
            <pc:sldMk cId="13900367" sldId="356"/>
            <ac:graphicFrameMk id="11" creationId="{C44DAB73-3949-59B1-D207-726CB5C5F62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44.919" v="7636"/>
          <ac:graphicFrameMkLst>
            <pc:docMk/>
            <pc:sldMk cId="13900367" sldId="356"/>
            <ac:graphicFrameMk id="13" creationId="{11646B86-ABD2-D789-54F5-07C174A3948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3:43:02.029" v="3726"/>
          <ac:graphicFrameMkLst>
            <pc:docMk/>
            <pc:sldMk cId="13900367" sldId="356"/>
            <ac:graphicFrameMk id="14" creationId="{79A920D6-583C-999E-D0AB-6613ED8D1B7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46.850" v="8187"/>
          <ac:graphicFrameMkLst>
            <pc:docMk/>
            <pc:sldMk cId="13900367" sldId="356"/>
            <ac:graphicFrameMk id="15" creationId="{DE766FD7-4383-C259-9259-0DEDC1B7234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5:46:29.308" v="5923"/>
          <ac:graphicFrameMkLst>
            <pc:docMk/>
            <pc:sldMk cId="13900367" sldId="356"/>
            <ac:graphicFrameMk id="17" creationId="{73348B00-90B9-EFDD-7AF7-23047C50BCB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44.823" v="85461"/>
          <ac:graphicFrameMkLst>
            <pc:docMk/>
            <pc:sldMk cId="13900367" sldId="356"/>
            <ac:graphicFrameMk id="20" creationId="{CCCC1575-99CA-B304-39A9-069113DCC64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05:48:29.930" v="6169"/>
          <ac:graphicFrameMkLst>
            <pc:docMk/>
            <pc:sldMk cId="13900367" sldId="356"/>
            <ac:graphicFrameMk id="21" creationId="{802C6339-6322-D0CC-63FD-92AF5E7DF52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53.581" v="85565"/>
          <ac:graphicFrameMkLst>
            <pc:docMk/>
            <pc:sldMk cId="13900367" sldId="356"/>
            <ac:graphicFrameMk id="22" creationId="{420936F4-FC34-A972-3C30-955B9923ABD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17.883" v="7219"/>
          <ac:graphicFrameMkLst>
            <pc:docMk/>
            <pc:sldMk cId="13900367" sldId="356"/>
            <ac:graphicFrameMk id="23" creationId="{56C65084-08F9-E24F-F2CC-370E5A087F0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56.570" v="85657"/>
          <ac:graphicFrameMkLst>
            <pc:docMk/>
            <pc:sldMk cId="13900367" sldId="356"/>
            <ac:graphicFrameMk id="24" creationId="{B91A554B-0CDD-E4E9-4D64-93FBF7D820D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58.261" v="85749"/>
          <ac:graphicFrameMkLst>
            <pc:docMk/>
            <pc:sldMk cId="13900367" sldId="356"/>
            <ac:graphicFrameMk id="26" creationId="{2757B86B-8391-8F38-4D79-19BF633A629A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8T22:27:58.304" v="85757"/>
          <ac:graphicFrameMkLst>
            <pc:docMk/>
            <pc:sldMk cId="13900367" sldId="356"/>
            <ac:graphicFrameMk id="28" creationId="{2356DE2A-DDDB-74CE-32C7-78D74C2F577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49.075" v="8286"/>
          <ac:graphicFrameMkLst>
            <pc:docMk/>
            <pc:sldMk cId="13900367" sldId="356"/>
            <ac:graphicFrameMk id="28" creationId="{726E143B-0879-688A-BCF1-26DD3177C45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54.489" v="8876"/>
          <ac:graphicFrameMkLst>
            <pc:docMk/>
            <pc:sldMk cId="13900367" sldId="356"/>
            <ac:graphicFrameMk id="30" creationId="{BA97AEA4-1FF6-414D-E561-36DCAA954D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55.528" v="9003"/>
          <ac:graphicFrameMkLst>
            <pc:docMk/>
            <pc:sldMk cId="13900367" sldId="356"/>
            <ac:graphicFrameMk id="41" creationId="{0AEC2F68-8B21-9F84-4E1A-FF19B7C93DC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49:58.669" v="9284"/>
          <ac:graphicFrameMkLst>
            <pc:docMk/>
            <pc:sldMk cId="13900367" sldId="356"/>
            <ac:graphicFrameMk id="43" creationId="{10FA676C-BCD1-0B8A-818A-AC612BA1E7D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01.185" v="9372"/>
          <ac:graphicFrameMkLst>
            <pc:docMk/>
            <pc:sldMk cId="13900367" sldId="356"/>
            <ac:graphicFrameMk id="47" creationId="{E4536026-0DCD-57E7-E1C4-879D0A808C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03.152" v="9449"/>
          <ac:graphicFrameMkLst>
            <pc:docMk/>
            <pc:sldMk cId="13900367" sldId="356"/>
            <ac:graphicFrameMk id="49" creationId="{C94416B3-44E9-F0A2-F70A-7C3A07F91EB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05.187" v="9564"/>
          <ac:graphicFrameMkLst>
            <pc:docMk/>
            <pc:sldMk cId="13900367" sldId="356"/>
            <ac:graphicFrameMk id="51" creationId="{553B23B7-A277-936B-02C7-3EDA1348D4B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26.668" v="10141"/>
          <ac:graphicFrameMkLst>
            <pc:docMk/>
            <pc:sldMk cId="13900367" sldId="356"/>
            <ac:graphicFrameMk id="53" creationId="{C16FF7B1-36F8-FB08-87C2-6A8DF55B9669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5T21:50:22.169" v="9968" actId="1076"/>
          <ac:graphicFrameMkLst>
            <pc:docMk/>
            <pc:sldMk cId="13900367" sldId="356"/>
            <ac:graphicFrameMk id="55" creationId="{3C2773C6-A733-49D7-AAFD-60DE55F7D341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5T21:50:21.417" v="9908" actId="1076"/>
          <ac:graphicFrameMkLst>
            <pc:docMk/>
            <pc:sldMk cId="13900367" sldId="356"/>
            <ac:graphicFrameMk id="57" creationId="{0D41E4EF-1A0F-B921-BE7D-79A1D308D281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5T21:50:21.393" v="9855" actId="1076"/>
          <ac:graphicFrameMkLst>
            <pc:docMk/>
            <pc:sldMk cId="13900367" sldId="356"/>
            <ac:graphicFrameMk id="59" creationId="{F71722F9-650E-92C5-8B29-4E04DFD1848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34.831" v="10226"/>
          <ac:graphicFrameMkLst>
            <pc:docMk/>
            <pc:sldMk cId="13900367" sldId="356"/>
            <ac:graphicFrameMk id="61" creationId="{CF2EE62D-29A5-D4C5-1D98-A86AE8EB7CD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39.258" v="10304"/>
          <ac:graphicFrameMkLst>
            <pc:docMk/>
            <pc:sldMk cId="13900367" sldId="356"/>
            <ac:graphicFrameMk id="63" creationId="{132AB4E2-879E-F021-3E88-AA14ED854BF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1:50:44.141" v="10389"/>
          <ac:graphicFrameMkLst>
            <pc:docMk/>
            <pc:sldMk cId="13900367" sldId="356"/>
            <ac:graphicFrameMk id="65" creationId="{125132B2-E3F3-1E24-051D-D11AB66D173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35:57.260" v="13171"/>
          <ac:graphicFrameMkLst>
            <pc:docMk/>
            <pc:sldMk cId="13900367" sldId="356"/>
            <ac:graphicFrameMk id="67" creationId="{43760405-C4A9-C3AC-3E6F-2984F9DF4352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5T21:51:52.851" v="10941" actId="1076"/>
          <ac:graphicFrameMkLst>
            <pc:docMk/>
            <pc:sldMk cId="13900367" sldId="356"/>
            <ac:graphicFrameMk id="69" creationId="{711E72EF-F5B6-411E-620E-1EFF6CD24477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5T21:51:51.830" v="10881" actId="1076"/>
          <ac:graphicFrameMkLst>
            <pc:docMk/>
            <pc:sldMk cId="13900367" sldId="356"/>
            <ac:graphicFrameMk id="71" creationId="{0DD0823A-4DFF-532A-31CF-68373621C9AB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5T21:51:50.637" v="10821" actId="1076"/>
          <ac:graphicFrameMkLst>
            <pc:docMk/>
            <pc:sldMk cId="13900367" sldId="356"/>
            <ac:graphicFrameMk id="73" creationId="{B0021A69-2EC4-C3E2-FF91-5C2E1018E004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5T21:51:49.257" v="10761" actId="1076"/>
          <ac:graphicFrameMkLst>
            <pc:docMk/>
            <pc:sldMk cId="13900367" sldId="356"/>
            <ac:graphicFrameMk id="75" creationId="{540A7EC5-BD67-4843-535A-C6ACF009DF6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5T22:36:05.640" v="13275"/>
          <ac:graphicFrameMkLst>
            <pc:docMk/>
            <pc:sldMk cId="13900367" sldId="356"/>
            <ac:graphicFrameMk id="84" creationId="{224C2A28-5D14-63EA-04FB-0F943BDAFD8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01:46.820" v="17291"/>
          <ac:graphicFrameMkLst>
            <pc:docMk/>
            <pc:sldMk cId="13900367" sldId="356"/>
            <ac:graphicFrameMk id="86" creationId="{3A7AA68B-0859-A326-60AB-E6EF30863FC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01:53.839" v="17384"/>
          <ac:graphicFrameMkLst>
            <pc:docMk/>
            <pc:sldMk cId="13900367" sldId="356"/>
            <ac:graphicFrameMk id="91" creationId="{9936EF20-8028-963C-9627-AA55F6B186D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06:02:00.846" v="17466"/>
          <ac:graphicFrameMkLst>
            <pc:docMk/>
            <pc:sldMk cId="13900367" sldId="356"/>
            <ac:graphicFrameMk id="93" creationId="{F30CD029-8D66-A183-6F28-2B02285845A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8T22:27:44.101" v="85347"/>
          <ac:graphicFrameMkLst>
            <pc:docMk/>
            <pc:sldMk cId="13900367" sldId="356"/>
            <ac:graphicFrameMk id="95" creationId="{F64F70F5-A090-39EC-2113-3BB83B5F0F79}"/>
          </ac:graphicFrameMkLst>
        </pc:graphicFrameChg>
        <pc:graphicFrameChg chg="del">
          <ac:chgData name="Tan, Roger" userId="f6f33758-bd69-4951-8148-181de3b92474" providerId="ADAL" clId="{A436842E-EA5C-4A6D-B51D-DDAE8BC6E9BD}" dt="2023-11-05T03:42:12.045" v="3057"/>
          <ac:graphicFrameMkLst>
            <pc:docMk/>
            <pc:sldMk cId="13900367" sldId="356"/>
            <ac:graphicFrameMk id="322" creationId="{DF2C5195-7F7D-15F3-7EA7-FE74DD502DD7}"/>
          </ac:graphicFrameMkLst>
        </pc:graphicFrameChg>
        <pc:picChg chg="add mod ord">
          <ac:chgData name="Tan, Roger" userId="f6f33758-bd69-4951-8148-181de3b92474" providerId="ADAL" clId="{A436842E-EA5C-4A6D-B51D-DDAE8BC6E9BD}" dt="2023-11-08T22:27:58.306" v="85764"/>
          <ac:picMkLst>
            <pc:docMk/>
            <pc:sldMk cId="13900367" sldId="356"/>
            <ac:picMk id="77" creationId="{122648DE-2E5F-DBA4-95BA-D493D26052C1}"/>
          </ac:picMkLst>
        </pc:picChg>
        <pc:picChg chg="add mod ord">
          <ac:chgData name="Tan, Roger" userId="f6f33758-bd69-4951-8148-181de3b92474" providerId="ADAL" clId="{A436842E-EA5C-4A6D-B51D-DDAE8BC6E9BD}" dt="2023-11-08T22:27:58.306" v="85766"/>
          <ac:picMkLst>
            <pc:docMk/>
            <pc:sldMk cId="13900367" sldId="356"/>
            <ac:picMk id="78" creationId="{7C3ECC49-0F60-1BE8-4226-226037F4D29D}"/>
          </ac:picMkLst>
        </pc:picChg>
        <pc:picChg chg="add mod ord">
          <ac:chgData name="Tan, Roger" userId="f6f33758-bd69-4951-8148-181de3b92474" providerId="ADAL" clId="{A436842E-EA5C-4A6D-B51D-DDAE8BC6E9BD}" dt="2023-11-08T22:27:58.307" v="85768"/>
          <ac:picMkLst>
            <pc:docMk/>
            <pc:sldMk cId="13900367" sldId="356"/>
            <ac:picMk id="79" creationId="{74549787-E703-1E6D-957B-96CD42849EC2}"/>
          </ac:picMkLst>
        </pc:picChg>
        <pc:picChg chg="add mod ord">
          <ac:chgData name="Tan, Roger" userId="f6f33758-bd69-4951-8148-181de3b92474" providerId="ADAL" clId="{A436842E-EA5C-4A6D-B51D-DDAE8BC6E9BD}" dt="2023-11-08T22:27:58.308" v="85770"/>
          <ac:picMkLst>
            <pc:docMk/>
            <pc:sldMk cId="13900367" sldId="356"/>
            <ac:picMk id="80" creationId="{20F61678-A9AC-0E91-99A6-EA5A357D22E0}"/>
          </ac:picMkLst>
        </pc:picChg>
        <pc:picChg chg="add mod ord">
          <ac:chgData name="Tan, Roger" userId="f6f33758-bd69-4951-8148-181de3b92474" providerId="ADAL" clId="{A436842E-EA5C-4A6D-B51D-DDAE8BC6E9BD}" dt="2023-11-08T22:27:58.308" v="85772"/>
          <ac:picMkLst>
            <pc:docMk/>
            <pc:sldMk cId="13900367" sldId="356"/>
            <ac:picMk id="81" creationId="{E8DFD17A-705E-F520-450F-B4339F9A30B4}"/>
          </ac:picMkLst>
        </pc:picChg>
        <pc:picChg chg="add mod ord">
          <ac:chgData name="Tan, Roger" userId="f6f33758-bd69-4951-8148-181de3b92474" providerId="ADAL" clId="{A436842E-EA5C-4A6D-B51D-DDAE8BC6E9BD}" dt="2023-11-08T22:27:58.309" v="85774"/>
          <ac:picMkLst>
            <pc:docMk/>
            <pc:sldMk cId="13900367" sldId="356"/>
            <ac:picMk id="82" creationId="{B3E58736-A25D-FEF1-29DC-95337CB2FBC3}"/>
          </ac:picMkLst>
        </pc:picChg>
        <pc:cxnChg chg="add mod ord">
          <ac:chgData name="Tan, Roger" userId="f6f33758-bd69-4951-8148-181de3b92474" providerId="ADAL" clId="{A436842E-EA5C-4A6D-B51D-DDAE8BC6E9BD}" dt="2023-11-08T22:27:58.310" v="85780"/>
          <ac:cxnSpMkLst>
            <pc:docMk/>
            <pc:sldMk cId="13900367" sldId="356"/>
            <ac:cxnSpMk id="4" creationId="{523FAC9D-81A9-3AC1-3BEE-9A6E2AD860A9}"/>
          </ac:cxnSpMkLst>
        </pc:cxnChg>
        <pc:cxnChg chg="add mod ord">
          <ac:chgData name="Tan, Roger" userId="f6f33758-bd69-4951-8148-181de3b92474" providerId="ADAL" clId="{A436842E-EA5C-4A6D-B51D-DDAE8BC6E9BD}" dt="2023-11-08T22:27:58.311" v="85782"/>
          <ac:cxnSpMkLst>
            <pc:docMk/>
            <pc:sldMk cId="13900367" sldId="356"/>
            <ac:cxnSpMk id="7" creationId="{1F728ADE-C8A3-74BD-FD91-1653BED22CD3}"/>
          </ac:cxnSpMkLst>
        </pc:cxnChg>
        <pc:cxnChg chg="add mod ord">
          <ac:chgData name="Tan, Roger" userId="f6f33758-bd69-4951-8148-181de3b92474" providerId="ADAL" clId="{A436842E-EA5C-4A6D-B51D-DDAE8BC6E9BD}" dt="2023-11-08T22:27:58.311" v="85784"/>
          <ac:cxnSpMkLst>
            <pc:docMk/>
            <pc:sldMk cId="13900367" sldId="356"/>
            <ac:cxnSpMk id="9" creationId="{B4F1E10D-824A-DA0F-61A2-EB92DF723E6A}"/>
          </ac:cxnSpMkLst>
        </pc:cxnChg>
        <pc:cxnChg chg="del mod ord">
          <ac:chgData name="Tan, Roger" userId="f6f33758-bd69-4951-8148-181de3b92474" providerId="ADAL" clId="{A436842E-EA5C-4A6D-B51D-DDAE8BC6E9BD}" dt="2023-11-05T22:36:05.600" v="13230"/>
          <ac:cxnSpMkLst>
            <pc:docMk/>
            <pc:sldMk cId="13900367" sldId="356"/>
            <ac:cxnSpMk id="317" creationId="{DCB1B3C4-CC64-2162-F944-5A76AB63A3A7}"/>
          </ac:cxnSpMkLst>
        </pc:cxnChg>
        <pc:cxnChg chg="del mod ord">
          <ac:chgData name="Tan, Roger" userId="f6f33758-bd69-4951-8148-181de3b92474" providerId="ADAL" clId="{A436842E-EA5C-4A6D-B51D-DDAE8BC6E9BD}" dt="2023-11-05T22:36:05.599" v="13228"/>
          <ac:cxnSpMkLst>
            <pc:docMk/>
            <pc:sldMk cId="13900367" sldId="356"/>
            <ac:cxnSpMk id="318" creationId="{A5E84D42-72C2-7043-938A-84A3D663BFC2}"/>
          </ac:cxnSpMkLst>
        </pc:cxnChg>
        <pc:cxnChg chg="del mod ord">
          <ac:chgData name="Tan, Roger" userId="f6f33758-bd69-4951-8148-181de3b92474" providerId="ADAL" clId="{A436842E-EA5C-4A6D-B51D-DDAE8BC6E9BD}" dt="2023-11-05T22:36:05.598" v="13226"/>
          <ac:cxnSpMkLst>
            <pc:docMk/>
            <pc:sldMk cId="13900367" sldId="356"/>
            <ac:cxnSpMk id="319" creationId="{D70F67A2-F7DD-DA98-FD5F-D9BD5B016A4D}"/>
          </ac:cxnSpMkLst>
        </pc:cxnChg>
      </pc:sldChg>
      <pc:sldChg chg="addSp delSp modSp add del mod">
        <pc:chgData name="Tan, Roger" userId="f6f33758-bd69-4951-8148-181de3b92474" providerId="ADAL" clId="{A436842E-EA5C-4A6D-B51D-DDAE8BC6E9BD}" dt="2023-11-05T03:56:33.351" v="3927" actId="47"/>
        <pc:sldMkLst>
          <pc:docMk/>
          <pc:sldMk cId="3794724889" sldId="357"/>
        </pc:sldMkLst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27" creationId="{9DC5B431-ABDA-DC8C-74F0-445E88033941}"/>
          </ac:spMkLst>
        </pc:spChg>
        <pc:spChg chg="mod">
          <ac:chgData name="Tan, Roger" userId="f6f33758-bd69-4951-8148-181de3b92474" providerId="ADAL" clId="{A436842E-EA5C-4A6D-B51D-DDAE8BC6E9BD}" dt="2023-11-05T03:51:56.278" v="3855" actId="20577"/>
          <ac:spMkLst>
            <pc:docMk/>
            <pc:sldMk cId="3794724889" sldId="357"/>
            <ac:spMk id="29" creationId="{5AB29261-202C-1DBD-3FB0-62631A4F0FAE}"/>
          </ac:spMkLst>
        </pc:spChg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32" creationId="{85D64D6B-25DC-6CEA-4105-CF730289C64E}"/>
          </ac:spMkLst>
        </pc:spChg>
        <pc:spChg chg="mod">
          <ac:chgData name="Tan, Roger" userId="f6f33758-bd69-4951-8148-181de3b92474" providerId="ADAL" clId="{A436842E-EA5C-4A6D-B51D-DDAE8BC6E9BD}" dt="2023-11-05T03:52:00.054" v="3865" actId="20577"/>
          <ac:spMkLst>
            <pc:docMk/>
            <pc:sldMk cId="3794724889" sldId="357"/>
            <ac:spMk id="37" creationId="{4BB5FAA0-EFA4-4B20-FB32-8677CED448F4}"/>
          </ac:spMkLst>
        </pc:spChg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40" creationId="{32717F0B-A739-0DB8-1481-1F3340029697}"/>
          </ac:spMkLst>
        </pc:spChg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42" creationId="{DEA58B15-F436-4771-DCA7-5B4CDEF44066}"/>
          </ac:spMkLst>
        </pc:spChg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44" creationId="{40B23F75-24B8-3842-5278-F5D1CC6068A3}"/>
          </ac:spMkLst>
        </pc:spChg>
        <pc:spChg chg="mod">
          <ac:chgData name="Tan, Roger" userId="f6f33758-bd69-4951-8148-181de3b92474" providerId="ADAL" clId="{A436842E-EA5C-4A6D-B51D-DDAE8BC6E9BD}" dt="2023-11-05T03:51:32.549" v="3845"/>
          <ac:spMkLst>
            <pc:docMk/>
            <pc:sldMk cId="3794724889" sldId="357"/>
            <ac:spMk id="46" creationId="{D532BAE7-5E4D-C2FE-CA46-80AD321D16EF}"/>
          </ac:spMkLst>
        </pc:spChg>
        <pc:grpChg chg="del">
          <ac:chgData name="Tan, Roger" userId="f6f33758-bd69-4951-8148-181de3b92474" providerId="ADAL" clId="{A436842E-EA5C-4A6D-B51D-DDAE8BC6E9BD}" dt="2023-11-05T03:51:35.358" v="3846" actId="478"/>
          <ac:grpSpMkLst>
            <pc:docMk/>
            <pc:sldMk cId="3794724889" sldId="357"/>
            <ac:grpSpMk id="2" creationId="{645B8BC1-8F9F-EBAF-0206-63A14C5B8F06}"/>
          </ac:grpSpMkLst>
        </pc:grpChg>
        <pc:grpChg chg="add mod">
          <ac:chgData name="Tan, Roger" userId="f6f33758-bd69-4951-8148-181de3b92474" providerId="ADAL" clId="{A436842E-EA5C-4A6D-B51D-DDAE8BC6E9BD}" dt="2023-11-05T03:51:53.200" v="3851" actId="14100"/>
          <ac:grpSpMkLst>
            <pc:docMk/>
            <pc:sldMk cId="3794724889" sldId="357"/>
            <ac:grpSpMk id="6" creationId="{D39E788D-7300-1F58-7092-5CD979C59E8E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7" creationId="{C0DB0833-C37A-B501-80A9-9A8D5F16FF16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8" creationId="{D6FA2A27-D7B4-B1F2-AEA9-796D3A7D76B5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9" creationId="{26991851-980A-CFCA-FA0C-4DCD5DFF64E0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10" creationId="{CE2B04FE-4554-76FF-51CB-CAC656EC4E08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28" creationId="{840B3B91-FB61-0B0B-C4AE-1A42B4DEA782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33" creationId="{F1B18540-0022-36B4-3422-95B7CA5EE95C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41" creationId="{0AE138FD-7A00-2095-D8EB-160F9C53014F}"/>
          </ac:grpSpMkLst>
        </pc:grpChg>
        <pc:grpChg chg="mod">
          <ac:chgData name="Tan, Roger" userId="f6f33758-bd69-4951-8148-181de3b92474" providerId="ADAL" clId="{A436842E-EA5C-4A6D-B51D-DDAE8BC6E9BD}" dt="2023-11-05T03:51:32.549" v="3845"/>
          <ac:grpSpMkLst>
            <pc:docMk/>
            <pc:sldMk cId="3794724889" sldId="357"/>
            <ac:grpSpMk id="45" creationId="{D74D901D-9A55-2A6C-6732-9777BD2F2F5A}"/>
          </ac:grpSpMkLst>
        </pc:grpChg>
        <pc:cxnChg chg="mod">
          <ac:chgData name="Tan, Roger" userId="f6f33758-bd69-4951-8148-181de3b92474" providerId="ADAL" clId="{A436842E-EA5C-4A6D-B51D-DDAE8BC6E9BD}" dt="2023-11-05T03:51:32.549" v="3845"/>
          <ac:cxnSpMkLst>
            <pc:docMk/>
            <pc:sldMk cId="3794724889" sldId="357"/>
            <ac:cxnSpMk id="31" creationId="{C776827C-43DD-0F08-C58C-140AE74099DC}"/>
          </ac:cxnSpMkLst>
        </pc:cxnChg>
        <pc:cxnChg chg="mod">
          <ac:chgData name="Tan, Roger" userId="f6f33758-bd69-4951-8148-181de3b92474" providerId="ADAL" clId="{A436842E-EA5C-4A6D-B51D-DDAE8BC6E9BD}" dt="2023-11-05T03:51:32.549" v="3845"/>
          <ac:cxnSpMkLst>
            <pc:docMk/>
            <pc:sldMk cId="3794724889" sldId="357"/>
            <ac:cxnSpMk id="39" creationId="{00D989AA-E6DB-0E25-70D3-718B567C0CEC}"/>
          </ac:cxnSpMkLst>
        </pc:cxnChg>
        <pc:cxnChg chg="mod">
          <ac:chgData name="Tan, Roger" userId="f6f33758-bd69-4951-8148-181de3b92474" providerId="ADAL" clId="{A436842E-EA5C-4A6D-B51D-DDAE8BC6E9BD}" dt="2023-11-05T03:51:32.549" v="3845"/>
          <ac:cxnSpMkLst>
            <pc:docMk/>
            <pc:sldMk cId="3794724889" sldId="357"/>
            <ac:cxnSpMk id="43" creationId="{F67BB58B-35A1-275E-0FFA-7FA6B5FFEC78}"/>
          </ac:cxnSpMkLst>
        </pc:cxnChg>
        <pc:cxnChg chg="mod">
          <ac:chgData name="Tan, Roger" userId="f6f33758-bd69-4951-8148-181de3b92474" providerId="ADAL" clId="{A436842E-EA5C-4A6D-B51D-DDAE8BC6E9BD}" dt="2023-11-05T03:51:32.549" v="3845"/>
          <ac:cxnSpMkLst>
            <pc:docMk/>
            <pc:sldMk cId="3794724889" sldId="357"/>
            <ac:cxnSpMk id="47" creationId="{DF107921-1084-A9AE-1D7B-31E5324EB6DA}"/>
          </ac:cxnSpMkLst>
        </pc:cxnChg>
      </pc:sldChg>
      <pc:sldChg chg="del mod modTransition modShow">
        <pc:chgData name="Tan, Roger" userId="f6f33758-bd69-4951-8148-181de3b92474" providerId="ADAL" clId="{A436842E-EA5C-4A6D-B51D-DDAE8BC6E9BD}" dt="2023-11-07T17:24:12.203" v="74372" actId="47"/>
        <pc:sldMkLst>
          <pc:docMk/>
          <pc:sldMk cId="138370662" sldId="358"/>
        </pc:sldMkLst>
      </pc:sldChg>
      <pc:sldChg chg="addSp delSp modSp add del mod">
        <pc:chgData name="Tan, Roger" userId="f6f33758-bd69-4951-8148-181de3b92474" providerId="ADAL" clId="{A436842E-EA5C-4A6D-B51D-DDAE8BC6E9BD}" dt="2023-11-05T03:56:32.423" v="3926" actId="47"/>
        <pc:sldMkLst>
          <pc:docMk/>
          <pc:sldMk cId="2022175586" sldId="358"/>
        </pc:sldMkLst>
        <pc:spChg chg="add mod">
          <ac:chgData name="Tan, Roger" userId="f6f33758-bd69-4951-8148-181de3b92474" providerId="ADAL" clId="{A436842E-EA5C-4A6D-B51D-DDAE8BC6E9BD}" dt="2023-11-05T03:54:17.407" v="3907" actId="14100"/>
          <ac:spMkLst>
            <pc:docMk/>
            <pc:sldMk cId="2022175586" sldId="358"/>
            <ac:spMk id="7" creationId="{4A6F822D-A8EF-696D-6EB3-0B6D2806B41C}"/>
          </ac:spMkLst>
        </pc:spChg>
        <pc:spChg chg="mod">
          <ac:chgData name="Tan, Roger" userId="f6f33758-bd69-4951-8148-181de3b92474" providerId="ADAL" clId="{A436842E-EA5C-4A6D-B51D-DDAE8BC6E9BD}" dt="2023-11-05T03:53:44.802" v="3891" actId="1076"/>
          <ac:spMkLst>
            <pc:docMk/>
            <pc:sldMk cId="2022175586" sldId="358"/>
            <ac:spMk id="24" creationId="{2244DA42-C3CC-EDCC-3A88-043A2E55567C}"/>
          </ac:spMkLst>
        </pc:spChg>
        <pc:spChg chg="mod">
          <ac:chgData name="Tan, Roger" userId="f6f33758-bd69-4951-8148-181de3b92474" providerId="ADAL" clId="{A436842E-EA5C-4A6D-B51D-DDAE8BC6E9BD}" dt="2023-11-05T03:53:08.398" v="3881" actId="1076"/>
          <ac:spMkLst>
            <pc:docMk/>
            <pc:sldMk cId="2022175586" sldId="358"/>
            <ac:spMk id="30" creationId="{0BFDEB95-DC05-565C-B4BD-89205AEC5BD4}"/>
          </ac:spMkLst>
        </pc:spChg>
        <pc:spChg chg="del">
          <ac:chgData name="Tan, Roger" userId="f6f33758-bd69-4951-8148-181de3b92474" providerId="ADAL" clId="{A436842E-EA5C-4A6D-B51D-DDAE8BC6E9BD}" dt="2023-11-05T03:52:53.206" v="3871" actId="478"/>
          <ac:spMkLst>
            <pc:docMk/>
            <pc:sldMk cId="2022175586" sldId="358"/>
            <ac:spMk id="34" creationId="{8414AB94-4614-CF24-9993-74BA355FCD32}"/>
          </ac:spMkLst>
        </pc:spChg>
        <pc:spChg chg="del">
          <ac:chgData name="Tan, Roger" userId="f6f33758-bd69-4951-8148-181de3b92474" providerId="ADAL" clId="{A436842E-EA5C-4A6D-B51D-DDAE8BC6E9BD}" dt="2023-11-05T03:52:53.827" v="3872" actId="478"/>
          <ac:spMkLst>
            <pc:docMk/>
            <pc:sldMk cId="2022175586" sldId="358"/>
            <ac:spMk id="35" creationId="{8A55C520-62CF-91A4-2A3D-03A0868A7316}"/>
          </ac:spMkLst>
        </pc:spChg>
        <pc:spChg chg="del mod">
          <ac:chgData name="Tan, Roger" userId="f6f33758-bd69-4951-8148-181de3b92474" providerId="ADAL" clId="{A436842E-EA5C-4A6D-B51D-DDAE8BC6E9BD}" dt="2023-11-05T03:52:55.373" v="3874" actId="478"/>
          <ac:spMkLst>
            <pc:docMk/>
            <pc:sldMk cId="2022175586" sldId="358"/>
            <ac:spMk id="36" creationId="{E64AE679-D3A9-651D-26EA-303D76F0AED9}"/>
          </ac:spMkLst>
        </pc:spChg>
        <pc:grpChg chg="mod">
          <ac:chgData name="Tan, Roger" userId="f6f33758-bd69-4951-8148-181de3b92474" providerId="ADAL" clId="{A436842E-EA5C-4A6D-B51D-DDAE8BC6E9BD}" dt="2023-11-05T03:54:04.393" v="3902" actId="1076"/>
          <ac:grpSpMkLst>
            <pc:docMk/>
            <pc:sldMk cId="2022175586" sldId="358"/>
            <ac:grpSpMk id="2" creationId="{645B8BC1-8F9F-EBAF-0206-63A14C5B8F06}"/>
          </ac:grpSpMkLst>
        </pc:grpChg>
        <pc:picChg chg="add mod">
          <ac:chgData name="Tan, Roger" userId="f6f33758-bd69-4951-8148-181de3b92474" providerId="ADAL" clId="{A436842E-EA5C-4A6D-B51D-DDAE8BC6E9BD}" dt="2023-11-05T03:53:09.883" v="3882" actId="1076"/>
          <ac:picMkLst>
            <pc:docMk/>
            <pc:sldMk cId="2022175586" sldId="358"/>
            <ac:picMk id="6" creationId="{BB46DD39-7237-1E08-A7DA-F384CAA842FB}"/>
          </ac:picMkLst>
        </pc:picChg>
        <pc:cxnChg chg="add mod">
          <ac:chgData name="Tan, Roger" userId="f6f33758-bd69-4951-8148-181de3b92474" providerId="ADAL" clId="{A436842E-EA5C-4A6D-B51D-DDAE8BC6E9BD}" dt="2023-11-05T03:55:06.611" v="3916" actId="14100"/>
          <ac:cxnSpMkLst>
            <pc:docMk/>
            <pc:sldMk cId="2022175586" sldId="358"/>
            <ac:cxnSpMk id="9" creationId="{825EE9BF-2817-319B-C25B-6CAF11175C68}"/>
          </ac:cxnSpMkLst>
        </pc:cxnChg>
        <pc:cxnChg chg="add mod">
          <ac:chgData name="Tan, Roger" userId="f6f33758-bd69-4951-8148-181de3b92474" providerId="ADAL" clId="{A436842E-EA5C-4A6D-B51D-DDAE8BC6E9BD}" dt="2023-11-05T03:54:58.153" v="3914" actId="14100"/>
          <ac:cxnSpMkLst>
            <pc:docMk/>
            <pc:sldMk cId="2022175586" sldId="358"/>
            <ac:cxnSpMk id="10" creationId="{877890D7-EB8B-B383-AAC6-58C24F5852E0}"/>
          </ac:cxnSpMkLst>
        </pc:cxnChg>
        <pc:cxnChg chg="del mod">
          <ac:chgData name="Tan, Roger" userId="f6f33758-bd69-4951-8148-181de3b92474" providerId="ADAL" clId="{A436842E-EA5C-4A6D-B51D-DDAE8BC6E9BD}" dt="2023-11-05T03:52:58.094" v="3877" actId="478"/>
          <ac:cxnSpMkLst>
            <pc:docMk/>
            <pc:sldMk cId="2022175586" sldId="358"/>
            <ac:cxnSpMk id="38" creationId="{9C2B78A4-F9E6-CAF7-E817-336CB36B46D2}"/>
          </ac:cxnSpMkLst>
        </pc:cxnChg>
        <pc:cxnChg chg="del mod">
          <ac:chgData name="Tan, Roger" userId="f6f33758-bd69-4951-8148-181de3b92474" providerId="ADAL" clId="{A436842E-EA5C-4A6D-B51D-DDAE8BC6E9BD}" dt="2023-11-05T03:52:56.561" v="3875" actId="478"/>
          <ac:cxnSpMkLst>
            <pc:docMk/>
            <pc:sldMk cId="2022175586" sldId="358"/>
            <ac:cxnSpMk id="49" creationId="{1BB74369-D9A1-EDC8-B589-289B49F663B6}"/>
          </ac:cxnSpMkLst>
        </pc:cxnChg>
        <pc:cxnChg chg="del mod">
          <ac:chgData name="Tan, Roger" userId="f6f33758-bd69-4951-8148-181de3b92474" providerId="ADAL" clId="{A436842E-EA5C-4A6D-B51D-DDAE8BC6E9BD}" dt="2023-11-05T03:52:57.246" v="3876" actId="478"/>
          <ac:cxnSpMkLst>
            <pc:docMk/>
            <pc:sldMk cId="2022175586" sldId="358"/>
            <ac:cxnSpMk id="58" creationId="{0427EDFA-37BF-61A2-5365-4BC77788AA46}"/>
          </ac:cxnSpMkLst>
        </pc:cxnChg>
      </pc:sldChg>
      <pc:sldChg chg="addSp delSp modSp add mod ord modTransition modClrScheme modShow chgLayout">
        <pc:chgData name="Tan, Roger" userId="f6f33758-bd69-4951-8148-181de3b92474" providerId="ADAL" clId="{A436842E-EA5C-4A6D-B51D-DDAE8BC6E9BD}" dt="2023-11-07T19:28:15.609" v="75873"/>
        <pc:sldMkLst>
          <pc:docMk/>
          <pc:sldMk cId="1297801775" sldId="359"/>
        </pc:sldMkLst>
        <pc:spChg chg="add mod">
          <ac:chgData name="Tan, Roger" userId="f6f33758-bd69-4951-8148-181de3b92474" providerId="ADAL" clId="{A436842E-EA5C-4A6D-B51D-DDAE8BC6E9BD}" dt="2023-11-07T06:16:44.288" v="57159" actId="20577"/>
          <ac:spMkLst>
            <pc:docMk/>
            <pc:sldMk cId="1297801775" sldId="359"/>
            <ac:spMk id="3" creationId="{CDD0D91C-DB9B-B056-30B0-E1EDD2967073}"/>
          </ac:spMkLst>
        </pc:spChg>
        <pc:spChg chg="add del mod">
          <ac:chgData name="Tan, Roger" userId="f6f33758-bd69-4951-8148-181de3b92474" providerId="ADAL" clId="{A436842E-EA5C-4A6D-B51D-DDAE8BC6E9BD}" dt="2023-11-06T21:54:31.201" v="37201" actId="478"/>
          <ac:spMkLst>
            <pc:docMk/>
            <pc:sldMk cId="1297801775" sldId="359"/>
            <ac:spMk id="5" creationId="{851DFB1B-300E-7809-E2AF-23156DA1DAA7}"/>
          </ac:spMkLst>
        </pc:spChg>
        <pc:spChg chg="add mod">
          <ac:chgData name="Tan, Roger" userId="f6f33758-bd69-4951-8148-181de3b92474" providerId="ADAL" clId="{A436842E-EA5C-4A6D-B51D-DDAE8BC6E9BD}" dt="2023-11-07T06:16:19.636" v="57153" actId="404"/>
          <ac:spMkLst>
            <pc:docMk/>
            <pc:sldMk cId="1297801775" sldId="359"/>
            <ac:spMk id="5" creationId="{A7B1CAE4-1752-C4BE-C6DF-642DFC6B21EF}"/>
          </ac:spMkLst>
        </pc:spChg>
        <pc:spChg chg="add mod ord">
          <ac:chgData name="Tan, Roger" userId="f6f33758-bd69-4951-8148-181de3b92474" providerId="ADAL" clId="{A436842E-EA5C-4A6D-B51D-DDAE8BC6E9BD}" dt="2023-11-07T02:52:27.597" v="37579" actId="1036"/>
          <ac:spMkLst>
            <pc:docMk/>
            <pc:sldMk cId="1297801775" sldId="359"/>
            <ac:spMk id="6" creationId="{3D70EC23-7EC7-5FA5-1DBC-90D3DFE34AC1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7" creationId="{116E560F-E095-67B6-617C-9EACED383350}"/>
          </ac:spMkLst>
        </pc:spChg>
        <pc:spChg chg="del">
          <ac:chgData name="Tan, Roger" userId="f6f33758-bd69-4951-8148-181de3b92474" providerId="ADAL" clId="{A436842E-EA5C-4A6D-B51D-DDAE8BC6E9BD}" dt="2023-11-05T03:56:00.627" v="3920" actId="478"/>
          <ac:spMkLst>
            <pc:docMk/>
            <pc:sldMk cId="1297801775" sldId="359"/>
            <ac:spMk id="7" creationId="{4A6F822D-A8EF-696D-6EB3-0B6D2806B41C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8" creationId="{00B31E32-8A36-7F12-B672-0595323CB7E8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9" creationId="{4123C9D2-B47B-E83C-7F92-A63B00CA525B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10" creationId="{11A06985-249A-B8F9-8026-3FFAB2E53E92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11" creationId="{45E244EB-B05A-ADDE-52FE-D8E54C40C424}"/>
          </ac:spMkLst>
        </pc:spChg>
        <pc:spChg chg="add mod ord">
          <ac:chgData name="Tan, Roger" userId="f6f33758-bd69-4951-8148-181de3b92474" providerId="ADAL" clId="{A436842E-EA5C-4A6D-B51D-DDAE8BC6E9BD}" dt="2023-11-07T02:52:14.024" v="37568" actId="404"/>
          <ac:spMkLst>
            <pc:docMk/>
            <pc:sldMk cId="1297801775" sldId="359"/>
            <ac:spMk id="12" creationId="{05F74C42-FE65-0127-D52E-6F981FACEC13}"/>
          </ac:spMkLst>
        </pc:spChg>
        <pc:spChg chg="add mod ord">
          <ac:chgData name="Tan, Roger" userId="f6f33758-bd69-4951-8148-181de3b92474" providerId="ADAL" clId="{A436842E-EA5C-4A6D-B51D-DDAE8BC6E9BD}" dt="2023-11-07T02:52:25.287" v="37576" actId="1036"/>
          <ac:spMkLst>
            <pc:docMk/>
            <pc:sldMk cId="1297801775" sldId="359"/>
            <ac:spMk id="13" creationId="{24CB16C8-055A-1C85-3017-B2515D1205D3}"/>
          </ac:spMkLst>
        </pc:spChg>
        <pc:spChg chg="add del mod">
          <ac:chgData name="Tan, Roger" userId="f6f33758-bd69-4951-8148-181de3b92474" providerId="ADAL" clId="{A436842E-EA5C-4A6D-B51D-DDAE8BC6E9BD}" dt="2023-11-07T06:18:56.333" v="57185" actId="478"/>
          <ac:spMkLst>
            <pc:docMk/>
            <pc:sldMk cId="1297801775" sldId="359"/>
            <ac:spMk id="15" creationId="{153E5574-9D4A-4AB9-51B3-EAC469AAF1A0}"/>
          </ac:spMkLst>
        </pc:spChg>
        <pc:spChg chg="mod ord">
          <ac:chgData name="Tan, Roger" userId="f6f33758-bd69-4951-8148-181de3b92474" providerId="ADAL" clId="{A436842E-EA5C-4A6D-B51D-DDAE8BC6E9BD}" dt="2023-11-07T02:47:36.771" v="37363"/>
          <ac:spMkLst>
            <pc:docMk/>
            <pc:sldMk cId="1297801775" sldId="359"/>
            <ac:spMk id="23" creationId="{085062C9-E1EF-8DA2-9825-7C696F0759C6}"/>
          </ac:spMkLst>
        </pc:spChg>
        <pc:spChg chg="mod ord">
          <ac:chgData name="Tan, Roger" userId="f6f33758-bd69-4951-8148-181de3b92474" providerId="ADAL" clId="{A436842E-EA5C-4A6D-B51D-DDAE8BC6E9BD}" dt="2023-11-07T06:16:41.087" v="57158" actId="20577"/>
          <ac:spMkLst>
            <pc:docMk/>
            <pc:sldMk cId="1297801775" sldId="359"/>
            <ac:spMk id="24" creationId="{2244DA42-C3CC-EDCC-3A88-043A2E55567C}"/>
          </ac:spMkLst>
        </pc:spChg>
        <pc:spChg chg="mod ord">
          <ac:chgData name="Tan, Roger" userId="f6f33758-bd69-4951-8148-181de3b92474" providerId="ADAL" clId="{A436842E-EA5C-4A6D-B51D-DDAE8BC6E9BD}" dt="2023-11-07T02:52:20.285" v="37571" actId="1076"/>
          <ac:spMkLst>
            <pc:docMk/>
            <pc:sldMk cId="1297801775" sldId="359"/>
            <ac:spMk id="30" creationId="{0BFDEB95-DC05-565C-B4BD-89205AEC5BD4}"/>
          </ac:spMkLst>
        </pc:spChg>
        <pc:grpChg chg="add mod">
          <ac:chgData name="Tan, Roger" userId="f6f33758-bd69-4951-8148-181de3b92474" providerId="ADAL" clId="{A436842E-EA5C-4A6D-B51D-DDAE8BC6E9BD}" dt="2023-11-07T06:18:51.220" v="57183" actId="1076"/>
          <ac:grpSpMkLst>
            <pc:docMk/>
            <pc:sldMk cId="1297801775" sldId="359"/>
            <ac:grpSpMk id="2" creationId="{59FDC503-6236-36EC-ADC7-71A077312CCC}"/>
          </ac:grpSpMkLst>
        </pc:grpChg>
        <pc:grpChg chg="del">
          <ac:chgData name="Tan, Roger" userId="f6f33758-bd69-4951-8148-181de3b92474" providerId="ADAL" clId="{A436842E-EA5C-4A6D-B51D-DDAE8BC6E9BD}" dt="2023-11-05T03:55:58.527" v="3918" actId="478"/>
          <ac:grpSpMkLst>
            <pc:docMk/>
            <pc:sldMk cId="1297801775" sldId="359"/>
            <ac:grpSpMk id="2" creationId="{645B8BC1-8F9F-EBAF-0206-63A14C5B8F06}"/>
          </ac:grpSpMkLst>
        </pc:grpChg>
        <pc:graphicFrameChg chg="mod">
          <ac:chgData name="Tan, Roger" userId="f6f33758-bd69-4951-8148-181de3b92474" providerId="ADAL" clId="{A436842E-EA5C-4A6D-B51D-DDAE8BC6E9BD}" dt="2023-11-07T02:47:36.777" v="37389"/>
          <ac:graphicFrameMkLst>
            <pc:docMk/>
            <pc:sldMk cId="1297801775" sldId="359"/>
            <ac:graphicFrameMk id="26" creationId="{0901792F-EE81-E31F-BB45-EF6B90CAE586}"/>
          </ac:graphicFrameMkLst>
        </pc:graphicFrameChg>
        <pc:picChg chg="add del mod ord modCrop">
          <ac:chgData name="Tan, Roger" userId="f6f33758-bd69-4951-8148-181de3b92474" providerId="ADAL" clId="{A436842E-EA5C-4A6D-B51D-DDAE8BC6E9BD}" dt="2023-11-06T21:53:47.507" v="37181" actId="478"/>
          <ac:picMkLst>
            <pc:docMk/>
            <pc:sldMk cId="1297801775" sldId="359"/>
            <ac:picMk id="3" creationId="{ED5B4160-F0B2-7246-F54D-339467F8AB22}"/>
          </ac:picMkLst>
        </pc:picChg>
        <pc:picChg chg="add mod ord">
          <ac:chgData name="Tan, Roger" userId="f6f33758-bd69-4951-8148-181de3b92474" providerId="ADAL" clId="{A436842E-EA5C-4A6D-B51D-DDAE8BC6E9BD}" dt="2023-11-07T02:47:49.159" v="37391" actId="164"/>
          <ac:picMkLst>
            <pc:docMk/>
            <pc:sldMk cId="1297801775" sldId="359"/>
            <ac:picMk id="4" creationId="{B9A70544-78A4-C0C5-1C68-1DE333BAA924}"/>
          </ac:picMkLst>
        </pc:picChg>
        <pc:picChg chg="del mod ord">
          <ac:chgData name="Tan, Roger" userId="f6f33758-bd69-4951-8148-181de3b92474" providerId="ADAL" clId="{A436842E-EA5C-4A6D-B51D-DDAE8BC6E9BD}" dt="2023-11-06T04:07:14.884" v="16893" actId="478"/>
          <ac:picMkLst>
            <pc:docMk/>
            <pc:sldMk cId="1297801775" sldId="359"/>
            <ac:picMk id="6" creationId="{BB46DD39-7237-1E08-A7DA-F384CAA842FB}"/>
          </ac:picMkLst>
        </pc:picChg>
        <pc:picChg chg="add del mod">
          <ac:chgData name="Tan, Roger" userId="f6f33758-bd69-4951-8148-181de3b92474" providerId="ADAL" clId="{A436842E-EA5C-4A6D-B51D-DDAE8BC6E9BD}" dt="2023-11-07T06:17:27.159" v="57162" actId="478"/>
          <ac:picMkLst>
            <pc:docMk/>
            <pc:sldMk cId="1297801775" sldId="359"/>
            <ac:picMk id="14" creationId="{00911CB9-A630-0106-6262-0358CC4A25AF}"/>
          </ac:picMkLst>
        </pc:picChg>
        <pc:cxnChg chg="del">
          <ac:chgData name="Tan, Roger" userId="f6f33758-bd69-4951-8148-181de3b92474" providerId="ADAL" clId="{A436842E-EA5C-4A6D-B51D-DDAE8BC6E9BD}" dt="2023-11-05T03:55:59.164" v="3919" actId="478"/>
          <ac:cxnSpMkLst>
            <pc:docMk/>
            <pc:sldMk cId="1297801775" sldId="359"/>
            <ac:cxnSpMk id="9" creationId="{825EE9BF-2817-319B-C25B-6CAF11175C68}"/>
          </ac:cxnSpMkLst>
        </pc:cxnChg>
        <pc:cxnChg chg="del mod ord">
          <ac:chgData name="Tan, Roger" userId="f6f33758-bd69-4951-8148-181de3b92474" providerId="ADAL" clId="{A436842E-EA5C-4A6D-B51D-DDAE8BC6E9BD}" dt="2023-11-06T06:19:49.046" v="20172" actId="478"/>
          <ac:cxnSpMkLst>
            <pc:docMk/>
            <pc:sldMk cId="1297801775" sldId="359"/>
            <ac:cxnSpMk id="25" creationId="{9DE6B1D7-91D6-A38C-176D-A5205F284E16}"/>
          </ac:cxnSpMkLst>
        </pc:cxnChg>
      </pc:sldChg>
      <pc:sldChg chg="addSp delSp modSp add mod modClrScheme modAnim chgLayout">
        <pc:chgData name="Tan, Roger" userId="f6f33758-bd69-4951-8148-181de3b92474" providerId="ADAL" clId="{A436842E-EA5C-4A6D-B51D-DDAE8BC6E9BD}" dt="2023-11-08T08:09:53.833" v="77334"/>
        <pc:sldMkLst>
          <pc:docMk/>
          <pc:sldMk cId="196079218" sldId="360"/>
        </pc:sldMkLst>
        <pc:spChg chg="del mod">
          <ac:chgData name="Tan, Roger" userId="f6f33758-bd69-4951-8148-181de3b92474" providerId="ADAL" clId="{A436842E-EA5C-4A6D-B51D-DDAE8BC6E9BD}" dt="2023-11-07T07:08:59.906" v="58009" actId="478"/>
          <ac:spMkLst>
            <pc:docMk/>
            <pc:sldMk cId="196079218" sldId="360"/>
            <ac:spMk id="3" creationId="{A057E552-7487-9C25-D383-9A3C4D344792}"/>
          </ac:spMkLst>
        </pc:spChg>
        <pc:spChg chg="del mod">
          <ac:chgData name="Tan, Roger" userId="f6f33758-bd69-4951-8148-181de3b92474" providerId="ADAL" clId="{A436842E-EA5C-4A6D-B51D-DDAE8BC6E9BD}" dt="2023-11-07T07:09:02.176" v="58010" actId="478"/>
          <ac:spMkLst>
            <pc:docMk/>
            <pc:sldMk cId="196079218" sldId="360"/>
            <ac:spMk id="4" creationId="{4DE1ECC3-CB14-83F7-B1BC-BA958215739B}"/>
          </ac:spMkLst>
        </pc:spChg>
        <pc:spChg chg="add mod ord">
          <ac:chgData name="Tan, Roger" userId="f6f33758-bd69-4951-8148-181de3b92474" providerId="ADAL" clId="{A436842E-EA5C-4A6D-B51D-DDAE8BC6E9BD}" dt="2023-11-07T03:11:44.800" v="37886" actId="164"/>
          <ac:spMkLst>
            <pc:docMk/>
            <pc:sldMk cId="196079218" sldId="360"/>
            <ac:spMk id="6" creationId="{631E1946-2AE1-0965-C670-67F2EDEB31E0}"/>
          </ac:spMkLst>
        </pc:spChg>
        <pc:spChg chg="add mod ord">
          <ac:chgData name="Tan, Roger" userId="f6f33758-bd69-4951-8148-181de3b92474" providerId="ADAL" clId="{A436842E-EA5C-4A6D-B51D-DDAE8BC6E9BD}" dt="2023-11-07T03:11:55.625" v="37887" actId="164"/>
          <ac:spMkLst>
            <pc:docMk/>
            <pc:sldMk cId="196079218" sldId="360"/>
            <ac:spMk id="7" creationId="{315B1543-A9EE-4C5A-529B-982C7A1AF0EA}"/>
          </ac:spMkLst>
        </pc:spChg>
        <pc:spChg chg="add mod ord">
          <ac:chgData name="Tan, Roger" userId="f6f33758-bd69-4951-8148-181de3b92474" providerId="ADAL" clId="{A436842E-EA5C-4A6D-B51D-DDAE8BC6E9BD}" dt="2023-11-07T03:12:01.358" v="37888" actId="164"/>
          <ac:spMkLst>
            <pc:docMk/>
            <pc:sldMk cId="196079218" sldId="360"/>
            <ac:spMk id="8" creationId="{23FF3946-2A98-29A7-8A8E-270E17936BA5}"/>
          </ac:spMkLst>
        </pc:spChg>
        <pc:spChg chg="del mod">
          <ac:chgData name="Tan, Roger" userId="f6f33758-bd69-4951-8148-181de3b92474" providerId="ADAL" clId="{A436842E-EA5C-4A6D-B51D-DDAE8BC6E9BD}" dt="2023-11-07T07:08:58.505" v="58008" actId="478"/>
          <ac:spMkLst>
            <pc:docMk/>
            <pc:sldMk cId="196079218" sldId="360"/>
            <ac:spMk id="9" creationId="{2BED2062-32C6-E29A-55B9-FCEEC91EEE96}"/>
          </ac:spMkLst>
        </pc:spChg>
        <pc:spChg chg="add del mod">
          <ac:chgData name="Tan, Roger" userId="f6f33758-bd69-4951-8148-181de3b92474" providerId="ADAL" clId="{A436842E-EA5C-4A6D-B51D-DDAE8BC6E9BD}" dt="2023-11-05T04:25:06.556" v="5412" actId="478"/>
          <ac:spMkLst>
            <pc:docMk/>
            <pc:sldMk cId="196079218" sldId="360"/>
            <ac:spMk id="9" creationId="{934E4BF9-7727-DBF1-EFF6-8FD5B2C4F41D}"/>
          </ac:spMkLst>
        </pc:spChg>
        <pc:spChg chg="add mod ord">
          <ac:chgData name="Tan, Roger" userId="f6f33758-bd69-4951-8148-181de3b92474" providerId="ADAL" clId="{A436842E-EA5C-4A6D-B51D-DDAE8BC6E9BD}" dt="2023-11-07T03:11:55.625" v="37887" actId="164"/>
          <ac:spMkLst>
            <pc:docMk/>
            <pc:sldMk cId="196079218" sldId="360"/>
            <ac:spMk id="10" creationId="{D9DDD1C0-BE56-471A-224F-6D1314752B7E}"/>
          </ac:spMkLst>
        </pc:spChg>
        <pc:spChg chg="del mod">
          <ac:chgData name="Tan, Roger" userId="f6f33758-bd69-4951-8148-181de3b92474" providerId="ADAL" clId="{A436842E-EA5C-4A6D-B51D-DDAE8BC6E9BD}" dt="2023-11-07T07:08:54.741" v="58007" actId="478"/>
          <ac:spMkLst>
            <pc:docMk/>
            <pc:sldMk cId="196079218" sldId="360"/>
            <ac:spMk id="11" creationId="{13873ADB-5FB8-594A-8DAE-768A898E0732}"/>
          </ac:spMkLst>
        </pc:spChg>
        <pc:spChg chg="del mod">
          <ac:chgData name="Tan, Roger" userId="f6f33758-bd69-4951-8148-181de3b92474" providerId="ADAL" clId="{A436842E-EA5C-4A6D-B51D-DDAE8BC6E9BD}" dt="2023-11-07T07:09:07.685" v="58012" actId="478"/>
          <ac:spMkLst>
            <pc:docMk/>
            <pc:sldMk cId="196079218" sldId="360"/>
            <ac:spMk id="13" creationId="{4E89557D-7EA4-2182-7183-2F071267AC80}"/>
          </ac:spMkLst>
        </pc:spChg>
        <pc:spChg chg="del mod">
          <ac:chgData name="Tan, Roger" userId="f6f33758-bd69-4951-8148-181de3b92474" providerId="ADAL" clId="{A436842E-EA5C-4A6D-B51D-DDAE8BC6E9BD}" dt="2023-11-07T07:09:04.676" v="58011" actId="478"/>
          <ac:spMkLst>
            <pc:docMk/>
            <pc:sldMk cId="196079218" sldId="360"/>
            <ac:spMk id="14" creationId="{73E91715-3FFC-DE7C-55DE-DF7CF2F6B7AA}"/>
          </ac:spMkLst>
        </pc:spChg>
        <pc:spChg chg="mod">
          <ac:chgData name="Tan, Roger" userId="f6f33758-bd69-4951-8148-181de3b92474" providerId="ADAL" clId="{A436842E-EA5C-4A6D-B51D-DDAE8BC6E9BD}" dt="2023-11-07T07:09:13.026" v="58013"/>
          <ac:spMkLst>
            <pc:docMk/>
            <pc:sldMk cId="196079218" sldId="360"/>
            <ac:spMk id="19" creationId="{B5572019-BAB5-AABF-EE4E-F1274B9B2DEE}"/>
          </ac:spMkLst>
        </pc:spChg>
        <pc:spChg chg="mod">
          <ac:chgData name="Tan, Roger" userId="f6f33758-bd69-4951-8148-181de3b92474" providerId="ADAL" clId="{A436842E-EA5C-4A6D-B51D-DDAE8BC6E9BD}" dt="2023-11-07T07:09:13.026" v="58013"/>
          <ac:spMkLst>
            <pc:docMk/>
            <pc:sldMk cId="196079218" sldId="360"/>
            <ac:spMk id="20" creationId="{2E1EA24F-E743-CE67-A96D-31D58551C6EC}"/>
          </ac:spMkLst>
        </pc:spChg>
        <pc:spChg chg="mod">
          <ac:chgData name="Tan, Roger" userId="f6f33758-bd69-4951-8148-181de3b92474" providerId="ADAL" clId="{A436842E-EA5C-4A6D-B51D-DDAE8BC6E9BD}" dt="2023-11-07T07:09:30.138" v="58034"/>
          <ac:spMkLst>
            <pc:docMk/>
            <pc:sldMk cId="196079218" sldId="360"/>
            <ac:spMk id="22" creationId="{910F5331-4377-43EB-3630-4615B1C35251}"/>
          </ac:spMkLst>
        </pc:spChg>
        <pc:spChg chg="mod ord">
          <ac:chgData name="Tan, Roger" userId="f6f33758-bd69-4951-8148-181de3b92474" providerId="ADAL" clId="{A436842E-EA5C-4A6D-B51D-DDAE8BC6E9BD}" dt="2023-11-07T08:12:20.637" v="62508" actId="5793"/>
          <ac:spMkLst>
            <pc:docMk/>
            <pc:sldMk cId="196079218" sldId="360"/>
            <ac:spMk id="23" creationId="{085062C9-E1EF-8DA2-9825-7C696F0759C6}"/>
          </ac:spMkLst>
        </pc:spChg>
        <pc:spChg chg="del">
          <ac:chgData name="Tan, Roger" userId="f6f33758-bd69-4951-8148-181de3b92474" providerId="ADAL" clId="{A436842E-EA5C-4A6D-B51D-DDAE8BC6E9BD}" dt="2023-11-05T04:00:58.889" v="3983" actId="478"/>
          <ac:spMkLst>
            <pc:docMk/>
            <pc:sldMk cId="196079218" sldId="360"/>
            <ac:spMk id="24" creationId="{2244DA42-C3CC-EDCC-3A88-043A2E55567C}"/>
          </ac:spMkLst>
        </pc:spChg>
        <pc:spChg chg="mod">
          <ac:chgData name="Tan, Roger" userId="f6f33758-bd69-4951-8148-181de3b92474" providerId="ADAL" clId="{A436842E-EA5C-4A6D-B51D-DDAE8BC6E9BD}" dt="2023-11-07T07:09:30.138" v="58034"/>
          <ac:spMkLst>
            <pc:docMk/>
            <pc:sldMk cId="196079218" sldId="360"/>
            <ac:spMk id="24" creationId="{B7F54E8A-6EAC-E1BA-1EBA-BAD7F3CDDE47}"/>
          </ac:spMkLst>
        </pc:spChg>
        <pc:spChg chg="add mod ord">
          <ac:chgData name="Tan, Roger" userId="f6f33758-bd69-4951-8148-181de3b92474" providerId="ADAL" clId="{A436842E-EA5C-4A6D-B51D-DDAE8BC6E9BD}" dt="2023-11-07T03:12:01.358" v="37888" actId="164"/>
          <ac:spMkLst>
            <pc:docMk/>
            <pc:sldMk cId="196079218" sldId="360"/>
            <ac:spMk id="27" creationId="{02D62AF9-F02F-1649-298A-37C592AFA5A1}"/>
          </ac:spMkLst>
        </pc:spChg>
        <pc:spChg chg="mod">
          <ac:chgData name="Tan, Roger" userId="f6f33758-bd69-4951-8148-181de3b92474" providerId="ADAL" clId="{A436842E-EA5C-4A6D-B51D-DDAE8BC6E9BD}" dt="2023-11-07T07:09:39.109" v="58036"/>
          <ac:spMkLst>
            <pc:docMk/>
            <pc:sldMk cId="196079218" sldId="360"/>
            <ac:spMk id="28" creationId="{C05819B3-FABB-FDD8-F23A-1FFFC0042C7A}"/>
          </ac:spMkLst>
        </pc:spChg>
        <pc:spChg chg="mod">
          <ac:chgData name="Tan, Roger" userId="f6f33758-bd69-4951-8148-181de3b92474" providerId="ADAL" clId="{A436842E-EA5C-4A6D-B51D-DDAE8BC6E9BD}" dt="2023-11-07T07:09:39.109" v="58036"/>
          <ac:spMkLst>
            <pc:docMk/>
            <pc:sldMk cId="196079218" sldId="360"/>
            <ac:spMk id="29" creationId="{7F8733D9-F523-4E9A-A83A-F1E48863F322}"/>
          </ac:spMkLst>
        </pc:spChg>
        <pc:spChg chg="del">
          <ac:chgData name="Tan, Roger" userId="f6f33758-bd69-4951-8148-181de3b92474" providerId="ADAL" clId="{A436842E-EA5C-4A6D-B51D-DDAE8BC6E9BD}" dt="2023-11-05T04:00:47.615" v="3977" actId="478"/>
          <ac:spMkLst>
            <pc:docMk/>
            <pc:sldMk cId="196079218" sldId="360"/>
            <ac:spMk id="30" creationId="{0BFDEB95-DC05-565C-B4BD-89205AEC5BD4}"/>
          </ac:spMkLst>
        </pc:spChg>
        <pc:spChg chg="mod ord">
          <ac:chgData name="Tan, Roger" userId="f6f33758-bd69-4951-8148-181de3b92474" providerId="ADAL" clId="{A436842E-EA5C-4A6D-B51D-DDAE8BC6E9BD}" dt="2023-11-07T03:11:44.800" v="37886" actId="164"/>
          <ac:spMkLst>
            <pc:docMk/>
            <pc:sldMk cId="196079218" sldId="360"/>
            <ac:spMk id="34" creationId="{8414AB94-4614-CF24-9993-74BA355FCD32}"/>
          </ac:spMkLst>
        </pc:spChg>
        <pc:spChg chg="del mod">
          <ac:chgData name="Tan, Roger" userId="f6f33758-bd69-4951-8148-181de3b92474" providerId="ADAL" clId="{A436842E-EA5C-4A6D-B51D-DDAE8BC6E9BD}" dt="2023-11-05T04:28:10.090" v="5426" actId="478"/>
          <ac:spMkLst>
            <pc:docMk/>
            <pc:sldMk cId="196079218" sldId="360"/>
            <ac:spMk id="35" creationId="{8A55C520-62CF-91A4-2A3D-03A0868A7316}"/>
          </ac:spMkLst>
        </pc:spChg>
        <pc:spChg chg="add del mod">
          <ac:chgData name="Tan, Roger" userId="f6f33758-bd69-4951-8148-181de3b92474" providerId="ADAL" clId="{A436842E-EA5C-4A6D-B51D-DDAE8BC6E9BD}" dt="2023-11-05T04:28:45.381" v="5437" actId="478"/>
          <ac:spMkLst>
            <pc:docMk/>
            <pc:sldMk cId="196079218" sldId="360"/>
            <ac:spMk id="36" creationId="{E64AE679-D3A9-651D-26EA-303D76F0AED9}"/>
          </ac:spMkLst>
        </pc:spChg>
        <pc:grpChg chg="add del mod ord">
          <ac:chgData name="Tan, Roger" userId="f6f33758-bd69-4951-8148-181de3b92474" providerId="ADAL" clId="{A436842E-EA5C-4A6D-B51D-DDAE8BC6E9BD}" dt="2023-11-07T07:08:59.906" v="58009" actId="478"/>
          <ac:grpSpMkLst>
            <pc:docMk/>
            <pc:sldMk cId="196079218" sldId="360"/>
            <ac:grpSpMk id="2" creationId="{033DC5FB-1E12-259A-3D85-F3B27EE58101}"/>
          </ac:grpSpMkLst>
        </pc:grpChg>
        <pc:grpChg chg="add del">
          <ac:chgData name="Tan, Roger" userId="f6f33758-bd69-4951-8148-181de3b92474" providerId="ADAL" clId="{A436842E-EA5C-4A6D-B51D-DDAE8BC6E9BD}" dt="2023-11-05T04:00:47.615" v="3977" actId="478"/>
          <ac:grpSpMkLst>
            <pc:docMk/>
            <pc:sldMk cId="196079218" sldId="360"/>
            <ac:grpSpMk id="2" creationId="{645B8BC1-8F9F-EBAF-0206-63A14C5B8F06}"/>
          </ac:grpSpMkLst>
        </pc:grpChg>
        <pc:grpChg chg="add del mod ord">
          <ac:chgData name="Tan, Roger" userId="f6f33758-bd69-4951-8148-181de3b92474" providerId="ADAL" clId="{A436842E-EA5C-4A6D-B51D-DDAE8BC6E9BD}" dt="2023-11-07T07:08:54.741" v="58007" actId="478"/>
          <ac:grpSpMkLst>
            <pc:docMk/>
            <pc:sldMk cId="196079218" sldId="360"/>
            <ac:grpSpMk id="5" creationId="{A2F3BBD0-B08F-784B-0232-472208168A50}"/>
          </ac:grpSpMkLst>
        </pc:grpChg>
        <pc:grpChg chg="add del mod ord">
          <ac:chgData name="Tan, Roger" userId="f6f33758-bd69-4951-8148-181de3b92474" providerId="ADAL" clId="{A436842E-EA5C-4A6D-B51D-DDAE8BC6E9BD}" dt="2023-11-07T07:09:04.676" v="58011" actId="478"/>
          <ac:grpSpMkLst>
            <pc:docMk/>
            <pc:sldMk cId="196079218" sldId="360"/>
            <ac:grpSpMk id="12" creationId="{D7C4A08A-A45A-B673-F88B-A552FC2791AE}"/>
          </ac:grpSpMkLst>
        </pc:grpChg>
        <pc:grpChg chg="add mod ord">
          <ac:chgData name="Tan, Roger" userId="f6f33758-bd69-4951-8148-181de3b92474" providerId="ADAL" clId="{A436842E-EA5C-4A6D-B51D-DDAE8BC6E9BD}" dt="2023-11-07T07:10:13.797" v="58074" actId="164"/>
          <ac:grpSpMkLst>
            <pc:docMk/>
            <pc:sldMk cId="196079218" sldId="360"/>
            <ac:grpSpMk id="15" creationId="{F868C8AB-088B-2589-5F63-CD1691379599}"/>
          </ac:grpSpMkLst>
        </pc:grpChg>
        <pc:grpChg chg="add mod ord">
          <ac:chgData name="Tan, Roger" userId="f6f33758-bd69-4951-8148-181de3b92474" providerId="ADAL" clId="{A436842E-EA5C-4A6D-B51D-DDAE8BC6E9BD}" dt="2023-11-07T07:10:21.485" v="58075" actId="164"/>
          <ac:grpSpMkLst>
            <pc:docMk/>
            <pc:sldMk cId="196079218" sldId="360"/>
            <ac:grpSpMk id="16" creationId="{C51C245C-F184-2235-F012-EAFC8DF76F5E}"/>
          </ac:grpSpMkLst>
        </pc:grpChg>
        <pc:grpChg chg="add mod ord">
          <ac:chgData name="Tan, Roger" userId="f6f33758-bd69-4951-8148-181de3b92474" providerId="ADAL" clId="{A436842E-EA5C-4A6D-B51D-DDAE8BC6E9BD}" dt="2023-11-07T07:10:26.503" v="58076" actId="164"/>
          <ac:grpSpMkLst>
            <pc:docMk/>
            <pc:sldMk cId="196079218" sldId="360"/>
            <ac:grpSpMk id="17" creationId="{5350EB7B-750D-8A44-8B1E-B2B760AD48ED}"/>
          </ac:grpSpMkLst>
        </pc:grpChg>
        <pc:grpChg chg="add mod ord">
          <ac:chgData name="Tan, Roger" userId="f6f33758-bd69-4951-8148-181de3b92474" providerId="ADAL" clId="{A436842E-EA5C-4A6D-B51D-DDAE8BC6E9BD}" dt="2023-11-07T07:10:13.797" v="58074" actId="164"/>
          <ac:grpSpMkLst>
            <pc:docMk/>
            <pc:sldMk cId="196079218" sldId="360"/>
            <ac:grpSpMk id="18" creationId="{BB443573-0D53-8B4E-29CC-0EF8806DC25C}"/>
          </ac:grpSpMkLst>
        </pc:grpChg>
        <pc:grpChg chg="add mod ord">
          <ac:chgData name="Tan, Roger" userId="f6f33758-bd69-4951-8148-181de3b92474" providerId="ADAL" clId="{A436842E-EA5C-4A6D-B51D-DDAE8BC6E9BD}" dt="2023-11-07T07:10:21.485" v="58075" actId="164"/>
          <ac:grpSpMkLst>
            <pc:docMk/>
            <pc:sldMk cId="196079218" sldId="360"/>
            <ac:grpSpMk id="21" creationId="{142C7E01-884E-D02B-20C5-C9DBF7AB52F4}"/>
          </ac:grpSpMkLst>
        </pc:grpChg>
        <pc:grpChg chg="add mod ord">
          <ac:chgData name="Tan, Roger" userId="f6f33758-bd69-4951-8148-181de3b92474" providerId="ADAL" clId="{A436842E-EA5C-4A6D-B51D-DDAE8BC6E9BD}" dt="2023-11-07T07:10:26.503" v="58076" actId="164"/>
          <ac:grpSpMkLst>
            <pc:docMk/>
            <pc:sldMk cId="196079218" sldId="360"/>
            <ac:grpSpMk id="25" creationId="{CD0C0393-900B-837B-F486-7DFEB8D4B130}"/>
          </ac:grpSpMkLst>
        </pc:grpChg>
        <pc:grpChg chg="add mod">
          <ac:chgData name="Tan, Roger" userId="f6f33758-bd69-4951-8148-181de3b92474" providerId="ADAL" clId="{A436842E-EA5C-4A6D-B51D-DDAE8BC6E9BD}" dt="2023-11-07T07:10:13.797" v="58074" actId="164"/>
          <ac:grpSpMkLst>
            <pc:docMk/>
            <pc:sldMk cId="196079218" sldId="360"/>
            <ac:grpSpMk id="30" creationId="{4F7F00E7-35D4-8CDA-CE19-8D1EED99FA3A}"/>
          </ac:grpSpMkLst>
        </pc:grpChg>
        <pc:grpChg chg="add mod">
          <ac:chgData name="Tan, Roger" userId="f6f33758-bd69-4951-8148-181de3b92474" providerId="ADAL" clId="{A436842E-EA5C-4A6D-B51D-DDAE8BC6E9BD}" dt="2023-11-07T07:10:21.485" v="58075" actId="164"/>
          <ac:grpSpMkLst>
            <pc:docMk/>
            <pc:sldMk cId="196079218" sldId="360"/>
            <ac:grpSpMk id="31" creationId="{A4D1D6C2-9E82-868D-169C-4B271862112D}"/>
          </ac:grpSpMkLst>
        </pc:grpChg>
        <pc:grpChg chg="add mod">
          <ac:chgData name="Tan, Roger" userId="f6f33758-bd69-4951-8148-181de3b92474" providerId="ADAL" clId="{A436842E-EA5C-4A6D-B51D-DDAE8BC6E9BD}" dt="2023-11-07T07:10:26.503" v="58076" actId="164"/>
          <ac:grpSpMkLst>
            <pc:docMk/>
            <pc:sldMk cId="196079218" sldId="360"/>
            <ac:grpSpMk id="32" creationId="{1E79DFC1-79FA-63DA-C037-00DF136755AD}"/>
          </ac:grpSpMkLst>
        </pc:grpChg>
        <pc:graphicFrameChg chg="mod">
          <ac:chgData name="Tan, Roger" userId="f6f33758-bd69-4951-8148-181de3b92474" providerId="ADAL" clId="{A436842E-EA5C-4A6D-B51D-DDAE8BC6E9BD}" dt="2023-11-07T08:22:44.952" v="62686"/>
          <ac:graphicFrameMkLst>
            <pc:docMk/>
            <pc:sldMk cId="196079218" sldId="360"/>
            <ac:graphicFrameMk id="26" creationId="{0901792F-EE81-E31F-BB45-EF6B90CAE586}"/>
          </ac:graphicFrameMkLst>
        </pc:graphicFrameChg>
        <pc:cxnChg chg="del">
          <ac:chgData name="Tan, Roger" userId="f6f33758-bd69-4951-8148-181de3b92474" providerId="ADAL" clId="{A436842E-EA5C-4A6D-B51D-DDAE8BC6E9BD}" dt="2023-11-05T04:00:47.615" v="3977" actId="478"/>
          <ac:cxnSpMkLst>
            <pc:docMk/>
            <pc:sldMk cId="196079218" sldId="360"/>
            <ac:cxnSpMk id="25" creationId="{9DE6B1D7-91D6-A38C-176D-A5205F284E16}"/>
          </ac:cxnSpMkLst>
        </pc:cxnChg>
        <pc:cxnChg chg="add del mod">
          <ac:chgData name="Tan, Roger" userId="f6f33758-bd69-4951-8148-181de3b92474" providerId="ADAL" clId="{A436842E-EA5C-4A6D-B51D-DDAE8BC6E9BD}" dt="2023-11-05T04:00:47.615" v="3977" actId="478"/>
          <ac:cxnSpMkLst>
            <pc:docMk/>
            <pc:sldMk cId="196079218" sldId="360"/>
            <ac:cxnSpMk id="38" creationId="{9C2B78A4-F9E6-CAF7-E817-336CB36B46D2}"/>
          </ac:cxnSpMkLst>
        </pc:cxnChg>
        <pc:cxnChg chg="add del mod">
          <ac:chgData name="Tan, Roger" userId="f6f33758-bd69-4951-8148-181de3b92474" providerId="ADAL" clId="{A436842E-EA5C-4A6D-B51D-DDAE8BC6E9BD}" dt="2023-11-05T04:00:47.615" v="3977" actId="478"/>
          <ac:cxnSpMkLst>
            <pc:docMk/>
            <pc:sldMk cId="196079218" sldId="360"/>
            <ac:cxnSpMk id="49" creationId="{1BB74369-D9A1-EDC8-B589-289B49F663B6}"/>
          </ac:cxnSpMkLst>
        </pc:cxnChg>
        <pc:cxnChg chg="add del mod">
          <ac:chgData name="Tan, Roger" userId="f6f33758-bd69-4951-8148-181de3b92474" providerId="ADAL" clId="{A436842E-EA5C-4A6D-B51D-DDAE8BC6E9BD}" dt="2023-11-05T04:00:47.615" v="3977" actId="478"/>
          <ac:cxnSpMkLst>
            <pc:docMk/>
            <pc:sldMk cId="196079218" sldId="360"/>
            <ac:cxnSpMk id="58" creationId="{0427EDFA-37BF-61A2-5365-4BC77788AA46}"/>
          </ac:cxnSpMkLst>
        </pc:cxnChg>
      </pc:sldChg>
      <pc:sldChg chg="addSp delSp modSp mod modTransition modClrScheme modShow chgLayout">
        <pc:chgData name="Tan, Roger" userId="f6f33758-bd69-4951-8148-181de3b92474" providerId="ADAL" clId="{A436842E-EA5C-4A6D-B51D-DDAE8BC6E9BD}" dt="2023-11-05T06:06:23.001" v="6615"/>
        <pc:sldMkLst>
          <pc:docMk/>
          <pc:sldMk cId="2839849100" sldId="362"/>
        </pc:sldMkLst>
        <pc:spChg chg="mod ord">
          <ac:chgData name="Tan, Roger" userId="f6f33758-bd69-4951-8148-181de3b92474" providerId="ADAL" clId="{A436842E-EA5C-4A6D-B51D-DDAE8BC6E9BD}" dt="2023-11-05T04:20:38.182" v="5272"/>
          <ac:spMkLst>
            <pc:docMk/>
            <pc:sldMk cId="2839849100" sldId="362"/>
            <ac:spMk id="2" creationId="{DB6D9CF4-77C8-DFB3-D3B0-EECE2A266D7D}"/>
          </ac:spMkLst>
        </pc:spChg>
        <pc:spChg chg="mod">
          <ac:chgData name="Tan, Roger" userId="f6f33758-bd69-4951-8148-181de3b92474" providerId="ADAL" clId="{A436842E-EA5C-4A6D-B51D-DDAE8BC6E9BD}" dt="2023-11-05T04:20:38.199" v="5337"/>
          <ac:spMkLst>
            <pc:docMk/>
            <pc:sldMk cId="2839849100" sldId="362"/>
            <ac:spMk id="3" creationId="{56B480E6-9BA8-C715-EFC2-2BACBF5415D9}"/>
          </ac:spMkLst>
        </pc:spChg>
        <pc:spChg chg="mod">
          <ac:chgData name="Tan, Roger" userId="f6f33758-bd69-4951-8148-181de3b92474" providerId="ADAL" clId="{A436842E-EA5C-4A6D-B51D-DDAE8BC6E9BD}" dt="2023-11-05T04:20:38.199" v="5338"/>
          <ac:spMkLst>
            <pc:docMk/>
            <pc:sldMk cId="2839849100" sldId="362"/>
            <ac:spMk id="5" creationId="{8F4257AC-9438-50AA-3B0F-E0E217EAB598}"/>
          </ac:spMkLst>
        </pc:spChg>
        <pc:spChg chg="mod">
          <ac:chgData name="Tan, Roger" userId="f6f33758-bd69-4951-8148-181de3b92474" providerId="ADAL" clId="{A436842E-EA5C-4A6D-B51D-DDAE8BC6E9BD}" dt="2023-11-05T04:20:38.195" v="5324"/>
          <ac:spMkLst>
            <pc:docMk/>
            <pc:sldMk cId="2839849100" sldId="362"/>
            <ac:spMk id="6" creationId="{1DEAB302-CD3D-F920-4CC6-525E60FB9633}"/>
          </ac:spMkLst>
        </pc:spChg>
        <pc:spChg chg="add del mod modVis">
          <ac:chgData name="Tan, Roger" userId="f6f33758-bd69-4951-8148-181de3b92474" providerId="ADAL" clId="{A436842E-EA5C-4A6D-B51D-DDAE8BC6E9BD}" dt="2023-11-05T04:20:38.203" v="5352"/>
          <ac:spMkLst>
            <pc:docMk/>
            <pc:sldMk cId="2839849100" sldId="362"/>
            <ac:spMk id="9" creationId="{5EE7C663-E948-8296-888E-80080A4DBBC4}"/>
          </ac:spMkLst>
        </pc:spChg>
        <pc:spChg chg="mod ord">
          <ac:chgData name="Tan, Roger" userId="f6f33758-bd69-4951-8148-181de3b92474" providerId="ADAL" clId="{A436842E-EA5C-4A6D-B51D-DDAE8BC6E9BD}" dt="2023-11-05T04:20:38.198" v="5334"/>
          <ac:spMkLst>
            <pc:docMk/>
            <pc:sldMk cId="2839849100" sldId="362"/>
            <ac:spMk id="10" creationId="{5F3FA9B6-B61E-C6C4-8AF4-47D59C5A910B}"/>
          </ac:spMkLst>
        </pc:spChg>
        <pc:spChg chg="mod ord">
          <ac:chgData name="Tan, Roger" userId="f6f33758-bd69-4951-8148-181de3b92474" providerId="ADAL" clId="{A436842E-EA5C-4A6D-B51D-DDAE8BC6E9BD}" dt="2023-11-05T04:20:38.199" v="5336"/>
          <ac:spMkLst>
            <pc:docMk/>
            <pc:sldMk cId="2839849100" sldId="362"/>
            <ac:spMk id="11" creationId="{57545F59-1058-3D34-D0AF-AC44869215CE}"/>
          </ac:spMkLst>
        </pc:spChg>
        <pc:spChg chg="add mod ord replST">
          <ac:chgData name="Tan, Roger" userId="f6f33758-bd69-4951-8148-181de3b92474" providerId="ADAL" clId="{A436842E-EA5C-4A6D-B51D-DDAE8BC6E9BD}" dt="2023-11-05T04:20:38.191" v="5303"/>
          <ac:spMkLst>
            <pc:docMk/>
            <pc:sldMk cId="2839849100" sldId="362"/>
            <ac:spMk id="13" creationId="{C48B2491-81EA-4B92-7D06-DDB84A461598}"/>
          </ac:spMkLst>
        </pc:spChg>
        <pc:spChg chg="add mod ord replST">
          <ac:chgData name="Tan, Roger" userId="f6f33758-bd69-4951-8148-181de3b92474" providerId="ADAL" clId="{A436842E-EA5C-4A6D-B51D-DDAE8BC6E9BD}" dt="2023-11-05T04:20:38.191" v="5305"/>
          <ac:spMkLst>
            <pc:docMk/>
            <pc:sldMk cId="2839849100" sldId="362"/>
            <ac:spMk id="14" creationId="{5CC57B1A-484D-A6E0-114B-314AABFC6AB4}"/>
          </ac:spMkLst>
        </pc:spChg>
        <pc:spChg chg="mod">
          <ac:chgData name="Tan, Roger" userId="f6f33758-bd69-4951-8148-181de3b92474" providerId="ADAL" clId="{A436842E-EA5C-4A6D-B51D-DDAE8BC6E9BD}" dt="2023-11-05T04:20:38.195" v="5325"/>
          <ac:spMkLst>
            <pc:docMk/>
            <pc:sldMk cId="2839849100" sldId="362"/>
            <ac:spMk id="15" creationId="{DF890152-EEC4-AD1C-F056-D88DAC560EF4}"/>
          </ac:spMkLst>
        </pc:spChg>
        <pc:spChg chg="add mod replST">
          <ac:chgData name="Tan, Roger" userId="f6f33758-bd69-4951-8148-181de3b92474" providerId="ADAL" clId="{A436842E-EA5C-4A6D-B51D-DDAE8BC6E9BD}" dt="2023-11-05T04:20:38.189" v="5299"/>
          <ac:spMkLst>
            <pc:docMk/>
            <pc:sldMk cId="2839849100" sldId="362"/>
            <ac:spMk id="16" creationId="{0B8EA817-193A-1EB0-6187-AE273C436A56}"/>
          </ac:spMkLst>
        </pc:spChg>
        <pc:spChg chg="add mod ord replST">
          <ac:chgData name="Tan, Roger" userId="f6f33758-bd69-4951-8148-181de3b92474" providerId="ADAL" clId="{A436842E-EA5C-4A6D-B51D-DDAE8BC6E9BD}" dt="2023-11-05T04:20:38.192" v="5307"/>
          <ac:spMkLst>
            <pc:docMk/>
            <pc:sldMk cId="2839849100" sldId="362"/>
            <ac:spMk id="17" creationId="{3A96B91F-9FAC-129C-955A-F7A4601BBC55}"/>
          </ac:spMkLst>
        </pc:spChg>
        <pc:spChg chg="add mod ord replST">
          <ac:chgData name="Tan, Roger" userId="f6f33758-bd69-4951-8148-181de3b92474" providerId="ADAL" clId="{A436842E-EA5C-4A6D-B51D-DDAE8BC6E9BD}" dt="2023-11-05T04:20:38.192" v="5309"/>
          <ac:spMkLst>
            <pc:docMk/>
            <pc:sldMk cId="2839849100" sldId="362"/>
            <ac:spMk id="18" creationId="{394770A9-6BEB-F383-CCAB-846BAAA193C4}"/>
          </ac:spMkLst>
        </pc:spChg>
        <pc:spChg chg="add mod replST">
          <ac:chgData name="Tan, Roger" userId="f6f33758-bd69-4951-8148-181de3b92474" providerId="ADAL" clId="{A436842E-EA5C-4A6D-B51D-DDAE8BC6E9BD}" dt="2023-11-05T04:20:38.190" v="5300"/>
          <ac:spMkLst>
            <pc:docMk/>
            <pc:sldMk cId="2839849100" sldId="362"/>
            <ac:spMk id="19" creationId="{0C115078-818D-765E-8174-E1B6FD613858}"/>
          </ac:spMkLst>
        </pc:spChg>
        <pc:spChg chg="add mod ord replST">
          <ac:chgData name="Tan, Roger" userId="f6f33758-bd69-4951-8148-181de3b92474" providerId="ADAL" clId="{A436842E-EA5C-4A6D-B51D-DDAE8BC6E9BD}" dt="2023-11-05T04:20:38.192" v="5311"/>
          <ac:spMkLst>
            <pc:docMk/>
            <pc:sldMk cId="2839849100" sldId="362"/>
            <ac:spMk id="20" creationId="{1F8657D0-804E-747B-8FB2-E6F5412A3C69}"/>
          </ac:spMkLst>
        </pc:spChg>
        <pc:spChg chg="add mod ord replST">
          <ac:chgData name="Tan, Roger" userId="f6f33758-bd69-4951-8148-181de3b92474" providerId="ADAL" clId="{A436842E-EA5C-4A6D-B51D-DDAE8BC6E9BD}" dt="2023-11-05T04:20:38.193" v="5313"/>
          <ac:spMkLst>
            <pc:docMk/>
            <pc:sldMk cId="2839849100" sldId="362"/>
            <ac:spMk id="21" creationId="{91DB8323-6936-380B-1682-EE9639C11F5E}"/>
          </ac:spMkLst>
        </pc:spChg>
        <pc:spChg chg="add mod replST">
          <ac:chgData name="Tan, Roger" userId="f6f33758-bd69-4951-8148-181de3b92474" providerId="ADAL" clId="{A436842E-EA5C-4A6D-B51D-DDAE8BC6E9BD}" dt="2023-11-05T04:20:38.190" v="5301"/>
          <ac:spMkLst>
            <pc:docMk/>
            <pc:sldMk cId="2839849100" sldId="362"/>
            <ac:spMk id="22" creationId="{CC3015E2-3598-0DF7-9BBB-92490F7AEE29}"/>
          </ac:spMkLst>
        </pc:spChg>
        <pc:spChg chg="mod">
          <ac:chgData name="Tan, Roger" userId="f6f33758-bd69-4951-8148-181de3b92474" providerId="ADAL" clId="{A436842E-EA5C-4A6D-B51D-DDAE8BC6E9BD}" dt="2023-11-05T04:20:38.196" v="5327"/>
          <ac:spMkLst>
            <pc:docMk/>
            <pc:sldMk cId="2839849100" sldId="362"/>
            <ac:spMk id="77" creationId="{0F4A2A48-99E8-A2B9-BC45-D93A7BF3E94A}"/>
          </ac:spMkLst>
        </pc:spChg>
        <pc:spChg chg="mod">
          <ac:chgData name="Tan, Roger" userId="f6f33758-bd69-4951-8148-181de3b92474" providerId="ADAL" clId="{A436842E-EA5C-4A6D-B51D-DDAE8BC6E9BD}" dt="2023-11-05T04:20:38.197" v="5328"/>
          <ac:spMkLst>
            <pc:docMk/>
            <pc:sldMk cId="2839849100" sldId="362"/>
            <ac:spMk id="78" creationId="{2D6FBB12-B34C-5D30-4F4F-27BC1D242999}"/>
          </ac:spMkLst>
        </pc:spChg>
        <pc:spChg chg="mod">
          <ac:chgData name="Tan, Roger" userId="f6f33758-bd69-4951-8148-181de3b92474" providerId="ADAL" clId="{A436842E-EA5C-4A6D-B51D-DDAE8BC6E9BD}" dt="2023-11-05T04:20:38.197" v="5329"/>
          <ac:spMkLst>
            <pc:docMk/>
            <pc:sldMk cId="2839849100" sldId="362"/>
            <ac:spMk id="79" creationId="{D4EDD7F4-5774-69DA-4C88-6F3548665B23}"/>
          </ac:spMkLst>
        </pc:spChg>
        <pc:spChg chg="mod">
          <ac:chgData name="Tan, Roger" userId="f6f33758-bd69-4951-8148-181de3b92474" providerId="ADAL" clId="{A436842E-EA5C-4A6D-B51D-DDAE8BC6E9BD}" dt="2023-11-05T04:20:38.197" v="5330"/>
          <ac:spMkLst>
            <pc:docMk/>
            <pc:sldMk cId="2839849100" sldId="362"/>
            <ac:spMk id="80" creationId="{F22443A6-ED81-1569-4012-E981F5462221}"/>
          </ac:spMkLst>
        </pc:spChg>
        <pc:spChg chg="mod">
          <ac:chgData name="Tan, Roger" userId="f6f33758-bd69-4951-8148-181de3b92474" providerId="ADAL" clId="{A436842E-EA5C-4A6D-B51D-DDAE8BC6E9BD}" dt="2023-11-05T04:20:38.189" v="5298"/>
          <ac:spMkLst>
            <pc:docMk/>
            <pc:sldMk cId="2839849100" sldId="362"/>
            <ac:spMk id="81" creationId="{4DDE0B70-8E12-F5DC-AA91-45F1DC46CC92}"/>
          </ac:spMkLst>
        </pc:spChg>
        <pc:spChg chg="mod">
          <ac:chgData name="Tan, Roger" userId="f6f33758-bd69-4951-8148-181de3b92474" providerId="ADAL" clId="{A436842E-EA5C-4A6D-B51D-DDAE8BC6E9BD}" dt="2023-11-05T04:20:38.188" v="5295"/>
          <ac:spMkLst>
            <pc:docMk/>
            <pc:sldMk cId="2839849100" sldId="362"/>
            <ac:spMk id="85" creationId="{0DF97D3E-1387-A470-E842-DE4C98DDFB2E}"/>
          </ac:spMkLst>
        </pc:spChg>
        <pc:spChg chg="mod">
          <ac:chgData name="Tan, Roger" userId="f6f33758-bd69-4951-8148-181de3b92474" providerId="ADAL" clId="{A436842E-EA5C-4A6D-B51D-DDAE8BC6E9BD}" dt="2023-11-05T04:20:38.189" v="5297"/>
          <ac:spMkLst>
            <pc:docMk/>
            <pc:sldMk cId="2839849100" sldId="362"/>
            <ac:spMk id="89" creationId="{EDEF56D4-4CFF-84C2-B9E4-EBE138A5C217}"/>
          </ac:spMkLst>
        </pc:spChg>
        <pc:spChg chg="mod">
          <ac:chgData name="Tan, Roger" userId="f6f33758-bd69-4951-8148-181de3b92474" providerId="ADAL" clId="{A436842E-EA5C-4A6D-B51D-DDAE8BC6E9BD}" dt="2023-11-05T04:20:38.187" v="5293"/>
          <ac:spMkLst>
            <pc:docMk/>
            <pc:sldMk cId="2839849100" sldId="362"/>
            <ac:spMk id="103" creationId="{492CE047-E623-30DE-11E7-58E962A62BC6}"/>
          </ac:spMkLst>
        </pc:spChg>
        <pc:spChg chg="mod">
          <ac:chgData name="Tan, Roger" userId="f6f33758-bd69-4951-8148-181de3b92474" providerId="ADAL" clId="{A436842E-EA5C-4A6D-B51D-DDAE8BC6E9BD}" dt="2023-11-05T04:20:38.188" v="5294"/>
          <ac:spMkLst>
            <pc:docMk/>
            <pc:sldMk cId="2839849100" sldId="362"/>
            <ac:spMk id="148" creationId="{C49B1EE0-05A4-D9A4-3FBE-68D2348A7E42}"/>
          </ac:spMkLst>
        </pc:spChg>
        <pc:spChg chg="mod">
          <ac:chgData name="Tan, Roger" userId="f6f33758-bd69-4951-8148-181de3b92474" providerId="ADAL" clId="{A436842E-EA5C-4A6D-B51D-DDAE8BC6E9BD}" dt="2023-11-05T04:20:38.188" v="5296"/>
          <ac:spMkLst>
            <pc:docMk/>
            <pc:sldMk cId="2839849100" sldId="362"/>
            <ac:spMk id="149" creationId="{8A861EB6-B4DB-3FED-D5AB-FCC0679E3215}"/>
          </ac:spMkLst>
        </pc:spChg>
        <pc:spChg chg="mod">
          <ac:chgData name="Tan, Roger" userId="f6f33758-bd69-4951-8148-181de3b92474" providerId="ADAL" clId="{A436842E-EA5C-4A6D-B51D-DDAE8BC6E9BD}" dt="2023-11-05T04:20:38.187" v="5291"/>
          <ac:spMkLst>
            <pc:docMk/>
            <pc:sldMk cId="2839849100" sldId="362"/>
            <ac:spMk id="158" creationId="{6C9D3823-C015-5FED-9EDF-89D3AC9BBB24}"/>
          </ac:spMkLst>
        </pc:spChg>
        <pc:spChg chg="mod">
          <ac:chgData name="Tan, Roger" userId="f6f33758-bd69-4951-8148-181de3b92474" providerId="ADAL" clId="{A436842E-EA5C-4A6D-B51D-DDAE8BC6E9BD}" dt="2023-11-05T04:20:38.187" v="5292"/>
          <ac:spMkLst>
            <pc:docMk/>
            <pc:sldMk cId="2839849100" sldId="362"/>
            <ac:spMk id="159" creationId="{9CF7D556-85F1-E05F-789C-35EF2BD8DBC4}"/>
          </ac:spMkLst>
        </pc:spChg>
        <pc:spChg chg="mod">
          <ac:chgData name="Tan, Roger" userId="f6f33758-bd69-4951-8148-181de3b92474" providerId="ADAL" clId="{A436842E-EA5C-4A6D-B51D-DDAE8BC6E9BD}" dt="2023-11-05T04:20:38.196" v="5326"/>
          <ac:spMkLst>
            <pc:docMk/>
            <pc:sldMk cId="2839849100" sldId="362"/>
            <ac:spMk id="180" creationId="{495516FC-4492-DB45-850D-C071F382690F}"/>
          </ac:spMkLst>
        </pc:spChg>
        <pc:spChg chg="mod">
          <ac:chgData name="Tan, Roger" userId="f6f33758-bd69-4951-8148-181de3b92474" providerId="ADAL" clId="{A436842E-EA5C-4A6D-B51D-DDAE8BC6E9BD}" dt="2023-11-05T04:20:38.195" v="5322"/>
          <ac:spMkLst>
            <pc:docMk/>
            <pc:sldMk cId="2839849100" sldId="362"/>
            <ac:spMk id="181" creationId="{0016AC2B-AEEF-9E72-77ED-6A1A98AC1DC5}"/>
          </ac:spMkLst>
        </pc:spChg>
        <pc:spChg chg="mod ord">
          <ac:chgData name="Tan, Roger" userId="f6f33758-bd69-4951-8148-181de3b92474" providerId="ADAL" clId="{A436842E-EA5C-4A6D-B51D-DDAE8BC6E9BD}" dt="2023-11-05T04:20:38.198" v="5332"/>
          <ac:spMkLst>
            <pc:docMk/>
            <pc:sldMk cId="2839849100" sldId="362"/>
            <ac:spMk id="268" creationId="{620E1BE2-51C7-9550-5A2A-E9125E5555C5}"/>
          </ac:spMkLst>
        </pc:spChg>
        <pc:spChg chg="del">
          <ac:chgData name="Tan, Roger" userId="f6f33758-bd69-4951-8148-181de3b92474" providerId="ADAL" clId="{A436842E-EA5C-4A6D-B51D-DDAE8BC6E9BD}" dt="2023-11-05T04:20:37.993" v="5009"/>
          <ac:spMkLst>
            <pc:docMk/>
            <pc:sldMk cId="2839849100" sldId="362"/>
            <ac:spMk id="279" creationId="{162B4E5D-8816-5EAF-99C6-EE43368713C6}"/>
          </ac:spMkLst>
        </pc:spChg>
        <pc:spChg chg="del">
          <ac:chgData name="Tan, Roger" userId="f6f33758-bd69-4951-8148-181de3b92474" providerId="ADAL" clId="{A436842E-EA5C-4A6D-B51D-DDAE8BC6E9BD}" dt="2023-11-05T04:20:38.004" v="5025"/>
          <ac:spMkLst>
            <pc:docMk/>
            <pc:sldMk cId="2839849100" sldId="362"/>
            <ac:spMk id="280" creationId="{3A3E0FE5-3234-A3CB-6527-E0E365B5EEE0}"/>
          </ac:spMkLst>
        </pc:spChg>
        <pc:spChg chg="del">
          <ac:chgData name="Tan, Roger" userId="f6f33758-bd69-4951-8148-181de3b92474" providerId="ADAL" clId="{A436842E-EA5C-4A6D-B51D-DDAE8BC6E9BD}" dt="2023-11-05T04:20:38.010" v="5040"/>
          <ac:spMkLst>
            <pc:docMk/>
            <pc:sldMk cId="2839849100" sldId="362"/>
            <ac:spMk id="281" creationId="{905F8DCA-D892-6433-1D92-FAC9DF1ED391}"/>
          </ac:spMkLst>
        </pc:spChg>
        <pc:spChg chg="del">
          <ac:chgData name="Tan, Roger" userId="f6f33758-bd69-4951-8148-181de3b92474" providerId="ADAL" clId="{A436842E-EA5C-4A6D-B51D-DDAE8BC6E9BD}" dt="2023-11-05T04:20:38.015" v="5053"/>
          <ac:spMkLst>
            <pc:docMk/>
            <pc:sldMk cId="2839849100" sldId="362"/>
            <ac:spMk id="282" creationId="{B6090B68-55B8-4631-E2F9-87911AD5DFD6}"/>
          </ac:spMkLst>
        </pc:spChg>
        <pc:spChg chg="del">
          <ac:chgData name="Tan, Roger" userId="f6f33758-bd69-4951-8148-181de3b92474" providerId="ADAL" clId="{A436842E-EA5C-4A6D-B51D-DDAE8BC6E9BD}" dt="2023-11-05T04:20:38.022" v="5069"/>
          <ac:spMkLst>
            <pc:docMk/>
            <pc:sldMk cId="2839849100" sldId="362"/>
            <ac:spMk id="283" creationId="{A1F534C2-723C-578D-1683-72FF7DCE8B00}"/>
          </ac:spMkLst>
        </pc:spChg>
        <pc:spChg chg="del">
          <ac:chgData name="Tan, Roger" userId="f6f33758-bd69-4951-8148-181de3b92474" providerId="ADAL" clId="{A436842E-EA5C-4A6D-B51D-DDAE8BC6E9BD}" dt="2023-11-05T04:20:38.029" v="5084"/>
          <ac:spMkLst>
            <pc:docMk/>
            <pc:sldMk cId="2839849100" sldId="362"/>
            <ac:spMk id="284" creationId="{755EE9AE-DC32-4196-9644-28D8038ABE8E}"/>
          </ac:spMkLst>
        </pc:spChg>
        <pc:spChg chg="del">
          <ac:chgData name="Tan, Roger" userId="f6f33758-bd69-4951-8148-181de3b92474" providerId="ADAL" clId="{A436842E-EA5C-4A6D-B51D-DDAE8BC6E9BD}" dt="2023-11-05T04:20:38.036" v="5097"/>
          <ac:spMkLst>
            <pc:docMk/>
            <pc:sldMk cId="2839849100" sldId="362"/>
            <ac:spMk id="285" creationId="{C9765B4B-AAEB-9635-60C2-163A8D1E4565}"/>
          </ac:spMkLst>
        </pc:spChg>
        <pc:spChg chg="del">
          <ac:chgData name="Tan, Roger" userId="f6f33758-bd69-4951-8148-181de3b92474" providerId="ADAL" clId="{A436842E-EA5C-4A6D-B51D-DDAE8BC6E9BD}" dt="2023-11-05T04:20:38.046" v="5113"/>
          <ac:spMkLst>
            <pc:docMk/>
            <pc:sldMk cId="2839849100" sldId="362"/>
            <ac:spMk id="286" creationId="{057A9AD9-8DE8-F989-3600-DE26838C447A}"/>
          </ac:spMkLst>
        </pc:spChg>
        <pc:spChg chg="del">
          <ac:chgData name="Tan, Roger" userId="f6f33758-bd69-4951-8148-181de3b92474" providerId="ADAL" clId="{A436842E-EA5C-4A6D-B51D-DDAE8BC6E9BD}" dt="2023-11-05T04:20:38.053" v="5128"/>
          <ac:spMkLst>
            <pc:docMk/>
            <pc:sldMk cId="2839849100" sldId="362"/>
            <ac:spMk id="287" creationId="{ED3B12BB-D3D3-546E-4AC2-8BCC1B68E4B9}"/>
          </ac:spMkLst>
        </pc:spChg>
        <pc:spChg chg="mod">
          <ac:chgData name="Tan, Roger" userId="f6f33758-bd69-4951-8148-181de3b92474" providerId="ADAL" clId="{A436842E-EA5C-4A6D-B51D-DDAE8BC6E9BD}" dt="2023-11-05T04:20:38.195" v="5323"/>
          <ac:spMkLst>
            <pc:docMk/>
            <pc:sldMk cId="2839849100" sldId="362"/>
            <ac:spMk id="302" creationId="{B97A568E-E365-8644-0CBA-4A9BCB1AA49E}"/>
          </ac:spMkLst>
        </pc:spChg>
        <pc:spChg chg="mod ord">
          <ac:chgData name="Tan, Roger" userId="f6f33758-bd69-4951-8148-181de3b92474" providerId="ADAL" clId="{A436842E-EA5C-4A6D-B51D-DDAE8BC6E9BD}" dt="2023-11-05T04:22:38.543" v="5395" actId="20577"/>
          <ac:spMkLst>
            <pc:docMk/>
            <pc:sldMk cId="2839849100" sldId="362"/>
            <ac:spMk id="320" creationId="{428CD0BE-F5FF-0DDE-5410-AA6031A64292}"/>
          </ac:spMkLst>
        </pc:spChg>
        <pc:spChg chg="mod ord">
          <ac:chgData name="Tan, Roger" userId="f6f33758-bd69-4951-8148-181de3b92474" providerId="ADAL" clId="{A436842E-EA5C-4A6D-B51D-DDAE8BC6E9BD}" dt="2023-11-05T04:23:54.477" v="5398" actId="1076"/>
          <ac:spMkLst>
            <pc:docMk/>
            <pc:sldMk cId="2839849100" sldId="362"/>
            <ac:spMk id="328" creationId="{60E4F3CA-8AB4-32EB-474E-DC41C572941D}"/>
          </ac:spMkLst>
        </pc:spChg>
        <pc:graphicFrameChg chg="mod">
          <ac:chgData name="Tan, Roger" userId="f6f33758-bd69-4951-8148-181de3b92474" providerId="ADAL" clId="{A436842E-EA5C-4A6D-B51D-DDAE8BC6E9BD}" dt="2023-11-05T04:20:38.208" v="5354"/>
          <ac:graphicFrameMkLst>
            <pc:docMk/>
            <pc:sldMk cId="2839849100" sldId="362"/>
            <ac:graphicFrameMk id="12" creationId="{86999B2F-C49A-C28E-24BB-2A341C1389B1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5T04:20:38.182" v="5274"/>
          <ac:graphicFrameMkLst>
            <pc:docMk/>
            <pc:sldMk cId="2839849100" sldId="362"/>
            <ac:graphicFrameMk id="23" creationId="{85798B8C-9C44-8147-A142-7EF2DA9F9065}"/>
          </ac:graphicFrameMkLst>
        </pc:graphicFrameChg>
        <pc:graphicFrameChg chg="del">
          <ac:chgData name="Tan, Roger" userId="f6f33758-bd69-4951-8148-181de3b92474" providerId="ADAL" clId="{A436842E-EA5C-4A6D-B51D-DDAE8BC6E9BD}" dt="2023-11-05T04:20:38.158" v="5264"/>
          <ac:graphicFrameMkLst>
            <pc:docMk/>
            <pc:sldMk cId="2839849100" sldId="362"/>
            <ac:graphicFrameMk id="319" creationId="{18494ACF-A97A-D3B9-E8A6-A1100CBB5F3B}"/>
          </ac:graphicFrameMkLst>
        </pc:graphicFrameChg>
        <pc:picChg chg="mod ord">
          <ac:chgData name="Tan, Roger" userId="f6f33758-bd69-4951-8148-181de3b92474" providerId="ADAL" clId="{A436842E-EA5C-4A6D-B51D-DDAE8BC6E9BD}" dt="2023-11-05T04:20:38.201" v="5346"/>
          <ac:picMkLst>
            <pc:docMk/>
            <pc:sldMk cId="2839849100" sldId="362"/>
            <ac:picMk id="7" creationId="{C7F3ED88-8671-0D27-9826-F64691A03C4B}"/>
          </ac:picMkLst>
        </pc:picChg>
        <pc:picChg chg="mod ord">
          <ac:chgData name="Tan, Roger" userId="f6f33758-bd69-4951-8148-181de3b92474" providerId="ADAL" clId="{A436842E-EA5C-4A6D-B51D-DDAE8BC6E9BD}" dt="2023-11-05T04:20:38.201" v="5348"/>
          <ac:picMkLst>
            <pc:docMk/>
            <pc:sldMk cId="2839849100" sldId="362"/>
            <ac:picMk id="8" creationId="{00E9C92C-1BDA-7D71-1CF7-CCE4A26BD6FB}"/>
          </ac:picMkLst>
        </pc:picChg>
        <pc:cxnChg chg="mod ord">
          <ac:chgData name="Tan, Roger" userId="f6f33758-bd69-4951-8148-181de3b92474" providerId="ADAL" clId="{A436842E-EA5C-4A6D-B51D-DDAE8BC6E9BD}" dt="2023-11-05T04:20:38.183" v="5276"/>
          <ac:cxnSpMkLst>
            <pc:docMk/>
            <pc:sldMk cId="2839849100" sldId="362"/>
            <ac:cxnSpMk id="90" creationId="{24C7EDF7-D160-86AB-C2FD-26A84CBF77C6}"/>
          </ac:cxnSpMkLst>
        </pc:cxnChg>
        <pc:cxnChg chg="mod ord">
          <ac:chgData name="Tan, Roger" userId="f6f33758-bd69-4951-8148-181de3b92474" providerId="ADAL" clId="{A436842E-EA5C-4A6D-B51D-DDAE8BC6E9BD}" dt="2023-11-05T04:20:38.185" v="5286"/>
          <ac:cxnSpMkLst>
            <pc:docMk/>
            <pc:sldMk cId="2839849100" sldId="362"/>
            <ac:cxnSpMk id="94" creationId="{DFED300D-B7EE-DE5F-3D67-BE178E9203EB}"/>
          </ac:cxnSpMkLst>
        </pc:cxnChg>
        <pc:cxnChg chg="mod ord">
          <ac:chgData name="Tan, Roger" userId="f6f33758-bd69-4951-8148-181de3b92474" providerId="ADAL" clId="{A436842E-EA5C-4A6D-B51D-DDAE8BC6E9BD}" dt="2023-11-05T04:20:38.186" v="5290"/>
          <ac:cxnSpMkLst>
            <pc:docMk/>
            <pc:sldMk cId="2839849100" sldId="362"/>
            <ac:cxnSpMk id="98" creationId="{E06BCB14-D4F0-79C4-7E01-C91B58A327F6}"/>
          </ac:cxnSpMkLst>
        </pc:cxnChg>
        <pc:cxnChg chg="mod ord">
          <ac:chgData name="Tan, Roger" userId="f6f33758-bd69-4951-8148-181de3b92474" providerId="ADAL" clId="{A436842E-EA5C-4A6D-B51D-DDAE8BC6E9BD}" dt="2023-11-05T04:20:38.186" v="5288"/>
          <ac:cxnSpMkLst>
            <pc:docMk/>
            <pc:sldMk cId="2839849100" sldId="362"/>
            <ac:cxnSpMk id="104" creationId="{52636944-78F9-2626-E131-4011050DD943}"/>
          </ac:cxnSpMkLst>
        </pc:cxnChg>
        <pc:cxnChg chg="mod ord">
          <ac:chgData name="Tan, Roger" userId="f6f33758-bd69-4951-8148-181de3b92474" providerId="ADAL" clId="{A436842E-EA5C-4A6D-B51D-DDAE8BC6E9BD}" dt="2023-11-05T04:20:38.183" v="5278"/>
          <ac:cxnSpMkLst>
            <pc:docMk/>
            <pc:sldMk cId="2839849100" sldId="362"/>
            <ac:cxnSpMk id="152" creationId="{D8D3CE6E-3718-C09E-623E-168095831249}"/>
          </ac:cxnSpMkLst>
        </pc:cxnChg>
        <pc:cxnChg chg="mod ord">
          <ac:chgData name="Tan, Roger" userId="f6f33758-bd69-4951-8148-181de3b92474" providerId="ADAL" clId="{A436842E-EA5C-4A6D-B51D-DDAE8BC6E9BD}" dt="2023-11-05T04:20:38.185" v="5282"/>
          <ac:cxnSpMkLst>
            <pc:docMk/>
            <pc:sldMk cId="2839849100" sldId="362"/>
            <ac:cxnSpMk id="153" creationId="{48A3AAF1-7169-29B1-00DF-B44C306A6D83}"/>
          </ac:cxnSpMkLst>
        </pc:cxnChg>
        <pc:cxnChg chg="mod ord">
          <ac:chgData name="Tan, Roger" userId="f6f33758-bd69-4951-8148-181de3b92474" providerId="ADAL" clId="{A436842E-EA5C-4A6D-B51D-DDAE8BC6E9BD}" dt="2023-11-05T04:20:38.183" v="5280"/>
          <ac:cxnSpMkLst>
            <pc:docMk/>
            <pc:sldMk cId="2839849100" sldId="362"/>
            <ac:cxnSpMk id="160" creationId="{11A1A88D-3665-D3BC-CC71-2FB49FD8DA73}"/>
          </ac:cxnSpMkLst>
        </pc:cxnChg>
        <pc:cxnChg chg="mod ord">
          <ac:chgData name="Tan, Roger" userId="f6f33758-bd69-4951-8148-181de3b92474" providerId="ADAL" clId="{A436842E-EA5C-4A6D-B51D-DDAE8BC6E9BD}" dt="2023-11-05T04:20:38.185" v="5284"/>
          <ac:cxnSpMkLst>
            <pc:docMk/>
            <pc:sldMk cId="2839849100" sldId="362"/>
            <ac:cxnSpMk id="161" creationId="{10613AF6-13AA-35E2-23F7-B86450B04B7C}"/>
          </ac:cxnSpMkLst>
        </pc:cxnChg>
        <pc:cxnChg chg="mod ord">
          <ac:chgData name="Tan, Roger" userId="f6f33758-bd69-4951-8148-181de3b92474" providerId="ADAL" clId="{A436842E-EA5C-4A6D-B51D-DDAE8BC6E9BD}" dt="2023-11-05T04:20:38.194" v="5319"/>
          <ac:cxnSpMkLst>
            <pc:docMk/>
            <pc:sldMk cId="2839849100" sldId="362"/>
            <ac:cxnSpMk id="184" creationId="{D979262C-5FE6-B28F-58A8-C9065BB6DC84}"/>
          </ac:cxnSpMkLst>
        </pc:cxnChg>
        <pc:cxnChg chg="mod ord">
          <ac:chgData name="Tan, Roger" userId="f6f33758-bd69-4951-8148-181de3b92474" providerId="ADAL" clId="{A436842E-EA5C-4A6D-B51D-DDAE8BC6E9BD}" dt="2023-11-05T04:20:38.195" v="5321"/>
          <ac:cxnSpMkLst>
            <pc:docMk/>
            <pc:sldMk cId="2839849100" sldId="362"/>
            <ac:cxnSpMk id="265" creationId="{1D903229-5AD7-AAF2-1189-586FF0C3EFF4}"/>
          </ac:cxnSpMkLst>
        </pc:cxnChg>
        <pc:cxnChg chg="mod ord">
          <ac:chgData name="Tan, Roger" userId="f6f33758-bd69-4951-8148-181de3b92474" providerId="ADAL" clId="{A436842E-EA5C-4A6D-B51D-DDAE8BC6E9BD}" dt="2023-11-05T04:20:38.193" v="5315"/>
          <ac:cxnSpMkLst>
            <pc:docMk/>
            <pc:sldMk cId="2839849100" sldId="362"/>
            <ac:cxnSpMk id="269" creationId="{0DA114C1-76AF-0159-B52B-5552BF9E28D5}"/>
          </ac:cxnSpMkLst>
        </pc:cxnChg>
        <pc:cxnChg chg="mod ord">
          <ac:chgData name="Tan, Roger" userId="f6f33758-bd69-4951-8148-181de3b92474" providerId="ADAL" clId="{A436842E-EA5C-4A6D-B51D-DDAE8BC6E9BD}" dt="2023-11-05T04:20:38.194" v="5317"/>
          <ac:cxnSpMkLst>
            <pc:docMk/>
            <pc:sldMk cId="2839849100" sldId="362"/>
            <ac:cxnSpMk id="272" creationId="{7CF1E258-EC98-9C97-7007-2549161DA448}"/>
          </ac:cxnSpMkLst>
        </pc:cxnChg>
        <pc:cxnChg chg="mod ord">
          <ac:chgData name="Tan, Roger" userId="f6f33758-bd69-4951-8148-181de3b92474" providerId="ADAL" clId="{A436842E-EA5C-4A6D-B51D-DDAE8BC6E9BD}" dt="2023-11-05T04:20:38.200" v="5342"/>
          <ac:cxnSpMkLst>
            <pc:docMk/>
            <pc:sldMk cId="2839849100" sldId="362"/>
            <ac:cxnSpMk id="321" creationId="{0C14B2F5-D8B8-A78B-7423-4C62A40D65CC}"/>
          </ac:cxnSpMkLst>
        </pc:cxnChg>
      </pc:sldChg>
      <pc:sldChg chg="addSp delSp modSp add mod modClrScheme delAnim modAnim chgLayout">
        <pc:chgData name="Tan, Roger" userId="f6f33758-bd69-4951-8148-181de3b92474" providerId="ADAL" clId="{A436842E-EA5C-4A6D-B51D-DDAE8BC6E9BD}" dt="2023-11-08T22:29:21.088" v="85806" actId="20577"/>
        <pc:sldMkLst>
          <pc:docMk/>
          <pc:sldMk cId="3808151349" sldId="365"/>
        </pc:sldMkLst>
        <pc:spChg chg="mod">
          <ac:chgData name="Tan, Roger" userId="f6f33758-bd69-4951-8148-181de3b92474" providerId="ADAL" clId="{A436842E-EA5C-4A6D-B51D-DDAE8BC6E9BD}" dt="2023-11-05T06:29:39.622" v="6970" actId="2711"/>
          <ac:spMkLst>
            <pc:docMk/>
            <pc:sldMk cId="3808151349" sldId="365"/>
            <ac:spMk id="6" creationId="{4DE6C70E-1A69-AE49-E029-545C249F93FC}"/>
          </ac:spMkLst>
        </pc:spChg>
        <pc:spChg chg="mod">
          <ac:chgData name="Tan, Roger" userId="f6f33758-bd69-4951-8148-181de3b92474" providerId="ADAL" clId="{A436842E-EA5C-4A6D-B51D-DDAE8BC6E9BD}" dt="2023-11-05T22:52:36.227" v="13669" actId="2711"/>
          <ac:spMkLst>
            <pc:docMk/>
            <pc:sldMk cId="3808151349" sldId="365"/>
            <ac:spMk id="11" creationId="{1F92F76E-7CA0-89D4-777F-0BC5CA96644D}"/>
          </ac:spMkLst>
        </pc:spChg>
        <pc:spChg chg="mod">
          <ac:chgData name="Tan, Roger" userId="f6f33758-bd69-4951-8148-181de3b92474" providerId="ADAL" clId="{A436842E-EA5C-4A6D-B51D-DDAE8BC6E9BD}" dt="2023-11-05T22:52:36.227" v="13669" actId="2711"/>
          <ac:spMkLst>
            <pc:docMk/>
            <pc:sldMk cId="3808151349" sldId="365"/>
            <ac:spMk id="13" creationId="{27A05088-4E9B-9EAC-21B8-64B33BA21870}"/>
          </ac:spMkLst>
        </pc:spChg>
        <pc:spChg chg="mod">
          <ac:chgData name="Tan, Roger" userId="f6f33758-bd69-4951-8148-181de3b92474" providerId="ADAL" clId="{A436842E-EA5C-4A6D-B51D-DDAE8BC6E9BD}" dt="2023-11-05T22:52:36.227" v="13669" actId="2711"/>
          <ac:spMkLst>
            <pc:docMk/>
            <pc:sldMk cId="3808151349" sldId="365"/>
            <ac:spMk id="15" creationId="{0C150EEC-5D02-31F5-A8E5-76088C8B50C4}"/>
          </ac:spMkLst>
        </pc:spChg>
        <pc:spChg chg="mod">
          <ac:chgData name="Tan, Roger" userId="f6f33758-bd69-4951-8148-181de3b92474" providerId="ADAL" clId="{A436842E-EA5C-4A6D-B51D-DDAE8BC6E9BD}" dt="2023-11-07T03:07:40.121" v="37749" actId="1076"/>
          <ac:spMkLst>
            <pc:docMk/>
            <pc:sldMk cId="3808151349" sldId="365"/>
            <ac:spMk id="17" creationId="{582C4572-6724-4ABA-19A8-60BB309B7A89}"/>
          </ac:spMkLst>
        </pc:spChg>
        <pc:spChg chg="mod">
          <ac:chgData name="Tan, Roger" userId="f6f33758-bd69-4951-8148-181de3b92474" providerId="ADAL" clId="{A436842E-EA5C-4A6D-B51D-DDAE8BC6E9BD}" dt="2023-11-07T03:06:12.518" v="37734" actId="207"/>
          <ac:spMkLst>
            <pc:docMk/>
            <pc:sldMk cId="3808151349" sldId="365"/>
            <ac:spMk id="19" creationId="{19EC61A4-8289-F58D-67DB-BEF168CA2923}"/>
          </ac:spMkLst>
        </pc:spChg>
        <pc:spChg chg="mod">
          <ac:chgData name="Tan, Roger" userId="f6f33758-bd69-4951-8148-181de3b92474" providerId="ADAL" clId="{A436842E-EA5C-4A6D-B51D-DDAE8BC6E9BD}" dt="2023-11-07T03:06:14.096" v="37735" actId="207"/>
          <ac:spMkLst>
            <pc:docMk/>
            <pc:sldMk cId="3808151349" sldId="365"/>
            <ac:spMk id="21" creationId="{BD0C1390-A092-43C9-7687-D968C55606B3}"/>
          </ac:spMkLst>
        </pc:spChg>
        <pc:spChg chg="mod">
          <ac:chgData name="Tan, Roger" userId="f6f33758-bd69-4951-8148-181de3b92474" providerId="ADAL" clId="{A436842E-EA5C-4A6D-B51D-DDAE8BC6E9BD}" dt="2023-11-07T17:20:35.033" v="74369" actId="20577"/>
          <ac:spMkLst>
            <pc:docMk/>
            <pc:sldMk cId="3808151349" sldId="365"/>
            <ac:spMk id="23" creationId="{085062C9-E1EF-8DA2-9825-7C696F0759C6}"/>
          </ac:spMkLst>
        </pc:spChg>
        <pc:spChg chg="mod">
          <ac:chgData name="Tan, Roger" userId="f6f33758-bd69-4951-8148-181de3b92474" providerId="ADAL" clId="{A436842E-EA5C-4A6D-B51D-DDAE8BC6E9BD}" dt="2023-11-05T06:05:54.654" v="6612" actId="113"/>
          <ac:spMkLst>
            <pc:docMk/>
            <pc:sldMk cId="3808151349" sldId="365"/>
            <ac:spMk id="24" creationId="{2244DA42-C3CC-EDCC-3A88-043A2E55567C}"/>
          </ac:spMkLst>
        </pc:spChg>
        <pc:spChg chg="add del mod">
          <ac:chgData name="Tan, Roger" userId="f6f33758-bd69-4951-8148-181de3b92474" providerId="ADAL" clId="{A436842E-EA5C-4A6D-B51D-DDAE8BC6E9BD}" dt="2023-11-07T02:53:30.366" v="37584" actId="478"/>
          <ac:spMkLst>
            <pc:docMk/>
            <pc:sldMk cId="3808151349" sldId="365"/>
            <ac:spMk id="28" creationId="{2832BAE2-211B-7225-BF12-D91747372B48}"/>
          </ac:spMkLst>
        </pc:spChg>
        <pc:spChg chg="mod">
          <ac:chgData name="Tan, Roger" userId="f6f33758-bd69-4951-8148-181de3b92474" providerId="ADAL" clId="{A436842E-EA5C-4A6D-B51D-DDAE8BC6E9BD}" dt="2023-11-05T22:52:42.055" v="13672" actId="14100"/>
          <ac:spMkLst>
            <pc:docMk/>
            <pc:sldMk cId="3808151349" sldId="365"/>
            <ac:spMk id="30" creationId="{0BFDEB95-DC05-565C-B4BD-89205AEC5BD4}"/>
          </ac:spMkLst>
        </pc:spChg>
        <pc:spChg chg="mod">
          <ac:chgData name="Tan, Roger" userId="f6f33758-bd69-4951-8148-181de3b92474" providerId="ADAL" clId="{A436842E-EA5C-4A6D-B51D-DDAE8BC6E9BD}" dt="2023-11-07T03:04:45.427" v="37724" actId="12"/>
          <ac:spMkLst>
            <pc:docMk/>
            <pc:sldMk cId="3808151349" sldId="365"/>
            <ac:spMk id="34" creationId="{8414AB94-4614-CF24-9993-74BA355FCD32}"/>
          </ac:spMkLst>
        </pc:spChg>
        <pc:spChg chg="mod topLvl">
          <ac:chgData name="Tan, Roger" userId="f6f33758-bd69-4951-8148-181de3b92474" providerId="ADAL" clId="{A436842E-EA5C-4A6D-B51D-DDAE8BC6E9BD}" dt="2023-11-07T03:08:43.096" v="37762" actId="1076"/>
          <ac:spMkLst>
            <pc:docMk/>
            <pc:sldMk cId="3808151349" sldId="365"/>
            <ac:spMk id="35" creationId="{8A55C520-62CF-91A4-2A3D-03A0868A7316}"/>
          </ac:spMkLst>
        </pc:spChg>
        <pc:spChg chg="mod topLvl">
          <ac:chgData name="Tan, Roger" userId="f6f33758-bd69-4951-8148-181de3b92474" providerId="ADAL" clId="{A436842E-EA5C-4A6D-B51D-DDAE8BC6E9BD}" dt="2023-11-08T22:29:21.088" v="85806" actId="20577"/>
          <ac:spMkLst>
            <pc:docMk/>
            <pc:sldMk cId="3808151349" sldId="365"/>
            <ac:spMk id="36" creationId="{E64AE679-D3A9-651D-26EA-303D76F0AED9}"/>
          </ac:spMkLst>
        </pc:spChg>
        <pc:grpChg chg="mod">
          <ac:chgData name="Tan, Roger" userId="f6f33758-bd69-4951-8148-181de3b92474" providerId="ADAL" clId="{A436842E-EA5C-4A6D-B51D-DDAE8BC6E9BD}" dt="2023-11-05T22:52:39.972" v="13671" actId="14100"/>
          <ac:grpSpMkLst>
            <pc:docMk/>
            <pc:sldMk cId="3808151349" sldId="365"/>
            <ac:grpSpMk id="2" creationId="{645B8BC1-8F9F-EBAF-0206-63A14C5B8F06}"/>
          </ac:grpSpMkLst>
        </pc:grpChg>
        <pc:grpChg chg="del">
          <ac:chgData name="Tan, Roger" userId="f6f33758-bd69-4951-8148-181de3b92474" providerId="ADAL" clId="{A436842E-EA5C-4A6D-B51D-DDAE8BC6E9BD}" dt="2023-11-07T03:01:56.576" v="37677" actId="478"/>
          <ac:grpSpMkLst>
            <pc:docMk/>
            <pc:sldMk cId="3808151349" sldId="365"/>
            <ac:grpSpMk id="7" creationId="{95797A9C-6F66-9D18-D587-612C15A0160B}"/>
          </ac:grpSpMkLst>
        </pc:grpChg>
        <pc:grpChg chg="del mod">
          <ac:chgData name="Tan, Roger" userId="f6f33758-bd69-4951-8148-181de3b92474" providerId="ADAL" clId="{A436842E-EA5C-4A6D-B51D-DDAE8BC6E9BD}" dt="2023-11-07T03:01:55.348" v="37676" actId="478"/>
          <ac:grpSpMkLst>
            <pc:docMk/>
            <pc:sldMk cId="3808151349" sldId="365"/>
            <ac:grpSpMk id="8" creationId="{672CFA6E-3997-ED38-EEB4-4A08E6FDBD85}"/>
          </ac:grpSpMkLst>
        </pc:grpChg>
        <pc:grpChg chg="del mod">
          <ac:chgData name="Tan, Roger" userId="f6f33758-bd69-4951-8148-181de3b92474" providerId="ADAL" clId="{A436842E-EA5C-4A6D-B51D-DDAE8BC6E9BD}" dt="2023-11-07T03:01:12.841" v="37670" actId="478"/>
          <ac:grpSpMkLst>
            <pc:docMk/>
            <pc:sldMk cId="3808151349" sldId="365"/>
            <ac:grpSpMk id="9" creationId="{8D25CEAD-A338-70C6-87CD-0B6F4C9C1B4D}"/>
          </ac:grpSpMkLst>
        </pc:grpChg>
        <pc:grpChg chg="mod">
          <ac:chgData name="Tan, Roger" userId="f6f33758-bd69-4951-8148-181de3b92474" providerId="ADAL" clId="{A436842E-EA5C-4A6D-B51D-DDAE8BC6E9BD}" dt="2023-11-07T03:07:00.843" v="37743" actId="164"/>
          <ac:grpSpMkLst>
            <pc:docMk/>
            <pc:sldMk cId="3808151349" sldId="365"/>
            <ac:grpSpMk id="10" creationId="{A364A7C4-6C79-03C4-0A47-6CC880AA5BEE}"/>
          </ac:grpSpMkLst>
        </pc:grpChg>
        <pc:grpChg chg="add mod">
          <ac:chgData name="Tan, Roger" userId="f6f33758-bd69-4951-8148-181de3b92474" providerId="ADAL" clId="{A436842E-EA5C-4A6D-B51D-DDAE8BC6E9BD}" dt="2023-11-07T03:07:00.843" v="37743" actId="164"/>
          <ac:grpSpMkLst>
            <pc:docMk/>
            <pc:sldMk cId="3808151349" sldId="365"/>
            <ac:grpSpMk id="52" creationId="{DA019D40-CC8E-024D-3997-0A2A286FA5C3}"/>
          </ac:grpSpMkLst>
        </pc:grpChg>
        <pc:grpChg chg="add mod">
          <ac:chgData name="Tan, Roger" userId="f6f33758-bd69-4951-8148-181de3b92474" providerId="ADAL" clId="{A436842E-EA5C-4A6D-B51D-DDAE8BC6E9BD}" dt="2023-11-07T03:08:01.230" v="37752" actId="20577"/>
          <ac:grpSpMkLst>
            <pc:docMk/>
            <pc:sldMk cId="3808151349" sldId="365"/>
            <ac:grpSpMk id="53" creationId="{73695DD5-246F-F7F5-B87E-8802A2CBC059}"/>
          </ac:grpSpMkLst>
        </pc:grpChg>
        <pc:grpChg chg="add mod">
          <ac:chgData name="Tan, Roger" userId="f6f33758-bd69-4951-8148-181de3b92474" providerId="ADAL" clId="{A436842E-EA5C-4A6D-B51D-DDAE8BC6E9BD}" dt="2023-11-07T03:08:49.128" v="37764" actId="20577"/>
          <ac:grpSpMkLst>
            <pc:docMk/>
            <pc:sldMk cId="3808151349" sldId="365"/>
            <ac:grpSpMk id="54" creationId="{0F9A4576-102E-B807-652A-E5060227CDC9}"/>
          </ac:grpSpMkLst>
        </pc:grpChg>
        <pc:graphicFrameChg chg="mod">
          <ac:chgData name="Tan, Roger" userId="f6f33758-bd69-4951-8148-181de3b92474" providerId="ADAL" clId="{A436842E-EA5C-4A6D-B51D-DDAE8BC6E9BD}" dt="2023-11-07T03:03:47.530" v="37714"/>
          <ac:graphicFrameMkLst>
            <pc:docMk/>
            <pc:sldMk cId="3808151349" sldId="365"/>
            <ac:graphicFrameMk id="26" creationId="{0901792F-EE81-E31F-BB45-EF6B90CAE586}"/>
          </ac:graphicFrameMkLst>
        </pc:graphicFrameChg>
        <pc:cxnChg chg="mod">
          <ac:chgData name="Tan, Roger" userId="f6f33758-bd69-4951-8148-181de3b92474" providerId="ADAL" clId="{A436842E-EA5C-4A6D-B51D-DDAE8BC6E9BD}" dt="2023-11-07T03:07:40.121" v="37749" actId="1076"/>
          <ac:cxnSpMkLst>
            <pc:docMk/>
            <pc:sldMk cId="3808151349" sldId="365"/>
            <ac:cxnSpMk id="18" creationId="{FBF895AE-A28F-46BE-3C07-4F079A847EE4}"/>
          </ac:cxnSpMkLst>
        </pc:cxnChg>
        <pc:cxnChg chg="mod">
          <ac:chgData name="Tan, Roger" userId="f6f33758-bd69-4951-8148-181de3b92474" providerId="ADAL" clId="{A436842E-EA5C-4A6D-B51D-DDAE8BC6E9BD}" dt="2023-11-07T03:06:52.879" v="37742" actId="1076"/>
          <ac:cxnSpMkLst>
            <pc:docMk/>
            <pc:sldMk cId="3808151349" sldId="365"/>
            <ac:cxnSpMk id="25" creationId="{9DE6B1D7-91D6-A38C-176D-A5205F284E16}"/>
          </ac:cxnSpMkLst>
        </pc:cxnChg>
        <pc:cxnChg chg="add del mod">
          <ac:chgData name="Tan, Roger" userId="f6f33758-bd69-4951-8148-181de3b92474" providerId="ADAL" clId="{A436842E-EA5C-4A6D-B51D-DDAE8BC6E9BD}" dt="2023-11-07T03:01:22.038" v="37672" actId="478"/>
          <ac:cxnSpMkLst>
            <pc:docMk/>
            <pc:sldMk cId="3808151349" sldId="365"/>
            <ac:cxnSpMk id="31" creationId="{B190E070-6ED8-0F7B-67EF-D70A161D39AD}"/>
          </ac:cxnSpMkLst>
        </pc:cxnChg>
        <pc:cxnChg chg="add del mod">
          <ac:chgData name="Tan, Roger" userId="f6f33758-bd69-4951-8148-181de3b92474" providerId="ADAL" clId="{A436842E-EA5C-4A6D-B51D-DDAE8BC6E9BD}" dt="2023-11-07T03:03:38.784" v="37703" actId="478"/>
          <ac:cxnSpMkLst>
            <pc:docMk/>
            <pc:sldMk cId="3808151349" sldId="365"/>
            <ac:cxnSpMk id="33" creationId="{3FF49C73-E704-ABF3-C5A8-28C768BE39F1}"/>
          </ac:cxnSpMkLst>
        </pc:cxnChg>
        <pc:cxnChg chg="add del mod">
          <ac:chgData name="Tan, Roger" userId="f6f33758-bd69-4951-8148-181de3b92474" providerId="ADAL" clId="{A436842E-EA5C-4A6D-B51D-DDAE8BC6E9BD}" dt="2023-11-07T03:03:01.052" v="37695" actId="478"/>
          <ac:cxnSpMkLst>
            <pc:docMk/>
            <pc:sldMk cId="3808151349" sldId="365"/>
            <ac:cxnSpMk id="37" creationId="{94167532-1D19-124C-FDB5-E56F2EFB3A1D}"/>
          </ac:cxnSpMkLst>
        </pc:cxnChg>
        <pc:cxnChg chg="del mod">
          <ac:chgData name="Tan, Roger" userId="f6f33758-bd69-4951-8148-181de3b92474" providerId="ADAL" clId="{A436842E-EA5C-4A6D-B51D-DDAE8BC6E9BD}" dt="2023-11-07T03:01:56.576" v="37677" actId="478"/>
          <ac:cxnSpMkLst>
            <pc:docMk/>
            <pc:sldMk cId="3808151349" sldId="365"/>
            <ac:cxnSpMk id="38" creationId="{9C2B78A4-F9E6-CAF7-E817-336CB36B46D2}"/>
          </ac:cxnSpMkLst>
        </pc:cxnChg>
        <pc:cxnChg chg="add del mod">
          <ac:chgData name="Tan, Roger" userId="f6f33758-bd69-4951-8148-181de3b92474" providerId="ADAL" clId="{A436842E-EA5C-4A6D-B51D-DDAE8BC6E9BD}" dt="2023-11-07T03:03:22.073" v="37698" actId="478"/>
          <ac:cxnSpMkLst>
            <pc:docMk/>
            <pc:sldMk cId="3808151349" sldId="365"/>
            <ac:cxnSpMk id="42" creationId="{3CC637DE-0CA2-6D7B-3B54-689C31FE90E6}"/>
          </ac:cxnSpMkLst>
        </pc:cxnChg>
        <pc:cxnChg chg="add mod">
          <ac:chgData name="Tan, Roger" userId="f6f33758-bd69-4951-8148-181de3b92474" providerId="ADAL" clId="{A436842E-EA5C-4A6D-B51D-DDAE8BC6E9BD}" dt="2023-11-07T03:08:01.230" v="37752" actId="20577"/>
          <ac:cxnSpMkLst>
            <pc:docMk/>
            <pc:sldMk cId="3808151349" sldId="365"/>
            <ac:cxnSpMk id="43" creationId="{DBC556D8-9CFD-6702-1EF1-4DE8347F0503}"/>
          </ac:cxnSpMkLst>
        </pc:cxnChg>
        <pc:cxnChg chg="add mod">
          <ac:chgData name="Tan, Roger" userId="f6f33758-bd69-4951-8148-181de3b92474" providerId="ADAL" clId="{A436842E-EA5C-4A6D-B51D-DDAE8BC6E9BD}" dt="2023-11-07T03:07:00.843" v="37743" actId="164"/>
          <ac:cxnSpMkLst>
            <pc:docMk/>
            <pc:sldMk cId="3808151349" sldId="365"/>
            <ac:cxnSpMk id="46" creationId="{A5DDA0BF-2FFF-64C1-3D93-2CA62D40653B}"/>
          </ac:cxnSpMkLst>
        </pc:cxnChg>
        <pc:cxnChg chg="del mod topLvl">
          <ac:chgData name="Tan, Roger" userId="f6f33758-bd69-4951-8148-181de3b92474" providerId="ADAL" clId="{A436842E-EA5C-4A6D-B51D-DDAE8BC6E9BD}" dt="2023-11-07T03:01:12.841" v="37670" actId="478"/>
          <ac:cxnSpMkLst>
            <pc:docMk/>
            <pc:sldMk cId="3808151349" sldId="365"/>
            <ac:cxnSpMk id="49" creationId="{1BB74369-D9A1-EDC8-B589-289B49F663B6}"/>
          </ac:cxnSpMkLst>
        </pc:cxnChg>
        <pc:cxnChg chg="add mod">
          <ac:chgData name="Tan, Roger" userId="f6f33758-bd69-4951-8148-181de3b92474" providerId="ADAL" clId="{A436842E-EA5C-4A6D-B51D-DDAE8BC6E9BD}" dt="2023-11-07T03:08:55.638" v="37767" actId="1035"/>
          <ac:cxnSpMkLst>
            <pc:docMk/>
            <pc:sldMk cId="3808151349" sldId="365"/>
            <ac:cxnSpMk id="51" creationId="{2D94AF54-B9C3-4145-5180-AA0852ED6E8A}"/>
          </ac:cxnSpMkLst>
        </pc:cxnChg>
        <pc:cxnChg chg="del mod topLvl">
          <ac:chgData name="Tan, Roger" userId="f6f33758-bd69-4951-8148-181de3b92474" providerId="ADAL" clId="{A436842E-EA5C-4A6D-B51D-DDAE8BC6E9BD}" dt="2023-11-07T03:01:55.348" v="37676" actId="478"/>
          <ac:cxnSpMkLst>
            <pc:docMk/>
            <pc:sldMk cId="3808151349" sldId="365"/>
            <ac:cxnSpMk id="58" creationId="{0427EDFA-37BF-61A2-5365-4BC77788AA46}"/>
          </ac:cxnSpMkLst>
        </pc:cxnChg>
      </pc:sldChg>
      <pc:sldChg chg="modSp mod">
        <pc:chgData name="Tan, Roger" userId="f6f33758-bd69-4951-8148-181de3b92474" providerId="ADAL" clId="{A436842E-EA5C-4A6D-B51D-DDAE8BC6E9BD}" dt="2023-11-06T07:40:44.618" v="20958"/>
        <pc:sldMkLst>
          <pc:docMk/>
          <pc:sldMk cId="717815741" sldId="366"/>
        </pc:sldMkLst>
        <pc:graphicFrameChg chg="mod">
          <ac:chgData name="Tan, Roger" userId="f6f33758-bd69-4951-8148-181de3b92474" providerId="ADAL" clId="{A436842E-EA5C-4A6D-B51D-DDAE8BC6E9BD}" dt="2023-11-06T07:40:44.618" v="20958"/>
          <ac:graphicFrameMkLst>
            <pc:docMk/>
            <pc:sldMk cId="717815741" sldId="366"/>
            <ac:graphicFrameMk id="4" creationId="{FD4A65FB-339A-B2BC-4155-257FFC3BBBB9}"/>
          </ac:graphicFrameMkLst>
        </pc:graphicFrameChg>
      </pc:sldChg>
      <pc:sldChg chg="add del">
        <pc:chgData name="Tan, Roger" userId="f6f33758-bd69-4951-8148-181de3b92474" providerId="ADAL" clId="{A436842E-EA5C-4A6D-B51D-DDAE8BC6E9BD}" dt="2023-11-05T04:38:24.917" v="5768" actId="47"/>
        <pc:sldMkLst>
          <pc:docMk/>
          <pc:sldMk cId="1399525770" sldId="366"/>
        </pc:sldMkLst>
      </pc:sldChg>
      <pc:sldChg chg="add del">
        <pc:chgData name="Tan, Roger" userId="f6f33758-bd69-4951-8148-181de3b92474" providerId="ADAL" clId="{A436842E-EA5C-4A6D-B51D-DDAE8BC6E9BD}" dt="2023-11-05T04:38:25.793" v="5769" actId="47"/>
        <pc:sldMkLst>
          <pc:docMk/>
          <pc:sldMk cId="349566054" sldId="367"/>
        </pc:sldMkLst>
      </pc:sldChg>
      <pc:sldChg chg="del">
        <pc:chgData name="Tan, Roger" userId="f6f33758-bd69-4951-8148-181de3b92474" providerId="ADAL" clId="{A436842E-EA5C-4A6D-B51D-DDAE8BC6E9BD}" dt="2023-11-05T05:44:38.283" v="5843" actId="47"/>
        <pc:sldMkLst>
          <pc:docMk/>
          <pc:sldMk cId="2206341329" sldId="368"/>
        </pc:sldMkLst>
      </pc:sldChg>
      <pc:sldChg chg="modSp mod">
        <pc:chgData name="Tan, Roger" userId="f6f33758-bd69-4951-8148-181de3b92474" providerId="ADAL" clId="{A436842E-EA5C-4A6D-B51D-DDAE8BC6E9BD}" dt="2023-11-08T08:12:51.301" v="77360" actId="20577"/>
        <pc:sldMkLst>
          <pc:docMk/>
          <pc:sldMk cId="4271637465" sldId="369"/>
        </pc:sldMkLst>
        <pc:spChg chg="mod">
          <ac:chgData name="Tan, Roger" userId="f6f33758-bd69-4951-8148-181de3b92474" providerId="ADAL" clId="{A436842E-EA5C-4A6D-B51D-DDAE8BC6E9BD}" dt="2023-11-08T08:12:51.301" v="77360" actId="20577"/>
          <ac:spMkLst>
            <pc:docMk/>
            <pc:sldMk cId="4271637465" sldId="369"/>
            <ac:spMk id="21" creationId="{2F2BBDCF-14DC-CCAD-9E0A-0FA4DF8DE8B6}"/>
          </ac:spMkLst>
        </pc:spChg>
        <pc:spChg chg="mod">
          <ac:chgData name="Tan, Roger" userId="f6f33758-bd69-4951-8148-181de3b92474" providerId="ADAL" clId="{A436842E-EA5C-4A6D-B51D-DDAE8BC6E9BD}" dt="2023-11-07T10:05:05.215" v="73303" actId="20577"/>
          <ac:spMkLst>
            <pc:docMk/>
            <pc:sldMk cId="4271637465" sldId="369"/>
            <ac:spMk id="92" creationId="{89F3CD0B-6DC9-F623-70AC-D7619CAEEFA8}"/>
          </ac:spMkLst>
        </pc:spChg>
      </pc:sldChg>
      <pc:sldChg chg="modSp mod">
        <pc:chgData name="Tan, Roger" userId="f6f33758-bd69-4951-8148-181de3b92474" providerId="ADAL" clId="{A436842E-EA5C-4A6D-B51D-DDAE8BC6E9BD}" dt="2023-11-08T05:37:35.155" v="76880"/>
        <pc:sldMkLst>
          <pc:docMk/>
          <pc:sldMk cId="3649468413" sldId="370"/>
        </pc:sldMkLst>
        <pc:graphicFrameChg chg="mod">
          <ac:chgData name="Tan, Roger" userId="f6f33758-bd69-4951-8148-181de3b92474" providerId="ADAL" clId="{A436842E-EA5C-4A6D-B51D-DDAE8BC6E9BD}" dt="2023-11-08T05:37:35.155" v="76880"/>
          <ac:graphicFrameMkLst>
            <pc:docMk/>
            <pc:sldMk cId="3649468413" sldId="370"/>
            <ac:graphicFrameMk id="4" creationId="{FD4A65FB-339A-B2BC-4155-257FFC3BBBB9}"/>
          </ac:graphicFrameMkLst>
        </pc:graphicFrameChg>
      </pc:sldChg>
      <pc:sldChg chg="modSp mod">
        <pc:chgData name="Tan, Roger" userId="f6f33758-bd69-4951-8148-181de3b92474" providerId="ADAL" clId="{A436842E-EA5C-4A6D-B51D-DDAE8BC6E9BD}" dt="2023-11-08T05:36:53.079" v="76878"/>
        <pc:sldMkLst>
          <pc:docMk/>
          <pc:sldMk cId="2267929564" sldId="371"/>
        </pc:sldMkLst>
        <pc:graphicFrameChg chg="mod">
          <ac:chgData name="Tan, Roger" userId="f6f33758-bd69-4951-8148-181de3b92474" providerId="ADAL" clId="{A436842E-EA5C-4A6D-B51D-DDAE8BC6E9BD}" dt="2023-11-08T05:36:53.079" v="76878"/>
          <ac:graphicFrameMkLst>
            <pc:docMk/>
            <pc:sldMk cId="2267929564" sldId="371"/>
            <ac:graphicFrameMk id="4" creationId="{FD4A65FB-339A-B2BC-4155-257FFC3BBBB9}"/>
          </ac:graphicFrameMkLst>
        </pc:graphicFrameChg>
      </pc:sldChg>
      <pc:sldChg chg="addSp delSp modSp mod">
        <pc:chgData name="Tan, Roger" userId="f6f33758-bd69-4951-8148-181de3b92474" providerId="ADAL" clId="{A436842E-EA5C-4A6D-B51D-DDAE8BC6E9BD}" dt="2023-11-08T18:22:50.611" v="79507"/>
        <pc:sldMkLst>
          <pc:docMk/>
          <pc:sldMk cId="160926467" sldId="372"/>
        </pc:sldMkLst>
        <pc:spChg chg="mod ord">
          <ac:chgData name="Tan, Roger" userId="f6f33758-bd69-4951-8148-181de3b92474" providerId="ADAL" clId="{A436842E-EA5C-4A6D-B51D-DDAE8BC6E9BD}" dt="2023-11-08T18:22:50.599" v="79499"/>
          <ac:spMkLst>
            <pc:docMk/>
            <pc:sldMk cId="160926467" sldId="372"/>
            <ac:spMk id="2" creationId="{9DA16071-248C-1861-259A-7DEC01F81EBD}"/>
          </ac:spMkLst>
        </pc:spChg>
        <pc:spChg chg="mod ord">
          <ac:chgData name="Tan, Roger" userId="f6f33758-bd69-4951-8148-181de3b92474" providerId="ADAL" clId="{A436842E-EA5C-4A6D-B51D-DDAE8BC6E9BD}" dt="2023-11-08T18:22:50.588" v="79461"/>
          <ac:spMkLst>
            <pc:docMk/>
            <pc:sldMk cId="160926467" sldId="372"/>
            <ac:spMk id="3" creationId="{62A1BD13-29CB-D6ED-22CC-D90A70D0279D}"/>
          </ac:spMkLst>
        </pc:spChg>
        <pc:spChg chg="mod">
          <ac:chgData name="Tan, Roger" userId="f6f33758-bd69-4951-8148-181de3b92474" providerId="ADAL" clId="{A436842E-EA5C-4A6D-B51D-DDAE8BC6E9BD}" dt="2023-11-08T18:22:50.585" v="79451"/>
          <ac:spMkLst>
            <pc:docMk/>
            <pc:sldMk cId="160926467" sldId="372"/>
            <ac:spMk id="25" creationId="{A8C7F538-E7B0-CC28-516B-987926A962E8}"/>
          </ac:spMkLst>
        </pc:spChg>
        <pc:spChg chg="mod">
          <ac:chgData name="Tan, Roger" userId="f6f33758-bd69-4951-8148-181de3b92474" providerId="ADAL" clId="{A436842E-EA5C-4A6D-B51D-DDAE8BC6E9BD}" dt="2023-11-08T18:22:50.582" v="79442"/>
          <ac:spMkLst>
            <pc:docMk/>
            <pc:sldMk cId="160926467" sldId="372"/>
            <ac:spMk id="27" creationId="{C4E6FDA9-26A9-E30B-3874-9940AA858ABD}"/>
          </ac:spMkLst>
        </pc:spChg>
        <pc:spChg chg="mod">
          <ac:chgData name="Tan, Roger" userId="f6f33758-bd69-4951-8148-181de3b92474" providerId="ADAL" clId="{A436842E-EA5C-4A6D-B51D-DDAE8BC6E9BD}" dt="2023-11-08T18:22:50.587" v="79457"/>
          <ac:spMkLst>
            <pc:docMk/>
            <pc:sldMk cId="160926467" sldId="372"/>
            <ac:spMk id="28" creationId="{1ADEE2F2-209E-5A9E-E809-2248A04C03A3}"/>
          </ac:spMkLst>
        </pc:spChg>
        <pc:spChg chg="add del mod modVis">
          <ac:chgData name="Tan, Roger" userId="f6f33758-bd69-4951-8148-181de3b92474" providerId="ADAL" clId="{A436842E-EA5C-4A6D-B51D-DDAE8BC6E9BD}" dt="2023-11-08T18:22:50.600" v="79505"/>
          <ac:spMkLst>
            <pc:docMk/>
            <pc:sldMk cId="160926467" sldId="372"/>
            <ac:spMk id="35" creationId="{160FBAD2-40DA-15CB-6BC1-33211575C22F}"/>
          </ac:spMkLst>
        </pc:spChg>
        <pc:spChg chg="add mod ord replST">
          <ac:chgData name="Tan, Roger" userId="f6f33758-bd69-4951-8148-181de3b92474" providerId="ADAL" clId="{A436842E-EA5C-4A6D-B51D-DDAE8BC6E9BD}" dt="2023-11-08T18:22:50.580" v="79430"/>
          <ac:spMkLst>
            <pc:docMk/>
            <pc:sldMk cId="160926467" sldId="372"/>
            <ac:spMk id="36" creationId="{4660BA44-BFDB-7EA4-B5E8-739DEE722914}"/>
          </ac:spMkLst>
        </pc:spChg>
        <pc:spChg chg="add mod ord replST">
          <ac:chgData name="Tan, Roger" userId="f6f33758-bd69-4951-8148-181de3b92474" providerId="ADAL" clId="{A436842E-EA5C-4A6D-B51D-DDAE8BC6E9BD}" dt="2023-11-08T18:22:50.573" v="79402"/>
          <ac:spMkLst>
            <pc:docMk/>
            <pc:sldMk cId="160926467" sldId="372"/>
            <ac:spMk id="37" creationId="{8598A452-52EE-066C-4F57-E16E07E52ABD}"/>
          </ac:spMkLst>
        </pc:spChg>
        <pc:spChg chg="add mod replST">
          <ac:chgData name="Tan, Roger" userId="f6f33758-bd69-4951-8148-181de3b92474" providerId="ADAL" clId="{A436842E-EA5C-4A6D-B51D-DDAE8BC6E9BD}" dt="2023-11-08T18:22:50.571" v="79397"/>
          <ac:spMkLst>
            <pc:docMk/>
            <pc:sldMk cId="160926467" sldId="372"/>
            <ac:spMk id="38" creationId="{E9240893-9451-BF59-F755-9A32557CF72A}"/>
          </ac:spMkLst>
        </pc:spChg>
        <pc:spChg chg="add mod ord replST">
          <ac:chgData name="Tan, Roger" userId="f6f33758-bd69-4951-8148-181de3b92474" providerId="ADAL" clId="{A436842E-EA5C-4A6D-B51D-DDAE8BC6E9BD}" dt="2023-11-08T18:22:50.573" v="79404"/>
          <ac:spMkLst>
            <pc:docMk/>
            <pc:sldMk cId="160926467" sldId="372"/>
            <ac:spMk id="39" creationId="{D216678A-43FC-6801-E1B1-D0374CAF5CF9}"/>
          </ac:spMkLst>
        </pc:spChg>
        <pc:spChg chg="del">
          <ac:chgData name="Tan, Roger" userId="f6f33758-bd69-4951-8148-181de3b92474" providerId="ADAL" clId="{A436842E-EA5C-4A6D-B51D-DDAE8BC6E9BD}" dt="2023-11-08T18:22:50.026" v="78619"/>
          <ac:spMkLst>
            <pc:docMk/>
            <pc:sldMk cId="160926467" sldId="372"/>
            <ac:spMk id="40" creationId="{2937D7AD-5770-12D9-9257-CD806D82C4AE}"/>
          </ac:spMkLst>
        </pc:spChg>
        <pc:spChg chg="del">
          <ac:chgData name="Tan, Roger" userId="f6f33758-bd69-4951-8148-181de3b92474" providerId="ADAL" clId="{A436842E-EA5C-4A6D-B51D-DDAE8BC6E9BD}" dt="2023-11-08T18:22:50.042" v="78635"/>
          <ac:spMkLst>
            <pc:docMk/>
            <pc:sldMk cId="160926467" sldId="372"/>
            <ac:spMk id="41" creationId="{DEDE3323-8BD1-1667-4C71-EB72830A29E8}"/>
          </ac:spMkLst>
        </pc:spChg>
        <pc:spChg chg="del">
          <ac:chgData name="Tan, Roger" userId="f6f33758-bd69-4951-8148-181de3b92474" providerId="ADAL" clId="{A436842E-EA5C-4A6D-B51D-DDAE8BC6E9BD}" dt="2023-11-08T18:22:50.049" v="78650"/>
          <ac:spMkLst>
            <pc:docMk/>
            <pc:sldMk cId="160926467" sldId="372"/>
            <ac:spMk id="42" creationId="{EF5F31F4-A273-9B1A-F0D9-3CDFFF7271E0}"/>
          </ac:spMkLst>
        </pc:spChg>
        <pc:spChg chg="mod">
          <ac:chgData name="Tan, Roger" userId="f6f33758-bd69-4951-8148-181de3b92474" providerId="ADAL" clId="{A436842E-EA5C-4A6D-B51D-DDAE8BC6E9BD}" dt="2023-11-08T18:22:50.585" v="79452"/>
          <ac:spMkLst>
            <pc:docMk/>
            <pc:sldMk cId="160926467" sldId="372"/>
            <ac:spMk id="45" creationId="{A3A2DE02-66BD-6306-848B-E6B12A825C58}"/>
          </ac:spMkLst>
        </pc:spChg>
        <pc:spChg chg="mod">
          <ac:chgData name="Tan, Roger" userId="f6f33758-bd69-4951-8148-181de3b92474" providerId="ADAL" clId="{A436842E-EA5C-4A6D-B51D-DDAE8BC6E9BD}" dt="2023-11-08T18:22:50.585" v="79449"/>
          <ac:spMkLst>
            <pc:docMk/>
            <pc:sldMk cId="160926467" sldId="372"/>
            <ac:spMk id="50" creationId="{83AB9063-8ACB-512C-24BB-B17BBA415C1B}"/>
          </ac:spMkLst>
        </pc:spChg>
        <pc:spChg chg="mod">
          <ac:chgData name="Tan, Roger" userId="f6f33758-bd69-4951-8148-181de3b92474" providerId="ADAL" clId="{A436842E-EA5C-4A6D-B51D-DDAE8BC6E9BD}" dt="2023-11-08T18:22:50.583" v="79443"/>
          <ac:spMkLst>
            <pc:docMk/>
            <pc:sldMk cId="160926467" sldId="372"/>
            <ac:spMk id="55" creationId="{81F04892-2CBE-05E8-1FF2-2F3C18C79DDA}"/>
          </ac:spMkLst>
        </pc:spChg>
        <pc:spChg chg="del">
          <ac:chgData name="Tan, Roger" userId="f6f33758-bd69-4951-8148-181de3b92474" providerId="ADAL" clId="{A436842E-EA5C-4A6D-B51D-DDAE8BC6E9BD}" dt="2023-11-08T18:22:50.105" v="78795"/>
          <ac:spMkLst>
            <pc:docMk/>
            <pc:sldMk cId="160926467" sldId="372"/>
            <ac:spMk id="57" creationId="{0FC71AF1-CD86-EBF3-66B5-6E6CA1F57ACB}"/>
          </ac:spMkLst>
        </pc:spChg>
        <pc:spChg chg="del">
          <ac:chgData name="Tan, Roger" userId="f6f33758-bd69-4951-8148-181de3b92474" providerId="ADAL" clId="{A436842E-EA5C-4A6D-B51D-DDAE8BC6E9BD}" dt="2023-11-08T18:22:50.111" v="78811"/>
          <ac:spMkLst>
            <pc:docMk/>
            <pc:sldMk cId="160926467" sldId="372"/>
            <ac:spMk id="59" creationId="{C16AA5DF-2B22-BF51-5288-B5A896F22C19}"/>
          </ac:spMkLst>
        </pc:spChg>
        <pc:spChg chg="del">
          <ac:chgData name="Tan, Roger" userId="f6f33758-bd69-4951-8148-181de3b92474" providerId="ADAL" clId="{A436842E-EA5C-4A6D-B51D-DDAE8BC6E9BD}" dt="2023-11-08T18:22:50.116" v="78826"/>
          <ac:spMkLst>
            <pc:docMk/>
            <pc:sldMk cId="160926467" sldId="372"/>
            <ac:spMk id="60" creationId="{74A7D67A-2378-B885-83D4-3A23D10860AA}"/>
          </ac:spMkLst>
        </pc:spChg>
        <pc:spChg chg="mod">
          <ac:chgData name="Tan, Roger" userId="f6f33758-bd69-4951-8148-181de3b92474" providerId="ADAL" clId="{A436842E-EA5C-4A6D-B51D-DDAE8BC6E9BD}" dt="2023-11-08T18:22:50.595" v="79487"/>
          <ac:spMkLst>
            <pc:docMk/>
            <pc:sldMk cId="160926467" sldId="372"/>
            <ac:spMk id="411" creationId="{B3ED5D1D-3A10-6FF1-AAE5-D85346506BB1}"/>
          </ac:spMkLst>
        </pc:spChg>
        <pc:spChg chg="mod">
          <ac:chgData name="Tan, Roger" userId="f6f33758-bd69-4951-8148-181de3b92474" providerId="ADAL" clId="{A436842E-EA5C-4A6D-B51D-DDAE8BC6E9BD}" dt="2023-11-08T18:22:50.584" v="79446"/>
          <ac:spMkLst>
            <pc:docMk/>
            <pc:sldMk cId="160926467" sldId="372"/>
            <ac:spMk id="412" creationId="{6CC7986B-3E4B-19F2-3290-89AE5E9D943D}"/>
          </ac:spMkLst>
        </pc:spChg>
        <pc:spChg chg="mod">
          <ac:chgData name="Tan, Roger" userId="f6f33758-bd69-4951-8148-181de3b92474" providerId="ADAL" clId="{A436842E-EA5C-4A6D-B51D-DDAE8BC6E9BD}" dt="2023-11-08T18:22:50.596" v="79489"/>
          <ac:spMkLst>
            <pc:docMk/>
            <pc:sldMk cId="160926467" sldId="372"/>
            <ac:spMk id="417" creationId="{7E95A5CB-9B2F-97C1-FC1D-A712101F58AF}"/>
          </ac:spMkLst>
        </pc:spChg>
        <pc:spChg chg="mod">
          <ac:chgData name="Tan, Roger" userId="f6f33758-bd69-4951-8148-181de3b92474" providerId="ADAL" clId="{A436842E-EA5C-4A6D-B51D-DDAE8BC6E9BD}" dt="2023-11-08T18:22:50.597" v="79493"/>
          <ac:spMkLst>
            <pc:docMk/>
            <pc:sldMk cId="160926467" sldId="372"/>
            <ac:spMk id="418" creationId="{636CA115-C575-48CA-37D2-287435EDEB9A}"/>
          </ac:spMkLst>
        </pc:spChg>
        <pc:spChg chg="mod">
          <ac:chgData name="Tan, Roger" userId="f6f33758-bd69-4951-8148-181de3b92474" providerId="ADAL" clId="{A436842E-EA5C-4A6D-B51D-DDAE8BC6E9BD}" dt="2023-11-08T18:22:50.584" v="79447"/>
          <ac:spMkLst>
            <pc:docMk/>
            <pc:sldMk cId="160926467" sldId="372"/>
            <ac:spMk id="434" creationId="{890C81EC-90ED-A141-4B88-8C94BE21B802}"/>
          </ac:spMkLst>
        </pc:spChg>
        <pc:spChg chg="mod">
          <ac:chgData name="Tan, Roger" userId="f6f33758-bd69-4951-8148-181de3b92474" providerId="ADAL" clId="{A436842E-EA5C-4A6D-B51D-DDAE8BC6E9BD}" dt="2023-11-08T18:22:50.566" v="79384"/>
          <ac:spMkLst>
            <pc:docMk/>
            <pc:sldMk cId="160926467" sldId="372"/>
            <ac:spMk id="435" creationId="{06ECB298-7D04-8719-A8C3-A559DEAB6D10}"/>
          </ac:spMkLst>
        </pc:spChg>
        <pc:spChg chg="mod">
          <ac:chgData name="Tan, Roger" userId="f6f33758-bd69-4951-8148-181de3b92474" providerId="ADAL" clId="{A436842E-EA5C-4A6D-B51D-DDAE8BC6E9BD}" dt="2023-11-08T18:22:50.566" v="79385"/>
          <ac:spMkLst>
            <pc:docMk/>
            <pc:sldMk cId="160926467" sldId="372"/>
            <ac:spMk id="437" creationId="{39519187-F53D-0D26-4C15-FEE4DF8F3348}"/>
          </ac:spMkLst>
        </pc:spChg>
        <pc:spChg chg="mod">
          <ac:chgData name="Tan, Roger" userId="f6f33758-bd69-4951-8148-181de3b92474" providerId="ADAL" clId="{A436842E-EA5C-4A6D-B51D-DDAE8BC6E9BD}" dt="2023-11-08T18:22:50.596" v="79490"/>
          <ac:spMkLst>
            <pc:docMk/>
            <pc:sldMk cId="160926467" sldId="372"/>
            <ac:spMk id="438" creationId="{84FAB29A-455F-08B2-B433-78FF60A92CE4}"/>
          </ac:spMkLst>
        </pc:spChg>
        <pc:spChg chg="mod">
          <ac:chgData name="Tan, Roger" userId="f6f33758-bd69-4951-8148-181de3b92474" providerId="ADAL" clId="{A436842E-EA5C-4A6D-B51D-DDAE8BC6E9BD}" dt="2023-11-08T18:22:50.567" v="79387"/>
          <ac:spMkLst>
            <pc:docMk/>
            <pc:sldMk cId="160926467" sldId="372"/>
            <ac:spMk id="439" creationId="{FFD987BA-DFC4-5FF7-B520-DFE3A414A159}"/>
          </ac:spMkLst>
        </pc:spChg>
        <pc:spChg chg="mod">
          <ac:chgData name="Tan, Roger" userId="f6f33758-bd69-4951-8148-181de3b92474" providerId="ADAL" clId="{A436842E-EA5C-4A6D-B51D-DDAE8BC6E9BD}" dt="2023-11-08T18:22:50.567" v="79388"/>
          <ac:spMkLst>
            <pc:docMk/>
            <pc:sldMk cId="160926467" sldId="372"/>
            <ac:spMk id="441" creationId="{0EEFBB1A-4E83-ED25-484E-DEC9A4298AF9}"/>
          </ac:spMkLst>
        </pc:spChg>
        <pc:spChg chg="mod">
          <ac:chgData name="Tan, Roger" userId="f6f33758-bd69-4951-8148-181de3b92474" providerId="ADAL" clId="{A436842E-EA5C-4A6D-B51D-DDAE8BC6E9BD}" dt="2023-11-08T18:22:50.569" v="79391"/>
          <ac:spMkLst>
            <pc:docMk/>
            <pc:sldMk cId="160926467" sldId="372"/>
            <ac:spMk id="446" creationId="{4E0A4B12-352B-CCF5-B5D8-CC5A8C3F2F01}"/>
          </ac:spMkLst>
        </pc:spChg>
        <pc:spChg chg="mod">
          <ac:chgData name="Tan, Roger" userId="f6f33758-bd69-4951-8148-181de3b92474" providerId="ADAL" clId="{A436842E-EA5C-4A6D-B51D-DDAE8BC6E9BD}" dt="2023-11-08T18:22:50.569" v="79392"/>
          <ac:spMkLst>
            <pc:docMk/>
            <pc:sldMk cId="160926467" sldId="372"/>
            <ac:spMk id="447" creationId="{6146C153-A8A6-BE05-5FD9-98E0D115C574}"/>
          </ac:spMkLst>
        </pc:spChg>
        <pc:spChg chg="mod">
          <ac:chgData name="Tan, Roger" userId="f6f33758-bd69-4951-8148-181de3b92474" providerId="ADAL" clId="{A436842E-EA5C-4A6D-B51D-DDAE8BC6E9BD}" dt="2023-11-08T18:22:50.582" v="79439"/>
          <ac:spMkLst>
            <pc:docMk/>
            <pc:sldMk cId="160926467" sldId="372"/>
            <ac:spMk id="562" creationId="{BFAE1C44-A8C0-B514-6416-052BDDF41428}"/>
          </ac:spMkLst>
        </pc:spChg>
        <pc:spChg chg="mod ord">
          <ac:chgData name="Tan, Roger" userId="f6f33758-bd69-4951-8148-181de3b92474" providerId="ADAL" clId="{A436842E-EA5C-4A6D-B51D-DDAE8BC6E9BD}" dt="2023-11-08T18:22:50.588" v="79459"/>
          <ac:spMkLst>
            <pc:docMk/>
            <pc:sldMk cId="160926467" sldId="372"/>
            <ac:spMk id="705" creationId="{2BAB8A09-998F-FECB-0657-889582B1FE9C}"/>
          </ac:spMkLst>
        </pc:spChg>
        <pc:spChg chg="mod">
          <ac:chgData name="Tan, Roger" userId="f6f33758-bd69-4951-8148-181de3b92474" providerId="ADAL" clId="{A436842E-EA5C-4A6D-B51D-DDAE8BC6E9BD}" dt="2023-11-08T18:22:50.585" v="79450"/>
          <ac:spMkLst>
            <pc:docMk/>
            <pc:sldMk cId="160926467" sldId="372"/>
            <ac:spMk id="740" creationId="{F032FE9F-F04A-C21D-789B-61C99E159F5E}"/>
          </ac:spMkLst>
        </pc:spChg>
        <pc:spChg chg="mod ord">
          <ac:chgData name="Tan, Roger" userId="f6f33758-bd69-4951-8148-181de3b92474" providerId="ADAL" clId="{A436842E-EA5C-4A6D-B51D-DDAE8BC6E9BD}" dt="2023-11-08T18:22:50.582" v="79441"/>
          <ac:spMkLst>
            <pc:docMk/>
            <pc:sldMk cId="160926467" sldId="372"/>
            <ac:spMk id="753" creationId="{A5FDCA23-8A6D-A0B2-23BA-E93C2EA13206}"/>
          </ac:spMkLst>
        </pc:spChg>
        <pc:spChg chg="mod">
          <ac:chgData name="Tan, Roger" userId="f6f33758-bd69-4951-8148-181de3b92474" providerId="ADAL" clId="{A436842E-EA5C-4A6D-B51D-DDAE8BC6E9BD}" dt="2023-11-08T18:22:50.586" v="79453"/>
          <ac:spMkLst>
            <pc:docMk/>
            <pc:sldMk cId="160926467" sldId="372"/>
            <ac:spMk id="798" creationId="{FD338F2F-C25D-7662-9579-080DDD3D2F87}"/>
          </ac:spMkLst>
        </pc:spChg>
        <pc:spChg chg="mod">
          <ac:chgData name="Tan, Roger" userId="f6f33758-bd69-4951-8148-181de3b92474" providerId="ADAL" clId="{A436842E-EA5C-4A6D-B51D-DDAE8BC6E9BD}" dt="2023-11-08T18:22:50.586" v="79454"/>
          <ac:spMkLst>
            <pc:docMk/>
            <pc:sldMk cId="160926467" sldId="372"/>
            <ac:spMk id="866" creationId="{7E7BE56D-E711-64C4-2657-C0593A54EC3A}"/>
          </ac:spMkLst>
        </pc:spChg>
        <pc:spChg chg="mod">
          <ac:chgData name="Tan, Roger" userId="f6f33758-bd69-4951-8148-181de3b92474" providerId="ADAL" clId="{A436842E-EA5C-4A6D-B51D-DDAE8BC6E9BD}" dt="2023-11-08T18:22:50.586" v="79455"/>
          <ac:spMkLst>
            <pc:docMk/>
            <pc:sldMk cId="160926467" sldId="372"/>
            <ac:spMk id="867" creationId="{E1A93581-987F-607F-0A21-C2672F53506A}"/>
          </ac:spMkLst>
        </pc:spChg>
        <pc:spChg chg="mod">
          <ac:chgData name="Tan, Roger" userId="f6f33758-bd69-4951-8148-181de3b92474" providerId="ADAL" clId="{A436842E-EA5C-4A6D-B51D-DDAE8BC6E9BD}" dt="2023-11-08T18:22:50.587" v="79456"/>
          <ac:spMkLst>
            <pc:docMk/>
            <pc:sldMk cId="160926467" sldId="372"/>
            <ac:spMk id="868" creationId="{5E28DCB7-2022-E238-D3FF-394DED8C65DE}"/>
          </ac:spMkLst>
        </pc:spChg>
        <pc:spChg chg="mod">
          <ac:chgData name="Tan, Roger" userId="f6f33758-bd69-4951-8148-181de3b92474" providerId="ADAL" clId="{A436842E-EA5C-4A6D-B51D-DDAE8BC6E9BD}" dt="2023-11-08T18:22:50.567" v="79386"/>
          <ac:spMkLst>
            <pc:docMk/>
            <pc:sldMk cId="160926467" sldId="372"/>
            <ac:spMk id="869" creationId="{BA161C74-E035-2EFD-44EB-68500C0986FB}"/>
          </ac:spMkLst>
        </pc:spChg>
        <pc:spChg chg="mod ord">
          <ac:chgData name="Tan, Roger" userId="f6f33758-bd69-4951-8148-181de3b92474" providerId="ADAL" clId="{A436842E-EA5C-4A6D-B51D-DDAE8BC6E9BD}" dt="2023-11-08T18:22:50.598" v="79495"/>
          <ac:spMkLst>
            <pc:docMk/>
            <pc:sldMk cId="160926467" sldId="372"/>
            <ac:spMk id="898" creationId="{11FED061-3C46-C825-773C-FF776F34B758}"/>
          </ac:spMkLst>
        </pc:spChg>
        <pc:spChg chg="mod">
          <ac:chgData name="Tan, Roger" userId="f6f33758-bd69-4951-8148-181de3b92474" providerId="ADAL" clId="{A436842E-EA5C-4A6D-B51D-DDAE8BC6E9BD}" dt="2023-11-08T18:22:50.584" v="79448"/>
          <ac:spMkLst>
            <pc:docMk/>
            <pc:sldMk cId="160926467" sldId="372"/>
            <ac:spMk id="906" creationId="{62D3FEA7-BF89-DD71-85A7-E9080088A44F}"/>
          </ac:spMkLst>
        </pc:spChg>
        <pc:spChg chg="add mod ord replST">
          <ac:chgData name="Tan, Roger" userId="f6f33758-bd69-4951-8148-181de3b92474" providerId="ADAL" clId="{A436842E-EA5C-4A6D-B51D-DDAE8BC6E9BD}" dt="2023-11-08T18:22:50.573" v="79406"/>
          <ac:spMkLst>
            <pc:docMk/>
            <pc:sldMk cId="160926467" sldId="372"/>
            <ac:spMk id="907" creationId="{BD40C724-A69F-A488-17DA-101724058BE6}"/>
          </ac:spMkLst>
        </pc:spChg>
        <pc:spChg chg="add mod replST">
          <ac:chgData name="Tan, Roger" userId="f6f33758-bd69-4951-8148-181de3b92474" providerId="ADAL" clId="{A436842E-EA5C-4A6D-B51D-DDAE8BC6E9BD}" dt="2023-11-08T18:22:50.570" v="79395"/>
          <ac:spMkLst>
            <pc:docMk/>
            <pc:sldMk cId="160926467" sldId="372"/>
            <ac:spMk id="909" creationId="{434E7999-FE4B-7E6F-3D7B-191419A99B40}"/>
          </ac:spMkLst>
        </pc:spChg>
        <pc:spChg chg="add mod ord replST">
          <ac:chgData name="Tan, Roger" userId="f6f33758-bd69-4951-8148-181de3b92474" providerId="ADAL" clId="{A436842E-EA5C-4A6D-B51D-DDAE8BC6E9BD}" dt="2023-11-08T18:22:50.578" v="79424"/>
          <ac:spMkLst>
            <pc:docMk/>
            <pc:sldMk cId="160926467" sldId="372"/>
            <ac:spMk id="910" creationId="{8EFFA912-7585-8473-1885-5566AD869C47}"/>
          </ac:spMkLst>
        </pc:spChg>
        <pc:spChg chg="mod">
          <ac:chgData name="Tan, Roger" userId="f6f33758-bd69-4951-8148-181de3b92474" providerId="ADAL" clId="{A436842E-EA5C-4A6D-B51D-DDAE8BC6E9BD}" dt="2023-11-08T18:22:50.568" v="79390"/>
          <ac:spMkLst>
            <pc:docMk/>
            <pc:sldMk cId="160926467" sldId="372"/>
            <ac:spMk id="911" creationId="{2F7EB55F-C57D-5937-86FE-032604B30BD8}"/>
          </ac:spMkLst>
        </pc:spChg>
        <pc:spChg chg="add mod ord replST">
          <ac:chgData name="Tan, Roger" userId="f6f33758-bd69-4951-8148-181de3b92474" providerId="ADAL" clId="{A436842E-EA5C-4A6D-B51D-DDAE8BC6E9BD}" dt="2023-11-08T18:22:50.573" v="79408"/>
          <ac:spMkLst>
            <pc:docMk/>
            <pc:sldMk cId="160926467" sldId="372"/>
            <ac:spMk id="914" creationId="{F3E325FD-C89C-9B8E-7A19-4E1DB6F1D8EB}"/>
          </ac:spMkLst>
        </pc:spChg>
        <pc:spChg chg="del">
          <ac:chgData name="Tan, Roger" userId="f6f33758-bd69-4951-8148-181de3b92474" providerId="ADAL" clId="{A436842E-EA5C-4A6D-B51D-DDAE8BC6E9BD}" dt="2023-11-08T18:22:50.055" v="78663"/>
          <ac:spMkLst>
            <pc:docMk/>
            <pc:sldMk cId="160926467" sldId="372"/>
            <ac:spMk id="915" creationId="{D7024CEC-CC39-8EAD-9FA1-412C8751B28B}"/>
          </ac:spMkLst>
        </pc:spChg>
        <pc:spChg chg="del">
          <ac:chgData name="Tan, Roger" userId="f6f33758-bd69-4951-8148-181de3b92474" providerId="ADAL" clId="{A436842E-EA5C-4A6D-B51D-DDAE8BC6E9BD}" dt="2023-11-08T18:22:50.060" v="78679"/>
          <ac:spMkLst>
            <pc:docMk/>
            <pc:sldMk cId="160926467" sldId="372"/>
            <ac:spMk id="916" creationId="{06A302BC-7275-9474-2011-F5C47EBB0292}"/>
          </ac:spMkLst>
        </pc:spChg>
        <pc:spChg chg="del">
          <ac:chgData name="Tan, Roger" userId="f6f33758-bd69-4951-8148-181de3b92474" providerId="ADAL" clId="{A436842E-EA5C-4A6D-B51D-DDAE8BC6E9BD}" dt="2023-11-08T18:22:50.067" v="78694"/>
          <ac:spMkLst>
            <pc:docMk/>
            <pc:sldMk cId="160926467" sldId="372"/>
            <ac:spMk id="917" creationId="{A8BA5204-C7D5-9AD3-3A9F-606C282BC1DA}"/>
          </ac:spMkLst>
        </pc:spChg>
        <pc:spChg chg="del">
          <ac:chgData name="Tan, Roger" userId="f6f33758-bd69-4951-8148-181de3b92474" providerId="ADAL" clId="{A436842E-EA5C-4A6D-B51D-DDAE8BC6E9BD}" dt="2023-11-08T18:22:50.072" v="78707"/>
          <ac:spMkLst>
            <pc:docMk/>
            <pc:sldMk cId="160926467" sldId="372"/>
            <ac:spMk id="918" creationId="{D11990C0-23F4-5D24-BF93-E71CC2FD812C}"/>
          </ac:spMkLst>
        </pc:spChg>
        <pc:spChg chg="del">
          <ac:chgData name="Tan, Roger" userId="f6f33758-bd69-4951-8148-181de3b92474" providerId="ADAL" clId="{A436842E-EA5C-4A6D-B51D-DDAE8BC6E9BD}" dt="2023-11-08T18:22:50.078" v="78723"/>
          <ac:spMkLst>
            <pc:docMk/>
            <pc:sldMk cId="160926467" sldId="372"/>
            <ac:spMk id="919" creationId="{00249357-BA63-AE3A-8B35-E9698E62D384}"/>
          </ac:spMkLst>
        </pc:spChg>
        <pc:spChg chg="del">
          <ac:chgData name="Tan, Roger" userId="f6f33758-bd69-4951-8148-181de3b92474" providerId="ADAL" clId="{A436842E-EA5C-4A6D-B51D-DDAE8BC6E9BD}" dt="2023-11-08T18:22:50.084" v="78738"/>
          <ac:spMkLst>
            <pc:docMk/>
            <pc:sldMk cId="160926467" sldId="372"/>
            <ac:spMk id="920" creationId="{FF665F2D-6301-F233-9DEA-C78E90B70E8B}"/>
          </ac:spMkLst>
        </pc:spChg>
        <pc:spChg chg="del">
          <ac:chgData name="Tan, Roger" userId="f6f33758-bd69-4951-8148-181de3b92474" providerId="ADAL" clId="{A436842E-EA5C-4A6D-B51D-DDAE8BC6E9BD}" dt="2023-11-08T18:22:50.088" v="78751"/>
          <ac:spMkLst>
            <pc:docMk/>
            <pc:sldMk cId="160926467" sldId="372"/>
            <ac:spMk id="921" creationId="{8D847F56-971D-78A6-017F-F21A0A052583}"/>
          </ac:spMkLst>
        </pc:spChg>
        <pc:spChg chg="del">
          <ac:chgData name="Tan, Roger" userId="f6f33758-bd69-4951-8148-181de3b92474" providerId="ADAL" clId="{A436842E-EA5C-4A6D-B51D-DDAE8BC6E9BD}" dt="2023-11-08T18:22:50.095" v="78767"/>
          <ac:spMkLst>
            <pc:docMk/>
            <pc:sldMk cId="160926467" sldId="372"/>
            <ac:spMk id="922" creationId="{7E998408-5F2F-FD37-CEB5-6255B44EDDBA}"/>
          </ac:spMkLst>
        </pc:spChg>
        <pc:spChg chg="del">
          <ac:chgData name="Tan, Roger" userId="f6f33758-bd69-4951-8148-181de3b92474" providerId="ADAL" clId="{A436842E-EA5C-4A6D-B51D-DDAE8BC6E9BD}" dt="2023-11-08T18:22:50.101" v="78782"/>
          <ac:spMkLst>
            <pc:docMk/>
            <pc:sldMk cId="160926467" sldId="372"/>
            <ac:spMk id="923" creationId="{4E1C75C2-D84F-561D-7F8D-8B9BA99117F8}"/>
          </ac:spMkLst>
        </pc:spChg>
        <pc:spChg chg="del">
          <ac:chgData name="Tan, Roger" userId="f6f33758-bd69-4951-8148-181de3b92474" providerId="ADAL" clId="{A436842E-EA5C-4A6D-B51D-DDAE8BC6E9BD}" dt="2023-11-08T18:22:50.122" v="78839"/>
          <ac:spMkLst>
            <pc:docMk/>
            <pc:sldMk cId="160926467" sldId="372"/>
            <ac:spMk id="924" creationId="{6340EEEB-D36D-4A72-8B21-213B2053A8D3}"/>
          </ac:spMkLst>
        </pc:spChg>
        <pc:spChg chg="del">
          <ac:chgData name="Tan, Roger" userId="f6f33758-bd69-4951-8148-181de3b92474" providerId="ADAL" clId="{A436842E-EA5C-4A6D-B51D-DDAE8BC6E9BD}" dt="2023-11-08T18:22:50.131" v="78855"/>
          <ac:spMkLst>
            <pc:docMk/>
            <pc:sldMk cId="160926467" sldId="372"/>
            <ac:spMk id="925" creationId="{F21743E8-B47A-CC95-FE68-AE927E31BBFD}"/>
          </ac:spMkLst>
        </pc:spChg>
        <pc:spChg chg="del">
          <ac:chgData name="Tan, Roger" userId="f6f33758-bd69-4951-8148-181de3b92474" providerId="ADAL" clId="{A436842E-EA5C-4A6D-B51D-DDAE8BC6E9BD}" dt="2023-11-08T18:22:50.139" v="78870"/>
          <ac:spMkLst>
            <pc:docMk/>
            <pc:sldMk cId="160926467" sldId="372"/>
            <ac:spMk id="926" creationId="{E17C0B60-C84B-75B2-33FA-004B23D3C141}"/>
          </ac:spMkLst>
        </pc:spChg>
        <pc:spChg chg="del">
          <ac:chgData name="Tan, Roger" userId="f6f33758-bd69-4951-8148-181de3b92474" providerId="ADAL" clId="{A436842E-EA5C-4A6D-B51D-DDAE8BC6E9BD}" dt="2023-11-08T18:22:50.143" v="78883"/>
          <ac:spMkLst>
            <pc:docMk/>
            <pc:sldMk cId="160926467" sldId="372"/>
            <ac:spMk id="927" creationId="{5F954C79-EB99-1F17-43D8-63EB1CE2E4E0}"/>
          </ac:spMkLst>
        </pc:spChg>
        <pc:spChg chg="del">
          <ac:chgData name="Tan, Roger" userId="f6f33758-bd69-4951-8148-181de3b92474" providerId="ADAL" clId="{A436842E-EA5C-4A6D-B51D-DDAE8BC6E9BD}" dt="2023-11-08T18:22:50.149" v="78899"/>
          <ac:spMkLst>
            <pc:docMk/>
            <pc:sldMk cId="160926467" sldId="372"/>
            <ac:spMk id="928" creationId="{37AB4276-B2A6-6997-8BF9-309DAC1386AD}"/>
          </ac:spMkLst>
        </pc:spChg>
        <pc:spChg chg="del">
          <ac:chgData name="Tan, Roger" userId="f6f33758-bd69-4951-8148-181de3b92474" providerId="ADAL" clId="{A436842E-EA5C-4A6D-B51D-DDAE8BC6E9BD}" dt="2023-11-08T18:22:50.155" v="78914"/>
          <ac:spMkLst>
            <pc:docMk/>
            <pc:sldMk cId="160926467" sldId="372"/>
            <ac:spMk id="929" creationId="{AA628B70-EE68-76C0-6026-3D5BDB3DD74F}"/>
          </ac:spMkLst>
        </pc:spChg>
        <pc:spChg chg="del">
          <ac:chgData name="Tan, Roger" userId="f6f33758-bd69-4951-8148-181de3b92474" providerId="ADAL" clId="{A436842E-EA5C-4A6D-B51D-DDAE8BC6E9BD}" dt="2023-11-08T18:22:50.160" v="78927"/>
          <ac:spMkLst>
            <pc:docMk/>
            <pc:sldMk cId="160926467" sldId="372"/>
            <ac:spMk id="930" creationId="{38DC6CAA-49BD-0BEC-755A-93D04471FE83}"/>
          </ac:spMkLst>
        </pc:spChg>
        <pc:spChg chg="del">
          <ac:chgData name="Tan, Roger" userId="f6f33758-bd69-4951-8148-181de3b92474" providerId="ADAL" clId="{A436842E-EA5C-4A6D-B51D-DDAE8BC6E9BD}" dt="2023-11-08T18:22:50.165" v="78943"/>
          <ac:spMkLst>
            <pc:docMk/>
            <pc:sldMk cId="160926467" sldId="372"/>
            <ac:spMk id="931" creationId="{3358B993-D0E1-2051-2F0D-89ADE593DA56}"/>
          </ac:spMkLst>
        </pc:spChg>
        <pc:spChg chg="del">
          <ac:chgData name="Tan, Roger" userId="f6f33758-bd69-4951-8148-181de3b92474" providerId="ADAL" clId="{A436842E-EA5C-4A6D-B51D-DDAE8BC6E9BD}" dt="2023-11-08T18:22:50.173" v="78958"/>
          <ac:spMkLst>
            <pc:docMk/>
            <pc:sldMk cId="160926467" sldId="372"/>
            <ac:spMk id="932" creationId="{3DD3D79A-7293-C38C-A18D-4306388DB8D7}"/>
          </ac:spMkLst>
        </pc:spChg>
        <pc:spChg chg="add mod replST">
          <ac:chgData name="Tan, Roger" userId="f6f33758-bd69-4951-8148-181de3b92474" providerId="ADAL" clId="{A436842E-EA5C-4A6D-B51D-DDAE8BC6E9BD}" dt="2023-11-08T18:22:50.569" v="79393"/>
          <ac:spMkLst>
            <pc:docMk/>
            <pc:sldMk cId="160926467" sldId="372"/>
            <ac:spMk id="934" creationId="{B4C97B59-F28A-3F66-87DC-E3FBB77FDCDE}"/>
          </ac:spMkLst>
        </pc:spChg>
        <pc:spChg chg="add mod ord replST">
          <ac:chgData name="Tan, Roger" userId="f6f33758-bd69-4951-8148-181de3b92474" providerId="ADAL" clId="{A436842E-EA5C-4A6D-B51D-DDAE8BC6E9BD}" dt="2023-11-08T18:22:50.575" v="79410"/>
          <ac:spMkLst>
            <pc:docMk/>
            <pc:sldMk cId="160926467" sldId="372"/>
            <ac:spMk id="936" creationId="{566090EE-76E1-A5A8-58B7-F3208936C016}"/>
          </ac:spMkLst>
        </pc:spChg>
        <pc:spChg chg="add mod ord replST">
          <ac:chgData name="Tan, Roger" userId="f6f33758-bd69-4951-8148-181de3b92474" providerId="ADAL" clId="{A436842E-EA5C-4A6D-B51D-DDAE8BC6E9BD}" dt="2023-11-08T18:22:50.575" v="79412"/>
          <ac:spMkLst>
            <pc:docMk/>
            <pc:sldMk cId="160926467" sldId="372"/>
            <ac:spMk id="938" creationId="{D11BC5F6-B648-F686-A38C-06A1F520AD20}"/>
          </ac:spMkLst>
        </pc:spChg>
        <pc:spChg chg="add mod replST">
          <ac:chgData name="Tan, Roger" userId="f6f33758-bd69-4951-8148-181de3b92474" providerId="ADAL" clId="{A436842E-EA5C-4A6D-B51D-DDAE8BC6E9BD}" dt="2023-11-08T18:22:50.571" v="79398"/>
          <ac:spMkLst>
            <pc:docMk/>
            <pc:sldMk cId="160926467" sldId="372"/>
            <ac:spMk id="940" creationId="{27775675-231B-4F90-184C-A27E0753BF72}"/>
          </ac:spMkLst>
        </pc:spChg>
        <pc:spChg chg="add mod ord replST">
          <ac:chgData name="Tan, Roger" userId="f6f33758-bd69-4951-8148-181de3b92474" providerId="ADAL" clId="{A436842E-EA5C-4A6D-B51D-DDAE8BC6E9BD}" dt="2023-11-08T18:22:50.576" v="79414"/>
          <ac:spMkLst>
            <pc:docMk/>
            <pc:sldMk cId="160926467" sldId="372"/>
            <ac:spMk id="942" creationId="{4C91A93C-8180-B3BD-A272-A8E8F8A08B0F}"/>
          </ac:spMkLst>
        </pc:spChg>
        <pc:spChg chg="add mod ord replST">
          <ac:chgData name="Tan, Roger" userId="f6f33758-bd69-4951-8148-181de3b92474" providerId="ADAL" clId="{A436842E-EA5C-4A6D-B51D-DDAE8BC6E9BD}" dt="2023-11-08T18:22:50.576" v="79416"/>
          <ac:spMkLst>
            <pc:docMk/>
            <pc:sldMk cId="160926467" sldId="372"/>
            <ac:spMk id="943" creationId="{A7FF2898-14FD-6EDF-6E81-5D33D39CDD45}"/>
          </ac:spMkLst>
        </pc:spChg>
        <pc:spChg chg="add mod replST">
          <ac:chgData name="Tan, Roger" userId="f6f33758-bd69-4951-8148-181de3b92474" providerId="ADAL" clId="{A436842E-EA5C-4A6D-B51D-DDAE8BC6E9BD}" dt="2023-11-08T18:22:50.570" v="79396"/>
          <ac:spMkLst>
            <pc:docMk/>
            <pc:sldMk cId="160926467" sldId="372"/>
            <ac:spMk id="944" creationId="{B176C5D4-0DAF-7956-43F8-2D6C736937EC}"/>
          </ac:spMkLst>
        </pc:spChg>
        <pc:spChg chg="add mod ord replST">
          <ac:chgData name="Tan, Roger" userId="f6f33758-bd69-4951-8148-181de3b92474" providerId="ADAL" clId="{A436842E-EA5C-4A6D-B51D-DDAE8BC6E9BD}" dt="2023-11-08T18:22:50.580" v="79432"/>
          <ac:spMkLst>
            <pc:docMk/>
            <pc:sldMk cId="160926467" sldId="372"/>
            <ac:spMk id="945" creationId="{D4B2E95F-45E3-9A7E-0CDA-295A29ECBF3B}"/>
          </ac:spMkLst>
        </pc:spChg>
        <pc:spChg chg="add mod ord replST">
          <ac:chgData name="Tan, Roger" userId="f6f33758-bd69-4951-8148-181de3b92474" providerId="ADAL" clId="{A436842E-EA5C-4A6D-B51D-DDAE8BC6E9BD}" dt="2023-11-08T18:22:50.577" v="79418"/>
          <ac:spMkLst>
            <pc:docMk/>
            <pc:sldMk cId="160926467" sldId="372"/>
            <ac:spMk id="946" creationId="{A3921652-DD0F-FB1F-EB77-AF83826CC05C}"/>
          </ac:spMkLst>
        </pc:spChg>
        <pc:spChg chg="add mod replST">
          <ac:chgData name="Tan, Roger" userId="f6f33758-bd69-4951-8148-181de3b92474" providerId="ADAL" clId="{A436842E-EA5C-4A6D-B51D-DDAE8BC6E9BD}" dt="2023-11-08T18:22:50.570" v="79394"/>
          <ac:spMkLst>
            <pc:docMk/>
            <pc:sldMk cId="160926467" sldId="372"/>
            <ac:spMk id="947" creationId="{64B374F4-4F77-1F21-20FD-739C964E65E4}"/>
          </ac:spMkLst>
        </pc:spChg>
        <pc:spChg chg="add mod ord replST">
          <ac:chgData name="Tan, Roger" userId="f6f33758-bd69-4951-8148-181de3b92474" providerId="ADAL" clId="{A436842E-EA5C-4A6D-B51D-DDAE8BC6E9BD}" dt="2023-11-08T18:22:50.577" v="79420"/>
          <ac:spMkLst>
            <pc:docMk/>
            <pc:sldMk cId="160926467" sldId="372"/>
            <ac:spMk id="948" creationId="{81768CAF-60D8-26EF-4DCD-6643C5CE09E7}"/>
          </ac:spMkLst>
        </pc:spChg>
        <pc:spChg chg="add mod ord replST">
          <ac:chgData name="Tan, Roger" userId="f6f33758-bd69-4951-8148-181de3b92474" providerId="ADAL" clId="{A436842E-EA5C-4A6D-B51D-DDAE8BC6E9BD}" dt="2023-11-08T18:22:50.578" v="79422"/>
          <ac:spMkLst>
            <pc:docMk/>
            <pc:sldMk cId="160926467" sldId="372"/>
            <ac:spMk id="949" creationId="{C3B84D6B-D6AC-61CA-EA33-7D85A5095200}"/>
          </ac:spMkLst>
        </pc:spChg>
        <pc:spChg chg="add mod replST">
          <ac:chgData name="Tan, Roger" userId="f6f33758-bd69-4951-8148-181de3b92474" providerId="ADAL" clId="{A436842E-EA5C-4A6D-B51D-DDAE8BC6E9BD}" dt="2023-11-08T18:22:50.571" v="79399"/>
          <ac:spMkLst>
            <pc:docMk/>
            <pc:sldMk cId="160926467" sldId="372"/>
            <ac:spMk id="950" creationId="{09AC2F57-85CB-0B54-2304-99F1F22BBEF2}"/>
          </ac:spMkLst>
        </pc:spChg>
        <pc:spChg chg="add mod ord replST">
          <ac:chgData name="Tan, Roger" userId="f6f33758-bd69-4951-8148-181de3b92474" providerId="ADAL" clId="{A436842E-EA5C-4A6D-B51D-DDAE8BC6E9BD}" dt="2023-11-08T18:22:50.579" v="79426"/>
          <ac:spMkLst>
            <pc:docMk/>
            <pc:sldMk cId="160926467" sldId="372"/>
            <ac:spMk id="951" creationId="{B31069CE-7BDB-F3B5-D6F5-FFB5406D8307}"/>
          </ac:spMkLst>
        </pc:spChg>
        <pc:spChg chg="add mod ord replST">
          <ac:chgData name="Tan, Roger" userId="f6f33758-bd69-4951-8148-181de3b92474" providerId="ADAL" clId="{A436842E-EA5C-4A6D-B51D-DDAE8BC6E9BD}" dt="2023-11-08T18:22:50.579" v="79428"/>
          <ac:spMkLst>
            <pc:docMk/>
            <pc:sldMk cId="160926467" sldId="372"/>
            <ac:spMk id="953" creationId="{DE6880E9-3F14-43DE-D63C-367E5F1370A0}"/>
          </ac:spMkLst>
        </pc:spChg>
        <pc:spChg chg="add mod replST">
          <ac:chgData name="Tan, Roger" userId="f6f33758-bd69-4951-8148-181de3b92474" providerId="ADAL" clId="{A436842E-EA5C-4A6D-B51D-DDAE8BC6E9BD}" dt="2023-11-08T18:22:50.572" v="79400"/>
          <ac:spMkLst>
            <pc:docMk/>
            <pc:sldMk cId="160926467" sldId="372"/>
            <ac:spMk id="954" creationId="{2C2DE94C-135B-4E41-7DA8-41DC2A8A001F}"/>
          </ac:spMkLst>
        </pc:spChg>
        <pc:spChg chg="mod ord">
          <ac:chgData name="Tan, Roger" userId="f6f33758-bd69-4951-8148-181de3b92474" providerId="ADAL" clId="{A436842E-EA5C-4A6D-B51D-DDAE8BC6E9BD}" dt="2023-11-08T18:22:50.599" v="79501"/>
          <ac:spMkLst>
            <pc:docMk/>
            <pc:sldMk cId="160926467" sldId="372"/>
            <ac:spMk id="977" creationId="{21D10775-9154-C471-83B9-1BC7239EABBE}"/>
          </ac:spMkLst>
        </pc:spChg>
        <pc:spChg chg="mod">
          <ac:chgData name="Tan, Roger" userId="f6f33758-bd69-4951-8148-181de3b92474" providerId="ADAL" clId="{A436842E-EA5C-4A6D-B51D-DDAE8BC6E9BD}" dt="2023-11-08T18:22:50.596" v="79491"/>
          <ac:spMkLst>
            <pc:docMk/>
            <pc:sldMk cId="160926467" sldId="372"/>
            <ac:spMk id="1577" creationId="{BC7CA6FB-BC20-B8EA-0941-A9403852E697}"/>
          </ac:spMkLst>
        </pc:spChg>
        <pc:spChg chg="mod">
          <ac:chgData name="Tan, Roger" userId="f6f33758-bd69-4951-8148-181de3b92474" providerId="ADAL" clId="{A436842E-EA5C-4A6D-B51D-DDAE8BC6E9BD}" dt="2023-11-08T18:22:50.595" v="79488"/>
          <ac:spMkLst>
            <pc:docMk/>
            <pc:sldMk cId="160926467" sldId="372"/>
            <ac:spMk id="1580" creationId="{F4935121-5D3E-9A1B-A765-04B9A8543A54}"/>
          </ac:spMkLst>
        </pc:spChg>
        <pc:spChg chg="mod">
          <ac:chgData name="Tan, Roger" userId="f6f33758-bd69-4951-8148-181de3b92474" providerId="ADAL" clId="{A436842E-EA5C-4A6D-B51D-DDAE8BC6E9BD}" dt="2023-11-08T18:22:50.597" v="79492"/>
          <ac:spMkLst>
            <pc:docMk/>
            <pc:sldMk cId="160926467" sldId="372"/>
            <ac:spMk id="1607" creationId="{A9197C97-ED2A-83F9-FA49-73E0EA93F019}"/>
          </ac:spMkLst>
        </pc:spChg>
        <pc:spChg chg="mod">
          <ac:chgData name="Tan, Roger" userId="f6f33758-bd69-4951-8148-181de3b92474" providerId="ADAL" clId="{A436842E-EA5C-4A6D-B51D-DDAE8BC6E9BD}" dt="2023-11-08T18:22:50.568" v="79389"/>
          <ac:spMkLst>
            <pc:docMk/>
            <pc:sldMk cId="160926467" sldId="372"/>
            <ac:spMk id="1662" creationId="{9B28145C-D4DD-9C17-C933-14CED3BC0ED6}"/>
          </ac:spMkLst>
        </pc:spChg>
        <pc:spChg chg="mod ord">
          <ac:chgData name="Tan, Roger" userId="f6f33758-bd69-4951-8148-181de3b92474" providerId="ADAL" clId="{A436842E-EA5C-4A6D-B51D-DDAE8BC6E9BD}" dt="2023-11-08T18:22:50.583" v="79445"/>
          <ac:spMkLst>
            <pc:docMk/>
            <pc:sldMk cId="160926467" sldId="372"/>
            <ac:spMk id="1668" creationId="{E88B84B9-AA2E-2C77-43C0-6C7977B052E7}"/>
          </ac:spMkLst>
        </pc:spChg>
        <pc:spChg chg="mod">
          <ac:chgData name="Tan, Roger" userId="f6f33758-bd69-4951-8148-181de3b92474" providerId="ADAL" clId="{A436842E-EA5C-4A6D-B51D-DDAE8BC6E9BD}" dt="2023-11-08T18:22:50.565" v="79382"/>
          <ac:spMkLst>
            <pc:docMk/>
            <pc:sldMk cId="160926467" sldId="372"/>
            <ac:spMk id="1669" creationId="{230B4473-C248-3162-803B-D3F13B936ACA}"/>
          </ac:spMkLst>
        </pc:spChg>
        <pc:spChg chg="mod">
          <ac:chgData name="Tan, Roger" userId="f6f33758-bd69-4951-8148-181de3b92474" providerId="ADAL" clId="{A436842E-EA5C-4A6D-B51D-DDAE8BC6E9BD}" dt="2023-11-08T18:22:50.565" v="79381"/>
          <ac:spMkLst>
            <pc:docMk/>
            <pc:sldMk cId="160926467" sldId="372"/>
            <ac:spMk id="1673" creationId="{755CD1ED-A4D8-C151-4CF5-7EDA24C262D7}"/>
          </ac:spMkLst>
        </pc:spChg>
        <pc:spChg chg="mod">
          <ac:chgData name="Tan, Roger" userId="f6f33758-bd69-4951-8148-181de3b92474" providerId="ADAL" clId="{A436842E-EA5C-4A6D-B51D-DDAE8BC6E9BD}" dt="2023-11-08T18:22:50.566" v="79383"/>
          <ac:spMkLst>
            <pc:docMk/>
            <pc:sldMk cId="160926467" sldId="372"/>
            <ac:spMk id="1674" creationId="{123CEBF4-2027-57AC-D19C-5EEA1F836573}"/>
          </ac:spMkLst>
        </pc:spChg>
        <pc:spChg chg="mod">
          <ac:chgData name="Tan, Roger" userId="f6f33758-bd69-4951-8148-181de3b92474" providerId="ADAL" clId="{A436842E-EA5C-4A6D-B51D-DDAE8BC6E9BD}" dt="2023-11-08T18:22:50.595" v="79486"/>
          <ac:spMkLst>
            <pc:docMk/>
            <pc:sldMk cId="160926467" sldId="372"/>
            <ac:spMk id="1689" creationId="{D8C04172-4D26-D0F7-FCC7-8109C3CB99C5}"/>
          </ac:spMkLst>
        </pc:spChg>
        <pc:spChg chg="mod ord">
          <ac:chgData name="Tan, Roger" userId="f6f33758-bd69-4951-8148-181de3b92474" providerId="ADAL" clId="{A436842E-EA5C-4A6D-B51D-DDAE8BC6E9BD}" dt="2023-11-08T18:22:50.598" v="79497"/>
          <ac:spMkLst>
            <pc:docMk/>
            <pc:sldMk cId="160926467" sldId="372"/>
            <ac:spMk id="1693" creationId="{E44A3FFF-D430-F078-097E-189155E6B419}"/>
          </ac:spMkLst>
        </pc:spChg>
        <pc:graphicFrameChg chg="mod">
          <ac:chgData name="Tan, Roger" userId="f6f33758-bd69-4951-8148-181de3b92474" providerId="ADAL" clId="{A436842E-EA5C-4A6D-B51D-DDAE8BC6E9BD}" dt="2023-11-08T18:22:50.611" v="79507"/>
          <ac:graphicFrameMkLst>
            <pc:docMk/>
            <pc:sldMk cId="160926467" sldId="372"/>
            <ac:graphicFrameMk id="4" creationId="{FD4A65FB-339A-B2BC-4155-257FFC3BBBB9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8T18:22:50.560" v="79356"/>
          <ac:graphicFrameMkLst>
            <pc:docMk/>
            <pc:sldMk cId="160926467" sldId="372"/>
            <ac:graphicFrameMk id="955" creationId="{C29C714B-8B09-8046-36BB-28F0C8FE6C6F}"/>
          </ac:graphicFrameMkLst>
        </pc:graphicFrameChg>
        <pc:graphicFrameChg chg="del">
          <ac:chgData name="Tan, Roger" userId="f6f33758-bd69-4951-8148-181de3b92474" providerId="ADAL" clId="{A436842E-EA5C-4A6D-B51D-DDAE8BC6E9BD}" dt="2023-11-08T18:22:50.520" v="79332"/>
          <ac:graphicFrameMkLst>
            <pc:docMk/>
            <pc:sldMk cId="160926467" sldId="372"/>
            <ac:graphicFrameMk id="975" creationId="{33337D70-4222-F070-872B-CDAB81DE46C9}"/>
          </ac:graphicFrameMkLst>
        </pc:graphicFrameChg>
        <pc:graphicFrameChg chg="mod ord">
          <ac:chgData name="Tan, Roger" userId="f6f33758-bd69-4951-8148-181de3b92474" providerId="ADAL" clId="{A436842E-EA5C-4A6D-B51D-DDAE8BC6E9BD}" dt="2023-11-08T18:22:50.589" v="79463"/>
          <ac:graphicFrameMkLst>
            <pc:docMk/>
            <pc:sldMk cId="160926467" sldId="372"/>
            <ac:graphicFrameMk id="976" creationId="{77E74A26-EB7E-95A4-5EEA-730F74976D92}"/>
          </ac:graphicFrameMkLst>
        </pc:graphicFrameChg>
        <pc:cxnChg chg="mod ord">
          <ac:chgData name="Tan, Roger" userId="f6f33758-bd69-4951-8148-181de3b92474" providerId="ADAL" clId="{A436842E-EA5C-4A6D-B51D-DDAE8BC6E9BD}" dt="2023-11-08T18:22:50.559" v="79352"/>
          <ac:cxnSpMkLst>
            <pc:docMk/>
            <pc:sldMk cId="160926467" sldId="372"/>
            <ac:cxnSpMk id="29" creationId="{F2295E77-40E2-5087-4E73-AE5952D8E523}"/>
          </ac:cxnSpMkLst>
        </pc:cxnChg>
        <pc:cxnChg chg="mod ord">
          <ac:chgData name="Tan, Roger" userId="f6f33758-bd69-4951-8148-181de3b92474" providerId="ADAL" clId="{A436842E-EA5C-4A6D-B51D-DDAE8BC6E9BD}" dt="2023-11-08T18:22:50.558" v="79348"/>
          <ac:cxnSpMkLst>
            <pc:docMk/>
            <pc:sldMk cId="160926467" sldId="372"/>
            <ac:cxnSpMk id="30" creationId="{991F2E8C-2A22-B0B0-19A8-C1C7726291CF}"/>
          </ac:cxnSpMkLst>
        </pc:cxnChg>
        <pc:cxnChg chg="mod ord">
          <ac:chgData name="Tan, Roger" userId="f6f33758-bd69-4951-8148-181de3b92474" providerId="ADAL" clId="{A436842E-EA5C-4A6D-B51D-DDAE8BC6E9BD}" dt="2023-11-08T18:22:50.557" v="79346"/>
          <ac:cxnSpMkLst>
            <pc:docMk/>
            <pc:sldMk cId="160926467" sldId="372"/>
            <ac:cxnSpMk id="48" creationId="{5FFF1E2B-3CD3-452D-9566-44CD44CD4F4A}"/>
          </ac:cxnSpMkLst>
        </pc:cxnChg>
        <pc:cxnChg chg="mod ord">
          <ac:chgData name="Tan, Roger" userId="f6f33758-bd69-4951-8148-181de3b92474" providerId="ADAL" clId="{A436842E-EA5C-4A6D-B51D-DDAE8BC6E9BD}" dt="2023-11-08T18:22:50.557" v="79344"/>
          <ac:cxnSpMkLst>
            <pc:docMk/>
            <pc:sldMk cId="160926467" sldId="372"/>
            <ac:cxnSpMk id="53" creationId="{F07D8070-18B2-7BCA-982E-E5420F7D03F1}"/>
          </ac:cxnSpMkLst>
        </pc:cxnChg>
        <pc:cxnChg chg="mod ord">
          <ac:chgData name="Tan, Roger" userId="f6f33758-bd69-4951-8148-181de3b92474" providerId="ADAL" clId="{A436842E-EA5C-4A6D-B51D-DDAE8BC6E9BD}" dt="2023-11-08T18:22:50.556" v="79342"/>
          <ac:cxnSpMkLst>
            <pc:docMk/>
            <pc:sldMk cId="160926467" sldId="372"/>
            <ac:cxnSpMk id="58" creationId="{40C7A6BC-3F9E-0E9F-E754-89AE45F21FAC}"/>
          </ac:cxnSpMkLst>
        </pc:cxnChg>
        <pc:cxnChg chg="mod ord">
          <ac:chgData name="Tan, Roger" userId="f6f33758-bd69-4951-8148-181de3b92474" providerId="ADAL" clId="{A436842E-EA5C-4A6D-B51D-DDAE8BC6E9BD}" dt="2023-11-08T18:22:50.558" v="79350"/>
          <ac:cxnSpMkLst>
            <pc:docMk/>
            <pc:sldMk cId="160926467" sldId="372"/>
            <ac:cxnSpMk id="388" creationId="{240E3BAE-BFCF-8A99-95B0-41F443EF16B9}"/>
          </ac:cxnSpMkLst>
        </pc:cxnChg>
        <pc:cxnChg chg="mod ord">
          <ac:chgData name="Tan, Roger" userId="f6f33758-bd69-4951-8148-181de3b92474" providerId="ADAL" clId="{A436842E-EA5C-4A6D-B51D-DDAE8BC6E9BD}" dt="2023-11-08T18:22:50.556" v="79340"/>
          <ac:cxnSpMkLst>
            <pc:docMk/>
            <pc:sldMk cId="160926467" sldId="372"/>
            <ac:cxnSpMk id="409" creationId="{2856A881-BA9A-26B4-BF0D-6684C6FE003C}"/>
          </ac:cxnSpMkLst>
        </pc:cxnChg>
        <pc:cxnChg chg="mod ord">
          <ac:chgData name="Tan, Roger" userId="f6f33758-bd69-4951-8148-181de3b92474" providerId="ADAL" clId="{A436842E-EA5C-4A6D-B51D-DDAE8BC6E9BD}" dt="2023-11-08T18:22:50.580" v="79434"/>
          <ac:cxnSpMkLst>
            <pc:docMk/>
            <pc:sldMk cId="160926467" sldId="372"/>
            <ac:cxnSpMk id="707" creationId="{D4820B4D-9B7C-2510-5EAD-0EF62DFA8123}"/>
          </ac:cxnSpMkLst>
        </pc:cxnChg>
        <pc:cxnChg chg="mod ord">
          <ac:chgData name="Tan, Roger" userId="f6f33758-bd69-4951-8148-181de3b92474" providerId="ADAL" clId="{A436842E-EA5C-4A6D-B51D-DDAE8BC6E9BD}" dt="2023-11-08T18:22:50.581" v="79436"/>
          <ac:cxnSpMkLst>
            <pc:docMk/>
            <pc:sldMk cId="160926467" sldId="372"/>
            <ac:cxnSpMk id="708" creationId="{EBFCB9C1-0B3E-EBD3-0584-CDD6D689DC1F}"/>
          </ac:cxnSpMkLst>
        </pc:cxnChg>
        <pc:cxnChg chg="mod ord">
          <ac:chgData name="Tan, Roger" userId="f6f33758-bd69-4951-8148-181de3b92474" providerId="ADAL" clId="{A436842E-EA5C-4A6D-B51D-DDAE8BC6E9BD}" dt="2023-11-08T18:22:50.581" v="79438"/>
          <ac:cxnSpMkLst>
            <pc:docMk/>
            <pc:sldMk cId="160926467" sldId="372"/>
            <ac:cxnSpMk id="709" creationId="{8DBE1CD4-2B70-58D2-D203-BBF62683D1A9}"/>
          </ac:cxnSpMkLst>
        </pc:cxnChg>
        <pc:cxnChg chg="mod ord">
          <ac:chgData name="Tan, Roger" userId="f6f33758-bd69-4951-8148-181de3b92474" providerId="ADAL" clId="{A436842E-EA5C-4A6D-B51D-DDAE8BC6E9BD}" dt="2023-11-08T18:22:50.560" v="79360"/>
          <ac:cxnSpMkLst>
            <pc:docMk/>
            <pc:sldMk cId="160926467" sldId="372"/>
            <ac:cxnSpMk id="879" creationId="{195BA305-B8EB-056D-7ADB-F6AE37BE1599}"/>
          </ac:cxnSpMkLst>
        </pc:cxnChg>
        <pc:cxnChg chg="mod ord">
          <ac:chgData name="Tan, Roger" userId="f6f33758-bd69-4951-8148-181de3b92474" providerId="ADAL" clId="{A436842E-EA5C-4A6D-B51D-DDAE8BC6E9BD}" dt="2023-11-08T18:22:50.559" v="79354"/>
          <ac:cxnSpMkLst>
            <pc:docMk/>
            <pc:sldMk cId="160926467" sldId="372"/>
            <ac:cxnSpMk id="904" creationId="{A632190C-2804-0A46-6FAF-CEDFACF7F4FD}"/>
          </ac:cxnSpMkLst>
        </pc:cxnChg>
        <pc:cxnChg chg="mod ord">
          <ac:chgData name="Tan, Roger" userId="f6f33758-bd69-4951-8148-181de3b92474" providerId="ADAL" clId="{A436842E-EA5C-4A6D-B51D-DDAE8BC6E9BD}" dt="2023-11-08T18:22:50.564" v="79376"/>
          <ac:cxnSpMkLst>
            <pc:docMk/>
            <pc:sldMk cId="160926467" sldId="372"/>
            <ac:cxnSpMk id="912" creationId="{BA64492B-E9B1-F5CD-B9AC-9C72D5D666BB}"/>
          </ac:cxnSpMkLst>
        </pc:cxnChg>
        <pc:cxnChg chg="mod ord">
          <ac:chgData name="Tan, Roger" userId="f6f33758-bd69-4951-8148-181de3b92474" providerId="ADAL" clId="{A436842E-EA5C-4A6D-B51D-DDAE8BC6E9BD}" dt="2023-11-08T18:22:50.563" v="79372"/>
          <ac:cxnSpMkLst>
            <pc:docMk/>
            <pc:sldMk cId="160926467" sldId="372"/>
            <ac:cxnSpMk id="961" creationId="{E26E4EDA-FD45-8F88-C0FA-0AF94C4C7FDD}"/>
          </ac:cxnSpMkLst>
        </pc:cxnChg>
        <pc:cxnChg chg="mod ord">
          <ac:chgData name="Tan, Roger" userId="f6f33758-bd69-4951-8148-181de3b92474" providerId="ADAL" clId="{A436842E-EA5C-4A6D-B51D-DDAE8BC6E9BD}" dt="2023-11-08T18:22:50.560" v="79358"/>
          <ac:cxnSpMkLst>
            <pc:docMk/>
            <pc:sldMk cId="160926467" sldId="372"/>
            <ac:cxnSpMk id="963" creationId="{975685F2-5171-9994-B401-8B9584B787B5}"/>
          </ac:cxnSpMkLst>
        </pc:cxnChg>
        <pc:cxnChg chg="mod ord">
          <ac:chgData name="Tan, Roger" userId="f6f33758-bd69-4951-8148-181de3b92474" providerId="ADAL" clId="{A436842E-EA5C-4A6D-B51D-DDAE8BC6E9BD}" dt="2023-11-08T18:22:50.562" v="79366"/>
          <ac:cxnSpMkLst>
            <pc:docMk/>
            <pc:sldMk cId="160926467" sldId="372"/>
            <ac:cxnSpMk id="964" creationId="{1E63183F-91CA-232F-1FE1-6CED52C639B4}"/>
          </ac:cxnSpMkLst>
        </pc:cxnChg>
        <pc:cxnChg chg="mod ord">
          <ac:chgData name="Tan, Roger" userId="f6f33758-bd69-4951-8148-181de3b92474" providerId="ADAL" clId="{A436842E-EA5C-4A6D-B51D-DDAE8BC6E9BD}" dt="2023-11-08T18:22:50.563" v="79374"/>
          <ac:cxnSpMkLst>
            <pc:docMk/>
            <pc:sldMk cId="160926467" sldId="372"/>
            <ac:cxnSpMk id="966" creationId="{6D25848C-94BC-3BDD-477D-ABE4DD26A63A}"/>
          </ac:cxnSpMkLst>
        </pc:cxnChg>
        <pc:cxnChg chg="mod ord">
          <ac:chgData name="Tan, Roger" userId="f6f33758-bd69-4951-8148-181de3b92474" providerId="ADAL" clId="{A436842E-EA5C-4A6D-B51D-DDAE8BC6E9BD}" dt="2023-11-08T18:22:50.562" v="79370"/>
          <ac:cxnSpMkLst>
            <pc:docMk/>
            <pc:sldMk cId="160926467" sldId="372"/>
            <ac:cxnSpMk id="971" creationId="{48AE52CF-7A73-4669-DC18-71D0B619B646}"/>
          </ac:cxnSpMkLst>
        </pc:cxnChg>
        <pc:cxnChg chg="mod ord">
          <ac:chgData name="Tan, Roger" userId="f6f33758-bd69-4951-8148-181de3b92474" providerId="ADAL" clId="{A436842E-EA5C-4A6D-B51D-DDAE8BC6E9BD}" dt="2023-11-08T18:22:50.564" v="79378"/>
          <ac:cxnSpMkLst>
            <pc:docMk/>
            <pc:sldMk cId="160926467" sldId="372"/>
            <ac:cxnSpMk id="972" creationId="{15B77313-D2B7-9187-2E41-72F882A0E77D}"/>
          </ac:cxnSpMkLst>
        </pc:cxnChg>
        <pc:cxnChg chg="mod ord">
          <ac:chgData name="Tan, Roger" userId="f6f33758-bd69-4951-8148-181de3b92474" providerId="ADAL" clId="{A436842E-EA5C-4A6D-B51D-DDAE8BC6E9BD}" dt="2023-11-08T18:22:50.561" v="79362"/>
          <ac:cxnSpMkLst>
            <pc:docMk/>
            <pc:sldMk cId="160926467" sldId="372"/>
            <ac:cxnSpMk id="1664" creationId="{8C85B247-F3B8-0EB0-4836-A6BB7F398B3C}"/>
          </ac:cxnSpMkLst>
        </pc:cxnChg>
        <pc:cxnChg chg="mod ord">
          <ac:chgData name="Tan, Roger" userId="f6f33758-bd69-4951-8148-181de3b92474" providerId="ADAL" clId="{A436842E-EA5C-4A6D-B51D-DDAE8BC6E9BD}" dt="2023-11-08T18:22:50.565" v="79380"/>
          <ac:cxnSpMkLst>
            <pc:docMk/>
            <pc:sldMk cId="160926467" sldId="372"/>
            <ac:cxnSpMk id="1670" creationId="{92FECAC1-8555-711B-D942-DC0CC429F7F2}"/>
          </ac:cxnSpMkLst>
        </pc:cxnChg>
        <pc:cxnChg chg="mod ord">
          <ac:chgData name="Tan, Roger" userId="f6f33758-bd69-4951-8148-181de3b92474" providerId="ADAL" clId="{A436842E-EA5C-4A6D-B51D-DDAE8BC6E9BD}" dt="2023-11-08T18:22:50.561" v="79364"/>
          <ac:cxnSpMkLst>
            <pc:docMk/>
            <pc:sldMk cId="160926467" sldId="372"/>
            <ac:cxnSpMk id="1675" creationId="{87599269-BA68-963B-4EF3-931B0C145A13}"/>
          </ac:cxnSpMkLst>
        </pc:cxnChg>
        <pc:cxnChg chg="mod ord">
          <ac:chgData name="Tan, Roger" userId="f6f33758-bd69-4951-8148-181de3b92474" providerId="ADAL" clId="{A436842E-EA5C-4A6D-B51D-DDAE8BC6E9BD}" dt="2023-11-08T18:22:50.562" v="79368"/>
          <ac:cxnSpMkLst>
            <pc:docMk/>
            <pc:sldMk cId="160926467" sldId="372"/>
            <ac:cxnSpMk id="1676" creationId="{3A8FAA57-9197-5D81-7B64-14660908E38D}"/>
          </ac:cxnSpMkLst>
        </pc:cxnChg>
        <pc:cxnChg chg="mod ord">
          <ac:chgData name="Tan, Roger" userId="f6f33758-bd69-4951-8148-181de3b92474" providerId="ADAL" clId="{A436842E-EA5C-4A6D-B51D-DDAE8BC6E9BD}" dt="2023-11-08T18:22:50.589" v="79465"/>
          <ac:cxnSpMkLst>
            <pc:docMk/>
            <pc:sldMk cId="160926467" sldId="372"/>
            <ac:cxnSpMk id="1678" creationId="{57C5A4FE-E420-F4E6-AF1E-31D67758A202}"/>
          </ac:cxnSpMkLst>
        </pc:cxnChg>
        <pc:cxnChg chg="mod ord">
          <ac:chgData name="Tan, Roger" userId="f6f33758-bd69-4951-8148-181de3b92474" providerId="ADAL" clId="{A436842E-EA5C-4A6D-B51D-DDAE8BC6E9BD}" dt="2023-11-08T18:22:50.590" v="79467"/>
          <ac:cxnSpMkLst>
            <pc:docMk/>
            <pc:sldMk cId="160926467" sldId="372"/>
            <ac:cxnSpMk id="1679" creationId="{A5023766-BB15-51B1-909E-29B01F05CF9D}"/>
          </ac:cxnSpMkLst>
        </pc:cxnChg>
        <pc:cxnChg chg="mod ord">
          <ac:chgData name="Tan, Roger" userId="f6f33758-bd69-4951-8148-181de3b92474" providerId="ADAL" clId="{A436842E-EA5C-4A6D-B51D-DDAE8BC6E9BD}" dt="2023-11-08T18:22:50.590" v="79469"/>
          <ac:cxnSpMkLst>
            <pc:docMk/>
            <pc:sldMk cId="160926467" sldId="372"/>
            <ac:cxnSpMk id="1680" creationId="{64320CC5-3160-80F2-5F6E-025CDADDA492}"/>
          </ac:cxnSpMkLst>
        </pc:cxnChg>
        <pc:cxnChg chg="mod ord">
          <ac:chgData name="Tan, Roger" userId="f6f33758-bd69-4951-8148-181de3b92474" providerId="ADAL" clId="{A436842E-EA5C-4A6D-B51D-DDAE8BC6E9BD}" dt="2023-11-08T18:22:50.591" v="79471"/>
          <ac:cxnSpMkLst>
            <pc:docMk/>
            <pc:sldMk cId="160926467" sldId="372"/>
            <ac:cxnSpMk id="1681" creationId="{B4644024-8382-A0F6-BDC6-4419044A9A98}"/>
          </ac:cxnSpMkLst>
        </pc:cxnChg>
        <pc:cxnChg chg="mod ord">
          <ac:chgData name="Tan, Roger" userId="f6f33758-bd69-4951-8148-181de3b92474" providerId="ADAL" clId="{A436842E-EA5C-4A6D-B51D-DDAE8BC6E9BD}" dt="2023-11-08T18:22:50.591" v="79473"/>
          <ac:cxnSpMkLst>
            <pc:docMk/>
            <pc:sldMk cId="160926467" sldId="372"/>
            <ac:cxnSpMk id="1682" creationId="{C8892A6B-DA27-CEEB-3704-54DBF8B53825}"/>
          </ac:cxnSpMkLst>
        </pc:cxnChg>
        <pc:cxnChg chg="mod ord">
          <ac:chgData name="Tan, Roger" userId="f6f33758-bd69-4951-8148-181de3b92474" providerId="ADAL" clId="{A436842E-EA5C-4A6D-B51D-DDAE8BC6E9BD}" dt="2023-11-08T18:22:50.592" v="79475"/>
          <ac:cxnSpMkLst>
            <pc:docMk/>
            <pc:sldMk cId="160926467" sldId="372"/>
            <ac:cxnSpMk id="1683" creationId="{6B3BB417-FFA2-2A35-F45A-35A5D887BBC9}"/>
          </ac:cxnSpMkLst>
        </pc:cxnChg>
        <pc:cxnChg chg="mod ord">
          <ac:chgData name="Tan, Roger" userId="f6f33758-bd69-4951-8148-181de3b92474" providerId="ADAL" clId="{A436842E-EA5C-4A6D-B51D-DDAE8BC6E9BD}" dt="2023-11-08T18:22:50.592" v="79477"/>
          <ac:cxnSpMkLst>
            <pc:docMk/>
            <pc:sldMk cId="160926467" sldId="372"/>
            <ac:cxnSpMk id="1684" creationId="{9841B74B-EA7E-60D9-3EB5-8A76A4781F25}"/>
          </ac:cxnSpMkLst>
        </pc:cxnChg>
        <pc:cxnChg chg="mod ord">
          <ac:chgData name="Tan, Roger" userId="f6f33758-bd69-4951-8148-181de3b92474" providerId="ADAL" clId="{A436842E-EA5C-4A6D-B51D-DDAE8BC6E9BD}" dt="2023-11-08T18:22:50.592" v="79479"/>
          <ac:cxnSpMkLst>
            <pc:docMk/>
            <pc:sldMk cId="160926467" sldId="372"/>
            <ac:cxnSpMk id="1685" creationId="{57DB82F4-BED1-ECE8-2B70-4A70A66C4BA1}"/>
          </ac:cxnSpMkLst>
        </pc:cxnChg>
        <pc:cxnChg chg="mod ord">
          <ac:chgData name="Tan, Roger" userId="f6f33758-bd69-4951-8148-181de3b92474" providerId="ADAL" clId="{A436842E-EA5C-4A6D-B51D-DDAE8BC6E9BD}" dt="2023-11-08T18:22:50.593" v="79481"/>
          <ac:cxnSpMkLst>
            <pc:docMk/>
            <pc:sldMk cId="160926467" sldId="372"/>
            <ac:cxnSpMk id="1686" creationId="{EC07D800-E3E8-A0AD-B094-AF42AF0E90B1}"/>
          </ac:cxnSpMkLst>
        </pc:cxnChg>
        <pc:cxnChg chg="mod ord">
          <ac:chgData name="Tan, Roger" userId="f6f33758-bd69-4951-8148-181de3b92474" providerId="ADAL" clId="{A436842E-EA5C-4A6D-B51D-DDAE8BC6E9BD}" dt="2023-11-08T18:22:50.593" v="79483"/>
          <ac:cxnSpMkLst>
            <pc:docMk/>
            <pc:sldMk cId="160926467" sldId="372"/>
            <ac:cxnSpMk id="1687" creationId="{F54EFD62-445A-FA05-279A-9592C8923910}"/>
          </ac:cxnSpMkLst>
        </pc:cxnChg>
        <pc:cxnChg chg="mod ord">
          <ac:chgData name="Tan, Roger" userId="f6f33758-bd69-4951-8148-181de3b92474" providerId="ADAL" clId="{A436842E-EA5C-4A6D-B51D-DDAE8BC6E9BD}" dt="2023-11-08T18:22:50.593" v="79485"/>
          <ac:cxnSpMkLst>
            <pc:docMk/>
            <pc:sldMk cId="160926467" sldId="372"/>
            <ac:cxnSpMk id="1688" creationId="{56D62BC7-10A8-3B49-F48F-297EFD5B6731}"/>
          </ac:cxnSpMkLst>
        </pc:cxnChg>
      </pc:sldChg>
      <pc:sldChg chg="modSp mod">
        <pc:chgData name="Tan, Roger" userId="f6f33758-bd69-4951-8148-181de3b92474" providerId="ADAL" clId="{A436842E-EA5C-4A6D-B51D-DDAE8BC6E9BD}" dt="2023-11-08T20:21:12.249" v="80099" actId="20577"/>
        <pc:sldMkLst>
          <pc:docMk/>
          <pc:sldMk cId="1357425586" sldId="373"/>
        </pc:sldMkLst>
        <pc:spChg chg="mod">
          <ac:chgData name="Tan, Roger" userId="f6f33758-bd69-4951-8148-181de3b92474" providerId="ADAL" clId="{A436842E-EA5C-4A6D-B51D-DDAE8BC6E9BD}" dt="2023-11-08T20:21:12.249" v="80099" actId="20577"/>
          <ac:spMkLst>
            <pc:docMk/>
            <pc:sldMk cId="1357425586" sldId="373"/>
            <ac:spMk id="3" creationId="{F91D5F9B-C8D5-6F93-74EF-FC1D6E1441F0}"/>
          </ac:spMkLst>
        </pc:spChg>
      </pc:sldChg>
      <pc:sldChg chg="modSp mod">
        <pc:chgData name="Tan, Roger" userId="f6f33758-bd69-4951-8148-181de3b92474" providerId="ADAL" clId="{A436842E-EA5C-4A6D-B51D-DDAE8BC6E9BD}" dt="2023-11-08T02:21:59.477" v="76255"/>
        <pc:sldMkLst>
          <pc:docMk/>
          <pc:sldMk cId="4133456119" sldId="376"/>
        </pc:sldMkLst>
        <pc:graphicFrameChg chg="mod">
          <ac:chgData name="Tan, Roger" userId="f6f33758-bd69-4951-8148-181de3b92474" providerId="ADAL" clId="{A436842E-EA5C-4A6D-B51D-DDAE8BC6E9BD}" dt="2023-11-08T02:21:59.477" v="76255"/>
          <ac:graphicFrameMkLst>
            <pc:docMk/>
            <pc:sldMk cId="4133456119" sldId="376"/>
            <ac:graphicFrameMk id="4" creationId="{FD4A65FB-339A-B2BC-4155-257FFC3BBBB9}"/>
          </ac:graphicFrameMkLst>
        </pc:graphicFrameChg>
      </pc:sldChg>
      <pc:sldChg chg="mod modClrScheme chgLayout">
        <pc:chgData name="Tan, Roger" userId="f6f33758-bd69-4951-8148-181de3b92474" providerId="ADAL" clId="{A436842E-EA5C-4A6D-B51D-DDAE8BC6E9BD}" dt="2023-11-05T22:12:29.602" v="11740" actId="700"/>
        <pc:sldMkLst>
          <pc:docMk/>
          <pc:sldMk cId="2346415701" sldId="377"/>
        </pc:sldMkLst>
      </pc:sldChg>
      <pc:sldChg chg="addSp delSp modSp new add mod ord modTransition modClrScheme modShow chgLayout">
        <pc:chgData name="Tan, Roger" userId="f6f33758-bd69-4951-8148-181de3b92474" providerId="ADAL" clId="{A436842E-EA5C-4A6D-B51D-DDAE8BC6E9BD}" dt="2023-11-08T22:16:21.337" v="81316" actId="1076"/>
        <pc:sldMkLst>
          <pc:docMk/>
          <pc:sldMk cId="2786013774" sldId="379"/>
        </pc:sldMkLst>
        <pc:spChg chg="add mod">
          <ac:chgData name="Tan, Roger" userId="f6f33758-bd69-4951-8148-181de3b92474" providerId="ADAL" clId="{A436842E-EA5C-4A6D-B51D-DDAE8BC6E9BD}" dt="2023-11-08T00:42:53.733" v="76114" actId="20577"/>
          <ac:spMkLst>
            <pc:docMk/>
            <pc:sldMk cId="2786013774" sldId="379"/>
            <ac:spMk id="2" creationId="{8CDAE065-02E5-9B13-30C6-6B12ABF9A718}"/>
          </ac:spMkLst>
        </pc:spChg>
        <pc:spChg chg="add mod">
          <ac:chgData name="Tan, Roger" userId="f6f33758-bd69-4951-8148-181de3b92474" providerId="ADAL" clId="{A436842E-EA5C-4A6D-B51D-DDAE8BC6E9BD}" dt="2023-11-08T01:29:13.036" v="76204" actId="14100"/>
          <ac:spMkLst>
            <pc:docMk/>
            <pc:sldMk cId="2786013774" sldId="379"/>
            <ac:spMk id="3" creationId="{E2151080-417B-246C-EC8C-1AD858910DCA}"/>
          </ac:spMkLst>
        </pc:spChg>
        <pc:spChg chg="add mod">
          <ac:chgData name="Tan, Roger" userId="f6f33758-bd69-4951-8148-181de3b92474" providerId="ADAL" clId="{A436842E-EA5C-4A6D-B51D-DDAE8BC6E9BD}" dt="2023-11-08T01:29:11.449" v="76203" actId="14100"/>
          <ac:spMkLst>
            <pc:docMk/>
            <pc:sldMk cId="2786013774" sldId="379"/>
            <ac:spMk id="4" creationId="{4E1372BC-8690-D2B8-EFF9-5F045940E685}"/>
          </ac:spMkLst>
        </pc:spChg>
        <pc:spChg chg="add mod">
          <ac:chgData name="Tan, Roger" userId="f6f33758-bd69-4951-8148-181de3b92474" providerId="ADAL" clId="{A436842E-EA5C-4A6D-B51D-DDAE8BC6E9BD}" dt="2023-11-08T01:29:16.380" v="76205" actId="14100"/>
          <ac:spMkLst>
            <pc:docMk/>
            <pc:sldMk cId="2786013774" sldId="379"/>
            <ac:spMk id="5" creationId="{81063DE3-E826-E2D8-DAE2-61B680B27C4C}"/>
          </ac:spMkLst>
        </pc:spChg>
        <pc:spChg chg="add mod">
          <ac:chgData name="Tan, Roger" userId="f6f33758-bd69-4951-8148-181de3b92474" providerId="ADAL" clId="{A436842E-EA5C-4A6D-B51D-DDAE8BC6E9BD}" dt="2023-11-08T01:29:00.064" v="76199" actId="14100"/>
          <ac:spMkLst>
            <pc:docMk/>
            <pc:sldMk cId="2786013774" sldId="379"/>
            <ac:spMk id="6" creationId="{0344415C-5FD8-A952-40F5-C32EE61269E4}"/>
          </ac:spMkLst>
        </pc:spChg>
        <pc:spChg chg="add mod">
          <ac:chgData name="Tan, Roger" userId="f6f33758-bd69-4951-8148-181de3b92474" providerId="ADAL" clId="{A436842E-EA5C-4A6D-B51D-DDAE8BC6E9BD}" dt="2023-11-08T01:29:03.477" v="76200" actId="14100"/>
          <ac:spMkLst>
            <pc:docMk/>
            <pc:sldMk cId="2786013774" sldId="379"/>
            <ac:spMk id="7" creationId="{3240A465-62E8-8CAB-0D8D-A81DAC95FD83}"/>
          </ac:spMkLst>
        </pc:spChg>
        <pc:spChg chg="mod ord">
          <ac:chgData name="Tan, Roger" userId="f6f33758-bd69-4951-8148-181de3b92474" providerId="ADAL" clId="{A436842E-EA5C-4A6D-B51D-DDAE8BC6E9BD}" dt="2023-11-08T08:51:28.013" v="77391"/>
          <ac:spMkLst>
            <pc:docMk/>
            <pc:sldMk cId="2786013774" sldId="379"/>
            <ac:spMk id="8" creationId="{CDA1F9CF-31C6-5266-4105-DCFCA1CEF04B}"/>
          </ac:spMkLst>
        </pc:spChg>
        <pc:spChg chg="add mod">
          <ac:chgData name="Tan, Roger" userId="f6f33758-bd69-4951-8148-181de3b92474" providerId="ADAL" clId="{A436842E-EA5C-4A6D-B51D-DDAE8BC6E9BD}" dt="2023-11-07T17:17:17.054" v="74260" actId="1036"/>
          <ac:spMkLst>
            <pc:docMk/>
            <pc:sldMk cId="2786013774" sldId="379"/>
            <ac:spMk id="15" creationId="{64EF9CE9-DE05-2283-086F-8A90C80FB102}"/>
          </ac:spMkLst>
        </pc:spChg>
        <pc:spChg chg="add mod">
          <ac:chgData name="Tan, Roger" userId="f6f33758-bd69-4951-8148-181de3b92474" providerId="ADAL" clId="{A436842E-EA5C-4A6D-B51D-DDAE8BC6E9BD}" dt="2023-11-07T17:17:12.084" v="74256" actId="1036"/>
          <ac:spMkLst>
            <pc:docMk/>
            <pc:sldMk cId="2786013774" sldId="379"/>
            <ac:spMk id="16" creationId="{2D793EA1-9CCC-ED18-7EBF-D94E698A9E58}"/>
          </ac:spMkLst>
        </pc:spChg>
        <pc:spChg chg="add mod">
          <ac:chgData name="Tan, Roger" userId="f6f33758-bd69-4951-8148-181de3b92474" providerId="ADAL" clId="{A436842E-EA5C-4A6D-B51D-DDAE8BC6E9BD}" dt="2023-11-07T17:17:43.398" v="74275" actId="1036"/>
          <ac:spMkLst>
            <pc:docMk/>
            <pc:sldMk cId="2786013774" sldId="379"/>
            <ac:spMk id="17" creationId="{3435121B-BBAC-5C6B-EFCD-02B6CCE00767}"/>
          </ac:spMkLst>
        </pc:spChg>
        <pc:spChg chg="add mod">
          <ac:chgData name="Tan, Roger" userId="f6f33758-bd69-4951-8148-181de3b92474" providerId="ADAL" clId="{A436842E-EA5C-4A6D-B51D-DDAE8BC6E9BD}" dt="2023-11-07T17:17:32.072" v="74271" actId="20577"/>
          <ac:spMkLst>
            <pc:docMk/>
            <pc:sldMk cId="2786013774" sldId="379"/>
            <ac:spMk id="18" creationId="{32FE6E1E-13F4-3D91-E143-639859152C51}"/>
          </ac:spMkLst>
        </pc:spChg>
        <pc:spChg chg="add mod">
          <ac:chgData name="Tan, Roger" userId="f6f33758-bd69-4951-8148-181de3b92474" providerId="ADAL" clId="{A436842E-EA5C-4A6D-B51D-DDAE8BC6E9BD}" dt="2023-11-07T17:17:03.197" v="74250" actId="1036"/>
          <ac:spMkLst>
            <pc:docMk/>
            <pc:sldMk cId="2786013774" sldId="379"/>
            <ac:spMk id="19" creationId="{E861EAB6-CF7F-5D95-9B12-5AF5A0DE0A17}"/>
          </ac:spMkLst>
        </pc:spChg>
        <pc:spChg chg="add del mod">
          <ac:chgData name="Tan, Roger" userId="f6f33758-bd69-4951-8148-181de3b92474" providerId="ADAL" clId="{A436842E-EA5C-4A6D-B51D-DDAE8BC6E9BD}" dt="2023-11-08T21:53:42.537" v="81059" actId="478"/>
          <ac:spMkLst>
            <pc:docMk/>
            <pc:sldMk cId="2786013774" sldId="379"/>
            <ac:spMk id="20" creationId="{69B23FAA-480E-6247-3978-4E82C923D59C}"/>
          </ac:spMkLst>
        </pc:spChg>
        <pc:spChg chg="add del mod">
          <ac:chgData name="Tan, Roger" userId="f6f33758-bd69-4951-8148-181de3b92474" providerId="ADAL" clId="{A436842E-EA5C-4A6D-B51D-DDAE8BC6E9BD}" dt="2023-11-08T21:56:15.584" v="81111" actId="478"/>
          <ac:spMkLst>
            <pc:docMk/>
            <pc:sldMk cId="2786013774" sldId="379"/>
            <ac:spMk id="21" creationId="{6B5C26C0-D8CE-456E-EC12-1054C3300119}"/>
          </ac:spMkLst>
        </pc:spChg>
        <pc:spChg chg="add mod">
          <ac:chgData name="Tan, Roger" userId="f6f33758-bd69-4951-8148-181de3b92474" providerId="ADAL" clId="{A436842E-EA5C-4A6D-B51D-DDAE8BC6E9BD}" dt="2023-11-08T22:16:21.337" v="81316" actId="1076"/>
          <ac:spMkLst>
            <pc:docMk/>
            <pc:sldMk cId="2786013774" sldId="379"/>
            <ac:spMk id="22" creationId="{04E814C0-A360-8405-7361-3AF7FD8140E8}"/>
          </ac:spMkLst>
        </pc:spChg>
        <pc:graphicFrameChg chg="add mod ord modVis replST">
          <ac:chgData name="Tan, Roger" userId="f6f33758-bd69-4951-8148-181de3b92474" providerId="ADAL" clId="{A436842E-EA5C-4A6D-B51D-DDAE8BC6E9BD}" dt="2023-11-07T17:12:51.642" v="73943"/>
          <ac:graphicFrameMkLst>
            <pc:docMk/>
            <pc:sldMk cId="2786013774" sldId="379"/>
            <ac:graphicFrameMk id="10" creationId="{A96F7458-C2E1-D05F-BDE8-9828F2DA3B7F}"/>
          </ac:graphicFrameMkLst>
        </pc:graphicFrameChg>
        <pc:picChg chg="add mod">
          <ac:chgData name="Tan, Roger" userId="f6f33758-bd69-4951-8148-181de3b92474" providerId="ADAL" clId="{A436842E-EA5C-4A6D-B51D-DDAE8BC6E9BD}" dt="2023-11-06T01:14:04.880" v="15553" actId="14861"/>
          <ac:picMkLst>
            <pc:docMk/>
            <pc:sldMk cId="2786013774" sldId="379"/>
            <ac:picMk id="31" creationId="{90D0B653-A430-9A55-8459-2318A7441066}"/>
          </ac:picMkLst>
        </pc:picChg>
        <pc:picChg chg="add mod">
          <ac:chgData name="Tan, Roger" userId="f6f33758-bd69-4951-8148-181de3b92474" providerId="ADAL" clId="{A436842E-EA5C-4A6D-B51D-DDAE8BC6E9BD}" dt="2023-11-06T01:14:04.880" v="15553" actId="14861"/>
          <ac:picMkLst>
            <pc:docMk/>
            <pc:sldMk cId="2786013774" sldId="379"/>
            <ac:picMk id="33" creationId="{14D19233-A502-6541-C434-4C8808D13080}"/>
          </ac:picMkLst>
        </pc:picChg>
        <pc:picChg chg="add mod">
          <ac:chgData name="Tan, Roger" userId="f6f33758-bd69-4951-8148-181de3b92474" providerId="ADAL" clId="{A436842E-EA5C-4A6D-B51D-DDAE8BC6E9BD}" dt="2023-11-07T17:13:09.145" v="74061" actId="1037"/>
          <ac:picMkLst>
            <pc:docMk/>
            <pc:sldMk cId="2786013774" sldId="379"/>
            <ac:picMk id="35" creationId="{B087F236-34A0-E5FF-7D2F-2A387BE60E75}"/>
          </ac:picMkLst>
        </pc:picChg>
        <pc:picChg chg="add del">
          <ac:chgData name="Tan, Roger" userId="f6f33758-bd69-4951-8148-181de3b92474" providerId="ADAL" clId="{A436842E-EA5C-4A6D-B51D-DDAE8BC6E9BD}" dt="2023-11-05T23:02:49.856" v="14096"/>
          <ac:picMkLst>
            <pc:docMk/>
            <pc:sldMk cId="2786013774" sldId="379"/>
            <ac:picMk id="1026" creationId="{3D249725-0AFF-7F3B-E70F-A98DE97B4299}"/>
          </ac:picMkLst>
        </pc:picChg>
        <pc:picChg chg="add del">
          <ac:chgData name="Tan, Roger" userId="f6f33758-bd69-4951-8148-181de3b92474" providerId="ADAL" clId="{A436842E-EA5C-4A6D-B51D-DDAE8BC6E9BD}" dt="2023-11-05T23:02:49.856" v="14096"/>
          <ac:picMkLst>
            <pc:docMk/>
            <pc:sldMk cId="2786013774" sldId="379"/>
            <ac:picMk id="1027" creationId="{F15EED8E-026E-A6F0-1EEA-8232FD4D9708}"/>
          </ac:picMkLst>
        </pc:picChg>
        <pc:picChg chg="add del">
          <ac:chgData name="Tan, Roger" userId="f6f33758-bd69-4951-8148-181de3b92474" providerId="ADAL" clId="{A436842E-EA5C-4A6D-B51D-DDAE8BC6E9BD}" dt="2023-11-05T23:02:49.856" v="14096"/>
          <ac:picMkLst>
            <pc:docMk/>
            <pc:sldMk cId="2786013774" sldId="379"/>
            <ac:picMk id="1028" creationId="{12E411E1-551E-83D2-E4AA-2EA38D78AC5A}"/>
          </ac:picMkLst>
        </pc:picChg>
        <pc:picChg chg="add del">
          <ac:chgData name="Tan, Roger" userId="f6f33758-bd69-4951-8148-181de3b92474" providerId="ADAL" clId="{A436842E-EA5C-4A6D-B51D-DDAE8BC6E9BD}" dt="2023-11-05T23:02:49.856" v="14096"/>
          <ac:picMkLst>
            <pc:docMk/>
            <pc:sldMk cId="2786013774" sldId="379"/>
            <ac:picMk id="1029" creationId="{AB5318B5-B435-643D-BBB4-A95BB96958D4}"/>
          </ac:picMkLst>
        </pc:picChg>
        <pc:picChg chg="add del">
          <ac:chgData name="Tan, Roger" userId="f6f33758-bd69-4951-8148-181de3b92474" providerId="ADAL" clId="{A436842E-EA5C-4A6D-B51D-DDAE8BC6E9BD}" dt="2023-11-05T23:02:49.856" v="14096"/>
          <ac:picMkLst>
            <pc:docMk/>
            <pc:sldMk cId="2786013774" sldId="379"/>
            <ac:picMk id="1030" creationId="{F9CA5633-1F16-F15C-A8FD-B788089C7D07}"/>
          </ac:picMkLst>
        </pc:picChg>
        <pc:picChg chg="add del mod">
          <ac:chgData name="Tan, Roger" userId="f6f33758-bd69-4951-8148-181de3b92474" providerId="ADAL" clId="{A436842E-EA5C-4A6D-B51D-DDAE8BC6E9BD}" dt="2023-11-05T23:02:59.935" v="14100"/>
          <ac:picMkLst>
            <pc:docMk/>
            <pc:sldMk cId="2786013774" sldId="379"/>
            <ac:picMk id="1032" creationId="{1F11D3EE-282B-582C-F97B-E6558B3C5ABB}"/>
          </ac:picMkLst>
        </pc:picChg>
        <pc:picChg chg="add del mod">
          <ac:chgData name="Tan, Roger" userId="f6f33758-bd69-4951-8148-181de3b92474" providerId="ADAL" clId="{A436842E-EA5C-4A6D-B51D-DDAE8BC6E9BD}" dt="2023-11-05T23:02:59.935" v="14100"/>
          <ac:picMkLst>
            <pc:docMk/>
            <pc:sldMk cId="2786013774" sldId="379"/>
            <ac:picMk id="1033" creationId="{293E3387-0FF0-D942-1257-F6DD341B231F}"/>
          </ac:picMkLst>
        </pc:picChg>
        <pc:picChg chg="add del mod">
          <ac:chgData name="Tan, Roger" userId="f6f33758-bd69-4951-8148-181de3b92474" providerId="ADAL" clId="{A436842E-EA5C-4A6D-B51D-DDAE8BC6E9BD}" dt="2023-11-05T23:02:59.935" v="14100"/>
          <ac:picMkLst>
            <pc:docMk/>
            <pc:sldMk cId="2786013774" sldId="379"/>
            <ac:picMk id="1034" creationId="{96771CD4-1E7C-9BC7-D76F-3C818F8D22BB}"/>
          </ac:picMkLst>
        </pc:picChg>
        <pc:picChg chg="add del mod">
          <ac:chgData name="Tan, Roger" userId="f6f33758-bd69-4951-8148-181de3b92474" providerId="ADAL" clId="{A436842E-EA5C-4A6D-B51D-DDAE8BC6E9BD}" dt="2023-11-05T23:02:59.935" v="14100"/>
          <ac:picMkLst>
            <pc:docMk/>
            <pc:sldMk cId="2786013774" sldId="379"/>
            <ac:picMk id="1035" creationId="{FAED3D65-D1D2-2B9D-572A-027DFE65BC66}"/>
          </ac:picMkLst>
        </pc:picChg>
        <pc:picChg chg="add del mod">
          <ac:chgData name="Tan, Roger" userId="f6f33758-bd69-4951-8148-181de3b92474" providerId="ADAL" clId="{A436842E-EA5C-4A6D-B51D-DDAE8BC6E9BD}" dt="2023-11-05T23:02:59.935" v="14100"/>
          <ac:picMkLst>
            <pc:docMk/>
            <pc:sldMk cId="2786013774" sldId="379"/>
            <ac:picMk id="1036" creationId="{F0C8DD59-1B2F-6349-3F24-EED989699453}"/>
          </ac:picMkLst>
        </pc:picChg>
        <pc:picChg chg="add mod">
          <ac:chgData name="Tan, Roger" userId="f6f33758-bd69-4951-8148-181de3b92474" providerId="ADAL" clId="{A436842E-EA5C-4A6D-B51D-DDAE8BC6E9BD}" dt="2023-11-06T01:14:04.880" v="15553" actId="14861"/>
          <ac:picMkLst>
            <pc:docMk/>
            <pc:sldMk cId="2786013774" sldId="379"/>
            <ac:picMk id="1038" creationId="{EFB8E6EF-255A-78A4-45BB-82A7B53EBAD2}"/>
          </ac:picMkLst>
        </pc:picChg>
        <pc:picChg chg="add mod">
          <ac:chgData name="Tan, Roger" userId="f6f33758-bd69-4951-8148-181de3b92474" providerId="ADAL" clId="{A436842E-EA5C-4A6D-B51D-DDAE8BC6E9BD}" dt="2023-11-07T17:12:51.086" v="73939" actId="1036"/>
          <ac:picMkLst>
            <pc:docMk/>
            <pc:sldMk cId="2786013774" sldId="379"/>
            <ac:picMk id="1040" creationId="{8904F1C8-9459-3121-16EC-F3F9902F1E36}"/>
          </ac:picMkLst>
        </pc:picChg>
        <pc:cxnChg chg="add mod">
          <ac:chgData name="Tan, Roger" userId="f6f33758-bd69-4951-8148-181de3b92474" providerId="ADAL" clId="{A436842E-EA5C-4A6D-B51D-DDAE8BC6E9BD}" dt="2023-11-05T23:31:22.973" v="15540" actId="1037"/>
          <ac:cxnSpMkLst>
            <pc:docMk/>
            <pc:sldMk cId="2786013774" sldId="379"/>
            <ac:cxnSpMk id="9" creationId="{9B5719AA-B7CC-48CF-3128-B4E58B84DFE1}"/>
          </ac:cxnSpMkLst>
        </pc:cxnChg>
        <pc:cxnChg chg="add mod">
          <ac:chgData name="Tan, Roger" userId="f6f33758-bd69-4951-8148-181de3b92474" providerId="ADAL" clId="{A436842E-EA5C-4A6D-B51D-DDAE8BC6E9BD}" dt="2023-11-07T17:13:09.145" v="74061" actId="1037"/>
          <ac:cxnSpMkLst>
            <pc:docMk/>
            <pc:sldMk cId="2786013774" sldId="379"/>
            <ac:cxnSpMk id="11" creationId="{B2CF1B3E-62CA-4C11-D409-401437A45E6C}"/>
          </ac:cxnSpMkLst>
        </pc:cxnChg>
        <pc:cxnChg chg="add mod">
          <ac:chgData name="Tan, Roger" userId="f6f33758-bd69-4951-8148-181de3b92474" providerId="ADAL" clId="{A436842E-EA5C-4A6D-B51D-DDAE8BC6E9BD}" dt="2023-11-07T17:12:51.086" v="73939" actId="1036"/>
          <ac:cxnSpMkLst>
            <pc:docMk/>
            <pc:sldMk cId="2786013774" sldId="379"/>
            <ac:cxnSpMk id="12" creationId="{04577DBC-C1FE-3711-B098-AD54A96DB45D}"/>
          </ac:cxnSpMkLst>
        </pc:cxnChg>
        <pc:cxnChg chg="add mod">
          <ac:chgData name="Tan, Roger" userId="f6f33758-bd69-4951-8148-181de3b92474" providerId="ADAL" clId="{A436842E-EA5C-4A6D-B51D-DDAE8BC6E9BD}" dt="2023-11-07T17:12:23.065" v="73689" actId="1035"/>
          <ac:cxnSpMkLst>
            <pc:docMk/>
            <pc:sldMk cId="2786013774" sldId="379"/>
            <ac:cxnSpMk id="13" creationId="{D4098E29-7F43-8411-48C2-F79CC65FF506}"/>
          </ac:cxnSpMkLst>
        </pc:cxnChg>
        <pc:cxnChg chg="add mod">
          <ac:chgData name="Tan, Roger" userId="f6f33758-bd69-4951-8148-181de3b92474" providerId="ADAL" clId="{A436842E-EA5C-4A6D-B51D-DDAE8BC6E9BD}" dt="2023-11-07T17:13:09.145" v="74061" actId="1037"/>
          <ac:cxnSpMkLst>
            <pc:docMk/>
            <pc:sldMk cId="2786013774" sldId="379"/>
            <ac:cxnSpMk id="14" creationId="{10D74613-078B-84EE-67F9-F57FB9BD3B8B}"/>
          </ac:cxnSpMkLst>
        </pc:cxnChg>
      </pc:sldChg>
      <pc:sldChg chg="addSp delSp modSp add del mod modTransition addAnim delAnim modAnim modShow">
        <pc:chgData name="Tan, Roger" userId="f6f33758-bd69-4951-8148-181de3b92474" providerId="ADAL" clId="{A436842E-EA5C-4A6D-B51D-DDAE8BC6E9BD}" dt="2023-11-07T17:24:40.917" v="74384" actId="2696"/>
        <pc:sldMkLst>
          <pc:docMk/>
          <pc:sldMk cId="810383423" sldId="380"/>
        </pc:sldMkLst>
        <pc:spChg chg="add del mod ord topLvl">
          <ac:chgData name="Tan, Roger" userId="f6f33758-bd69-4951-8148-181de3b92474" providerId="ADAL" clId="{A436842E-EA5C-4A6D-B51D-DDAE8BC6E9BD}" dt="2023-11-05T22:58:00.031" v="14083"/>
          <ac:spMkLst>
            <pc:docMk/>
            <pc:sldMk cId="810383423" sldId="380"/>
            <ac:spMk id="3" creationId="{1645DE6E-B0AA-B55B-8EDD-F66AAD194E6F}"/>
          </ac:spMkLst>
        </pc:spChg>
        <pc:spChg chg="add del mod topLvl">
          <ac:chgData name="Tan, Roger" userId="f6f33758-bd69-4951-8148-181de3b92474" providerId="ADAL" clId="{A436842E-EA5C-4A6D-B51D-DDAE8BC6E9BD}" dt="2023-11-05T22:50:37.979" v="13641" actId="478"/>
          <ac:spMkLst>
            <pc:docMk/>
            <pc:sldMk cId="810383423" sldId="380"/>
            <ac:spMk id="4" creationId="{6C199EA1-80AD-A22B-2FC8-E975FA333CB9}"/>
          </ac:spMkLst>
        </pc:spChg>
        <pc:spChg chg="add mod ord">
          <ac:chgData name="Tan, Roger" userId="f6f33758-bd69-4951-8148-181de3b92474" providerId="ADAL" clId="{A436842E-EA5C-4A6D-B51D-DDAE8BC6E9BD}" dt="2023-11-05T22:58:00.030" v="14079"/>
          <ac:spMkLst>
            <pc:docMk/>
            <pc:sldMk cId="810383423" sldId="380"/>
            <ac:spMk id="5" creationId="{0C11C39D-2FD3-9274-AA8E-68DC8E6A36C1}"/>
          </ac:spMkLst>
        </pc:spChg>
        <pc:spChg chg="add del">
          <ac:chgData name="Tan, Roger" userId="f6f33758-bd69-4951-8148-181de3b92474" providerId="ADAL" clId="{A436842E-EA5C-4A6D-B51D-DDAE8BC6E9BD}" dt="2023-11-05T22:50:36.012" v="13640" actId="478"/>
          <ac:spMkLst>
            <pc:docMk/>
            <pc:sldMk cId="810383423" sldId="380"/>
            <ac:spMk id="6" creationId="{631E1946-2AE1-0965-C670-67F2EDEB31E0}"/>
          </ac:spMkLst>
        </pc:spChg>
        <pc:spChg chg="del">
          <ac:chgData name="Tan, Roger" userId="f6f33758-bd69-4951-8148-181de3b92474" providerId="ADAL" clId="{A436842E-EA5C-4A6D-B51D-DDAE8BC6E9BD}" dt="2023-11-05T22:50:40.008" v="13643" actId="478"/>
          <ac:spMkLst>
            <pc:docMk/>
            <pc:sldMk cId="810383423" sldId="380"/>
            <ac:spMk id="7" creationId="{315B1543-A9EE-4C5A-529B-982C7A1AF0EA}"/>
          </ac:spMkLst>
        </pc:spChg>
        <pc:spChg chg="del">
          <ac:chgData name="Tan, Roger" userId="f6f33758-bd69-4951-8148-181de3b92474" providerId="ADAL" clId="{A436842E-EA5C-4A6D-B51D-DDAE8BC6E9BD}" dt="2023-11-05T22:50:40.890" v="13644" actId="478"/>
          <ac:spMkLst>
            <pc:docMk/>
            <pc:sldMk cId="810383423" sldId="380"/>
            <ac:spMk id="8" creationId="{23FF3946-2A98-29A7-8A8E-270E17936BA5}"/>
          </ac:spMkLst>
        </pc:spChg>
        <pc:spChg chg="add mod ord">
          <ac:chgData name="Tan, Roger" userId="f6f33758-bd69-4951-8148-181de3b92474" providerId="ADAL" clId="{A436842E-EA5C-4A6D-B51D-DDAE8BC6E9BD}" dt="2023-11-05T22:58:00.031" v="14085"/>
          <ac:spMkLst>
            <pc:docMk/>
            <pc:sldMk cId="810383423" sldId="380"/>
            <ac:spMk id="9" creationId="{F90A0E9C-1451-F3D3-8BBD-877269608932}"/>
          </ac:spMkLst>
        </pc:spChg>
        <pc:spChg chg="del mod">
          <ac:chgData name="Tan, Roger" userId="f6f33758-bd69-4951-8148-181de3b92474" providerId="ADAL" clId="{A436842E-EA5C-4A6D-B51D-DDAE8BC6E9BD}" dt="2023-11-05T22:53:23.548" v="13679" actId="478"/>
          <ac:spMkLst>
            <pc:docMk/>
            <pc:sldMk cId="810383423" sldId="380"/>
            <ac:spMk id="10" creationId="{D9DDD1C0-BE56-471A-224F-6D1314752B7E}"/>
          </ac:spMkLst>
        </pc:spChg>
        <pc:spChg chg="add mod ord">
          <ac:chgData name="Tan, Roger" userId="f6f33758-bd69-4951-8148-181de3b92474" providerId="ADAL" clId="{A436842E-EA5C-4A6D-B51D-DDAE8BC6E9BD}" dt="2023-11-05T22:58:00.030" v="14077"/>
          <ac:spMkLst>
            <pc:docMk/>
            <pc:sldMk cId="810383423" sldId="380"/>
            <ac:spMk id="11" creationId="{0C4E3C91-B7B4-D7D7-AB23-C876449C2176}"/>
          </ac:spMkLst>
        </pc:spChg>
        <pc:spChg chg="add mod ord">
          <ac:chgData name="Tan, Roger" userId="f6f33758-bd69-4951-8148-181de3b92474" providerId="ADAL" clId="{A436842E-EA5C-4A6D-B51D-DDAE8BC6E9BD}" dt="2023-11-05T22:58:00.032" v="14087"/>
          <ac:spMkLst>
            <pc:docMk/>
            <pc:sldMk cId="810383423" sldId="380"/>
            <ac:spMk id="12" creationId="{DC3C3C06-209E-9619-8A02-297ABF28A455}"/>
          </ac:spMkLst>
        </pc:spChg>
        <pc:spChg chg="add mod ord">
          <ac:chgData name="Tan, Roger" userId="f6f33758-bd69-4951-8148-181de3b92474" providerId="ADAL" clId="{A436842E-EA5C-4A6D-B51D-DDAE8BC6E9BD}" dt="2023-11-05T22:58:00.029" v="14075"/>
          <ac:spMkLst>
            <pc:docMk/>
            <pc:sldMk cId="810383423" sldId="380"/>
            <ac:spMk id="13" creationId="{FA6CD3FD-36FD-6537-069C-26A1B2EE7D6F}"/>
          </ac:spMkLst>
        </pc:spChg>
        <pc:spChg chg="mod">
          <ac:chgData name="Tan, Roger" userId="f6f33758-bd69-4951-8148-181de3b92474" providerId="ADAL" clId="{A436842E-EA5C-4A6D-B51D-DDAE8BC6E9BD}" dt="2023-11-05T22:57:28.969" v="14016"/>
          <ac:spMkLst>
            <pc:docMk/>
            <pc:sldMk cId="810383423" sldId="380"/>
            <ac:spMk id="15" creationId="{4BC0F2C1-0EE1-30D0-830A-052634B32A7A}"/>
          </ac:spMkLst>
        </pc:spChg>
        <pc:spChg chg="mod">
          <ac:chgData name="Tan, Roger" userId="f6f33758-bd69-4951-8148-181de3b92474" providerId="ADAL" clId="{A436842E-EA5C-4A6D-B51D-DDAE8BC6E9BD}" dt="2023-11-05T22:57:28.969" v="14016"/>
          <ac:spMkLst>
            <pc:docMk/>
            <pc:sldMk cId="810383423" sldId="380"/>
            <ac:spMk id="16" creationId="{F03B4CE4-91A7-808A-FC21-6BFF7E18AFB1}"/>
          </ac:spMkLst>
        </pc:spChg>
        <pc:spChg chg="mod">
          <ac:chgData name="Tan, Roger" userId="f6f33758-bd69-4951-8148-181de3b92474" providerId="ADAL" clId="{A436842E-EA5C-4A6D-B51D-DDAE8BC6E9BD}" dt="2023-11-05T22:57:40.840" v="14041"/>
          <ac:spMkLst>
            <pc:docMk/>
            <pc:sldMk cId="810383423" sldId="380"/>
            <ac:spMk id="18" creationId="{2C8CABA9-FA9D-1260-C019-1EBE0746EB0E}"/>
          </ac:spMkLst>
        </pc:spChg>
        <pc:spChg chg="mod">
          <ac:chgData name="Tan, Roger" userId="f6f33758-bd69-4951-8148-181de3b92474" providerId="ADAL" clId="{A436842E-EA5C-4A6D-B51D-DDAE8BC6E9BD}" dt="2023-11-05T22:57:40.840" v="14041"/>
          <ac:spMkLst>
            <pc:docMk/>
            <pc:sldMk cId="810383423" sldId="380"/>
            <ac:spMk id="19" creationId="{9F9435F1-2E3C-5E4B-2237-4B97697CB50B}"/>
          </ac:spMkLst>
        </pc:spChg>
        <pc:spChg chg="mod">
          <ac:chgData name="Tan, Roger" userId="f6f33758-bd69-4951-8148-181de3b92474" providerId="ADAL" clId="{A436842E-EA5C-4A6D-B51D-DDAE8BC6E9BD}" dt="2023-11-05T22:57:54.868" v="14066"/>
          <ac:spMkLst>
            <pc:docMk/>
            <pc:sldMk cId="810383423" sldId="380"/>
            <ac:spMk id="21" creationId="{166DCC49-443A-AE05-34F9-F4826EBF74F8}"/>
          </ac:spMkLst>
        </pc:spChg>
        <pc:spChg chg="mod">
          <ac:chgData name="Tan, Roger" userId="f6f33758-bd69-4951-8148-181de3b92474" providerId="ADAL" clId="{A436842E-EA5C-4A6D-B51D-DDAE8BC6E9BD}" dt="2023-11-05T22:57:54.868" v="14066"/>
          <ac:spMkLst>
            <pc:docMk/>
            <pc:sldMk cId="810383423" sldId="380"/>
            <ac:spMk id="22" creationId="{30C1051C-344F-5B34-2BDD-6A8097BDEFEE}"/>
          </ac:spMkLst>
        </pc:spChg>
        <pc:spChg chg="mod ord">
          <ac:chgData name="Tan, Roger" userId="f6f33758-bd69-4951-8148-181de3b92474" providerId="ADAL" clId="{A436842E-EA5C-4A6D-B51D-DDAE8BC6E9BD}" dt="2023-11-05T22:58:00.030" v="14081"/>
          <ac:spMkLst>
            <pc:docMk/>
            <pc:sldMk cId="810383423" sldId="380"/>
            <ac:spMk id="23" creationId="{085062C9-E1EF-8DA2-9825-7C696F0759C6}"/>
          </ac:spMkLst>
        </pc:spChg>
        <pc:spChg chg="del mod ord">
          <ac:chgData name="Tan, Roger" userId="f6f33758-bd69-4951-8148-181de3b92474" providerId="ADAL" clId="{A436842E-EA5C-4A6D-B51D-DDAE8BC6E9BD}" dt="2023-11-05T22:54:37.696" v="13761" actId="478"/>
          <ac:spMkLst>
            <pc:docMk/>
            <pc:sldMk cId="810383423" sldId="380"/>
            <ac:spMk id="27" creationId="{02D62AF9-F02F-1649-298A-37C592AFA5A1}"/>
          </ac:spMkLst>
        </pc:spChg>
        <pc:spChg chg="del mod">
          <ac:chgData name="Tan, Roger" userId="f6f33758-bd69-4951-8148-181de3b92474" providerId="ADAL" clId="{A436842E-EA5C-4A6D-B51D-DDAE8BC6E9BD}" dt="2023-11-05T22:51:26.502" v="13658" actId="478"/>
          <ac:spMkLst>
            <pc:docMk/>
            <pc:sldMk cId="810383423" sldId="380"/>
            <ac:spMk id="34" creationId="{8414AB94-4614-CF24-9993-74BA355FCD32}"/>
          </ac:spMkLst>
        </pc:spChg>
        <pc:grpChg chg="add del mod">
          <ac:chgData name="Tan, Roger" userId="f6f33758-bd69-4951-8148-181de3b92474" providerId="ADAL" clId="{A436842E-EA5C-4A6D-B51D-DDAE8BC6E9BD}" dt="2023-11-05T22:50:37.979" v="13641" actId="478"/>
          <ac:grpSpMkLst>
            <pc:docMk/>
            <pc:sldMk cId="810383423" sldId="380"/>
            <ac:grpSpMk id="2" creationId="{8379CAF6-A9D9-3391-F14E-D63DC39B6F22}"/>
          </ac:grpSpMkLst>
        </pc:grpChg>
        <pc:grpChg chg="add del mod ord">
          <ac:chgData name="Tan, Roger" userId="f6f33758-bd69-4951-8148-181de3b92474" providerId="ADAL" clId="{A436842E-EA5C-4A6D-B51D-DDAE8BC6E9BD}" dt="2023-11-05T22:58:06.481" v="14094" actId="478"/>
          <ac:grpSpMkLst>
            <pc:docMk/>
            <pc:sldMk cId="810383423" sldId="380"/>
            <ac:grpSpMk id="14" creationId="{89178B6A-B057-27B7-ACA0-22055CA1E1F0}"/>
          </ac:grpSpMkLst>
        </pc:grpChg>
        <pc:grpChg chg="add del mod ord">
          <ac:chgData name="Tan, Roger" userId="f6f33758-bd69-4951-8148-181de3b92474" providerId="ADAL" clId="{A436842E-EA5C-4A6D-B51D-DDAE8BC6E9BD}" dt="2023-11-05T22:58:04.586" v="14092" actId="478"/>
          <ac:grpSpMkLst>
            <pc:docMk/>
            <pc:sldMk cId="810383423" sldId="380"/>
            <ac:grpSpMk id="17" creationId="{CE2C7EB5-11D7-C038-1639-5EBE541F52ED}"/>
          </ac:grpSpMkLst>
        </pc:grpChg>
        <pc:grpChg chg="add del mod ord">
          <ac:chgData name="Tan, Roger" userId="f6f33758-bd69-4951-8148-181de3b92474" providerId="ADAL" clId="{A436842E-EA5C-4A6D-B51D-DDAE8BC6E9BD}" dt="2023-11-05T22:58:05.512" v="14093" actId="478"/>
          <ac:grpSpMkLst>
            <pc:docMk/>
            <pc:sldMk cId="810383423" sldId="380"/>
            <ac:grpSpMk id="20" creationId="{A50C7052-4967-FB4F-4655-9CD5ECB7BF47}"/>
          </ac:grpSpMkLst>
        </pc:grpChg>
        <pc:graphicFrameChg chg="mod">
          <ac:chgData name="Tan, Roger" userId="f6f33758-bd69-4951-8148-181de3b92474" providerId="ADAL" clId="{A436842E-EA5C-4A6D-B51D-DDAE8BC6E9BD}" dt="2023-11-05T22:58:00.034" v="14091"/>
          <ac:graphicFrameMkLst>
            <pc:docMk/>
            <pc:sldMk cId="810383423" sldId="380"/>
            <ac:graphicFrameMk id="26" creationId="{0901792F-EE81-E31F-BB45-EF6B90CAE586}"/>
          </ac:graphicFrameMkLst>
        </pc:graphicFrameChg>
      </pc:sldChg>
      <pc:sldChg chg="addSp delSp modSp add del mod">
        <pc:chgData name="Tan, Roger" userId="f6f33758-bd69-4951-8148-181de3b92474" providerId="ADAL" clId="{A436842E-EA5C-4A6D-B51D-DDAE8BC6E9BD}" dt="2023-11-07T19:27:41.126" v="75871" actId="2696"/>
        <pc:sldMkLst>
          <pc:docMk/>
          <pc:sldMk cId="81803173" sldId="386"/>
        </pc:sldMkLst>
        <pc:spChg chg="mod ord">
          <ac:chgData name="Tan, Roger" userId="f6f33758-bd69-4951-8148-181de3b92474" providerId="ADAL" clId="{A436842E-EA5C-4A6D-B51D-DDAE8BC6E9BD}" dt="2023-11-06T02:26:55.956" v="15570"/>
          <ac:spMkLst>
            <pc:docMk/>
            <pc:sldMk cId="81803173" sldId="386"/>
            <ac:spMk id="2" creationId="{8CDAE065-02E5-9B13-30C6-6B12ABF9A718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3" creationId="{E2151080-417B-246C-EC8C-1AD858910DCA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4" creationId="{4E1372BC-8690-D2B8-EFF9-5F045940E685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5" creationId="{81063DE3-E826-E2D8-DAE2-61B680B27C4C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6" creationId="{0344415C-5FD8-A952-40F5-C32EE61269E4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7" creationId="{3240A465-62E8-8CAB-0D8D-A81DAC95FD83}"/>
          </ac:spMkLst>
        </pc:spChg>
        <pc:spChg chg="add 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8" creationId="{B71B09F2-F0FF-C92F-50E1-2DA890915674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15" creationId="{64EF9CE9-DE05-2283-086F-8A90C80FB102}"/>
          </ac:spMkLst>
        </pc:spChg>
        <pc:spChg chg="del mod ord">
          <ac:chgData name="Tan, Roger" userId="f6f33758-bd69-4951-8148-181de3b92474" providerId="ADAL" clId="{A436842E-EA5C-4A6D-B51D-DDAE8BC6E9BD}" dt="2023-11-06T02:35:01.950" v="15707" actId="478"/>
          <ac:spMkLst>
            <pc:docMk/>
            <pc:sldMk cId="81803173" sldId="386"/>
            <ac:spMk id="16" creationId="{2D793EA1-9CCC-ED18-7EBF-D94E698A9E58}"/>
          </ac:spMkLst>
        </pc:spChg>
        <pc:spChg chg="del mod ord">
          <ac:chgData name="Tan, Roger" userId="f6f33758-bd69-4951-8148-181de3b92474" providerId="ADAL" clId="{A436842E-EA5C-4A6D-B51D-DDAE8BC6E9BD}" dt="2023-11-06T02:46:55.596" v="16039" actId="478"/>
          <ac:spMkLst>
            <pc:docMk/>
            <pc:sldMk cId="81803173" sldId="386"/>
            <ac:spMk id="17" creationId="{3435121B-BBAC-5C6B-EFCD-02B6CCE00767}"/>
          </ac:spMkLst>
        </pc:spChg>
        <pc:spChg chg="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18" creationId="{32FE6E1E-13F4-3D91-E143-639859152C51}"/>
          </ac:spMkLst>
        </pc:spChg>
        <pc:spChg chg="del mod ord">
          <ac:chgData name="Tan, Roger" userId="f6f33758-bd69-4951-8148-181de3b92474" providerId="ADAL" clId="{A436842E-EA5C-4A6D-B51D-DDAE8BC6E9BD}" dt="2023-11-06T02:54:14.478" v="16180" actId="478"/>
          <ac:spMkLst>
            <pc:docMk/>
            <pc:sldMk cId="81803173" sldId="386"/>
            <ac:spMk id="19" creationId="{E861EAB6-CF7F-5D95-9B12-5AF5A0DE0A17}"/>
          </ac:spMkLst>
        </pc:spChg>
        <pc:spChg chg="add mod or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20" creationId="{2EA5535E-7DF2-3985-44AC-87315045399F}"/>
          </ac:spMkLst>
        </pc:spChg>
        <pc:spChg chg="add del mod">
          <ac:chgData name="Tan, Roger" userId="f6f33758-bd69-4951-8148-181de3b92474" providerId="ADAL" clId="{A436842E-EA5C-4A6D-B51D-DDAE8BC6E9BD}" dt="2023-11-06T02:29:07.465" v="15632" actId="478"/>
          <ac:spMkLst>
            <pc:docMk/>
            <pc:sldMk cId="81803173" sldId="386"/>
            <ac:spMk id="22" creationId="{DD7EA450-C2C3-2F62-7EAD-F75607DD2F64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23" creationId="{CF0242CD-215C-6342-4D35-41D18142F08C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24" creationId="{EC29DB1F-51FD-1259-6DE2-CE0C7AC6F06F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25" creationId="{30394078-0CE5-F1C3-A37F-51079909FB9B}"/>
          </ac:spMkLst>
        </pc:spChg>
        <pc:spChg chg="add mod">
          <ac:chgData name="Tan, Roger" userId="f6f33758-bd69-4951-8148-181de3b92474" providerId="ADAL" clId="{A436842E-EA5C-4A6D-B51D-DDAE8BC6E9BD}" dt="2023-11-06T03:01:08.459" v="16625" actId="1038"/>
          <ac:spMkLst>
            <pc:docMk/>
            <pc:sldMk cId="81803173" sldId="386"/>
            <ac:spMk id="26" creationId="{E0F1E157-4BC8-A1F0-F2F5-7C2A162D9B16}"/>
          </ac:spMkLst>
        </pc:spChg>
        <pc:spChg chg="add mod">
          <ac:chgData name="Tan, Roger" userId="f6f33758-bd69-4951-8148-181de3b92474" providerId="ADAL" clId="{A436842E-EA5C-4A6D-B51D-DDAE8BC6E9BD}" dt="2023-11-06T03:01:08.459" v="16625" actId="1038"/>
          <ac:spMkLst>
            <pc:docMk/>
            <pc:sldMk cId="81803173" sldId="386"/>
            <ac:spMk id="27" creationId="{6EB77FC6-0E3E-A877-ADCA-3B8E134884A8}"/>
          </ac:spMkLst>
        </pc:spChg>
        <pc:spChg chg="add mod">
          <ac:chgData name="Tan, Roger" userId="f6f33758-bd69-4951-8148-181de3b92474" providerId="ADAL" clId="{A436842E-EA5C-4A6D-B51D-DDAE8BC6E9BD}" dt="2023-11-06T03:01:08.459" v="16625" actId="1038"/>
          <ac:spMkLst>
            <pc:docMk/>
            <pc:sldMk cId="81803173" sldId="386"/>
            <ac:spMk id="28" creationId="{56F607B3-8986-35DA-F354-8D84BA5F1C0D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29" creationId="{839B9A17-6A2B-B1D8-D649-E9759FC94382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30" creationId="{6746F159-EE0F-A7DC-C6B9-CEBEED6B7363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32" creationId="{FDF8C871-0FAF-40BF-D760-A11589FDE200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38" creationId="{90584413-E154-A113-7ACC-C06DCBA649F4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39" creationId="{1C3DC0A0-08E0-339F-F490-99BE9220BB6F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40" creationId="{1AAFC152-7487-6EC0-54D0-7C51A9C16D12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41" creationId="{EFB4B9DE-3CE8-708A-C6AD-8CC2420354EB}"/>
          </ac:spMkLst>
        </pc:spChg>
        <pc:spChg chg="add mod">
          <ac:chgData name="Tan, Roger" userId="f6f33758-bd69-4951-8148-181de3b92474" providerId="ADAL" clId="{A436842E-EA5C-4A6D-B51D-DDAE8BC6E9BD}" dt="2023-11-06T03:12:01.819" v="16804" actId="1036"/>
          <ac:spMkLst>
            <pc:docMk/>
            <pc:sldMk cId="81803173" sldId="386"/>
            <ac:spMk id="42" creationId="{918C81C2-B8F8-4EBE-7D38-98ECEB1D4D53}"/>
          </ac:spMkLst>
        </pc:spChg>
        <pc:graphicFrameChg chg="mod">
          <ac:chgData name="Tan, Roger" userId="f6f33758-bd69-4951-8148-181de3b92474" providerId="ADAL" clId="{A436842E-EA5C-4A6D-B51D-DDAE8BC6E9BD}" dt="2023-11-06T03:12:02.373" v="16808"/>
          <ac:graphicFrameMkLst>
            <pc:docMk/>
            <pc:sldMk cId="81803173" sldId="386"/>
            <ac:graphicFrameMk id="10" creationId="{A96F7458-C2E1-D05F-BDE8-9828F2DA3B7F}"/>
          </ac:graphicFrameMkLst>
        </pc:graphicFrameChg>
        <pc:picChg chg="mod ord">
          <ac:chgData name="Tan, Roger" userId="f6f33758-bd69-4951-8148-181de3b92474" providerId="ADAL" clId="{A436842E-EA5C-4A6D-B51D-DDAE8BC6E9BD}" dt="2023-11-06T03:12:01.819" v="16804" actId="1036"/>
          <ac:picMkLst>
            <pc:docMk/>
            <pc:sldMk cId="81803173" sldId="386"/>
            <ac:picMk id="31" creationId="{90D0B653-A430-9A55-8459-2318A7441066}"/>
          </ac:picMkLst>
        </pc:picChg>
        <pc:picChg chg="mod ord">
          <ac:chgData name="Tan, Roger" userId="f6f33758-bd69-4951-8148-181de3b92474" providerId="ADAL" clId="{A436842E-EA5C-4A6D-B51D-DDAE8BC6E9BD}" dt="2023-11-06T03:12:01.819" v="16804" actId="1036"/>
          <ac:picMkLst>
            <pc:docMk/>
            <pc:sldMk cId="81803173" sldId="386"/>
            <ac:picMk id="33" creationId="{14D19233-A502-6541-C434-4C8808D13080}"/>
          </ac:picMkLst>
        </pc:picChg>
        <pc:picChg chg="mod ord">
          <ac:chgData name="Tan, Roger" userId="f6f33758-bd69-4951-8148-181de3b92474" providerId="ADAL" clId="{A436842E-EA5C-4A6D-B51D-DDAE8BC6E9BD}" dt="2023-11-06T03:12:01.819" v="16804" actId="1036"/>
          <ac:picMkLst>
            <pc:docMk/>
            <pc:sldMk cId="81803173" sldId="386"/>
            <ac:picMk id="35" creationId="{B087F236-34A0-E5FF-7D2F-2A387BE60E75}"/>
          </ac:picMkLst>
        </pc:picChg>
        <pc:picChg chg="mod">
          <ac:chgData name="Tan, Roger" userId="f6f33758-bd69-4951-8148-181de3b92474" providerId="ADAL" clId="{A436842E-EA5C-4A6D-B51D-DDAE8BC6E9BD}" dt="2023-11-06T03:12:01.819" v="16804" actId="1036"/>
          <ac:picMkLst>
            <pc:docMk/>
            <pc:sldMk cId="81803173" sldId="386"/>
            <ac:picMk id="1038" creationId="{EFB8E6EF-255A-78A4-45BB-82A7B53EBAD2}"/>
          </ac:picMkLst>
        </pc:picChg>
        <pc:picChg chg="mod">
          <ac:chgData name="Tan, Roger" userId="f6f33758-bd69-4951-8148-181de3b92474" providerId="ADAL" clId="{A436842E-EA5C-4A6D-B51D-DDAE8BC6E9BD}" dt="2023-11-06T03:12:01.819" v="16804" actId="1036"/>
          <ac:picMkLst>
            <pc:docMk/>
            <pc:sldMk cId="81803173" sldId="386"/>
            <ac:picMk id="1040" creationId="{8904F1C8-9459-3121-16EC-F3F9902F1E36}"/>
          </ac:picMkLst>
        </pc:picChg>
        <pc:cxnChg chg="mod or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9" creationId="{9B5719AA-B7CC-48CF-3128-B4E58B84DFE1}"/>
          </ac:cxnSpMkLst>
        </pc:cxnChg>
        <pc:cxnChg chg="mod or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11" creationId="{B2CF1B3E-62CA-4C11-D409-401437A45E6C}"/>
          </ac:cxnSpMkLst>
        </pc:cxnChg>
        <pc:cxnChg chg="mod or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12" creationId="{04577DBC-C1FE-3711-B098-AD54A96DB45D}"/>
          </ac:cxnSpMkLst>
        </pc:cxnChg>
        <pc:cxnChg chg="mod or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13" creationId="{D4098E29-7F43-8411-48C2-F79CC65FF506}"/>
          </ac:cxnSpMkLst>
        </pc:cxnChg>
        <pc:cxnChg chg="mod or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14" creationId="{10D74613-078B-84EE-67F9-F57FB9BD3B8B}"/>
          </ac:cxnSpMkLst>
        </pc:cxnChg>
        <pc:cxnChg chg="add mo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36" creationId="{004C2BB8-36AE-5718-79B9-EA7C604801B8}"/>
          </ac:cxnSpMkLst>
        </pc:cxnChg>
        <pc:cxnChg chg="add mo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37" creationId="{F615D9F5-C202-7B45-3890-E47E1C2C09E7}"/>
          </ac:cxnSpMkLst>
        </pc:cxnChg>
        <pc:cxnChg chg="add mod">
          <ac:chgData name="Tan, Roger" userId="f6f33758-bd69-4951-8148-181de3b92474" providerId="ADAL" clId="{A436842E-EA5C-4A6D-B51D-DDAE8BC6E9BD}" dt="2023-11-06T03:12:01.819" v="16804" actId="1036"/>
          <ac:cxnSpMkLst>
            <pc:docMk/>
            <pc:sldMk cId="81803173" sldId="386"/>
            <ac:cxnSpMk id="58" creationId="{7BE6B0C8-8586-7951-7CB0-3E9F29792AA8}"/>
          </ac:cxnSpMkLst>
        </pc:cxnChg>
      </pc:sldChg>
      <pc:sldChg chg="modSp mod">
        <pc:chgData name="Tan, Roger" userId="f6f33758-bd69-4951-8148-181de3b92474" providerId="ADAL" clId="{A436842E-EA5C-4A6D-B51D-DDAE8BC6E9BD}" dt="2023-11-06T05:56:45.374" v="16956"/>
        <pc:sldMkLst>
          <pc:docMk/>
          <pc:sldMk cId="3926867436" sldId="388"/>
        </pc:sldMkLst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35" creationId="{3C76C31F-A56C-5ED8-FFDE-71BFF5EF8600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36" creationId="{D194E45A-5627-DEB3-3DB3-8E74BAA88E1E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37" creationId="{67F49D6A-B137-8817-AA55-74F04F74E1F5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39" creationId="{FEF69C03-131E-E818-3867-620F0EBC6C2B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41" creationId="{B814F82F-1E6E-18F3-16B4-A740B0976BCF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43" creationId="{7B0F064D-73F7-F65D-D7B9-B0B4847C9FFB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44" creationId="{17EE1899-F9A6-08C9-F4FA-36AAB0F244A4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45" creationId="{BDA20689-ACA8-DE42-9C1C-F60807EA6469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46" creationId="{259BF902-4B34-0947-71DA-39B152C295C9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0" creationId="{F5055CBA-70DE-9163-5007-645140EF3231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1" creationId="{25F37BEE-6846-DC8F-DCF6-DF9F286F4405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2" creationId="{FAD74804-514E-08B7-4A59-2FD2E758862D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3" creationId="{79CE3599-CF33-1A1D-6B4D-8ADD3CD9D8BD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4" creationId="{C6614D92-50D2-0F2F-9C4E-A2B80AB52FF3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5" creationId="{29154071-C1FD-DB92-B668-31542ECEBBA9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7" creationId="{584B7203-5202-6946-E5A9-A5A97DE4F06E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59" creationId="{1B427222-3F1B-6BA8-EAB3-B2EA20B73093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60" creationId="{C608B9AC-E90E-104B-C2CB-E836E1744F65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61" creationId="{03CC64FC-BA84-B15B-569C-17F9439C824C}"/>
          </ac:spMkLst>
        </pc:spChg>
        <pc:spChg chg="mod">
          <ac:chgData name="Tan, Roger" userId="f6f33758-bd69-4951-8148-181de3b92474" providerId="ADAL" clId="{A436842E-EA5C-4A6D-B51D-DDAE8BC6E9BD}" dt="2023-11-06T04:16:09.949" v="16942" actId="1076"/>
          <ac:spMkLst>
            <pc:docMk/>
            <pc:sldMk cId="3926867436" sldId="388"/>
            <ac:spMk id="62" creationId="{FC8AEDB7-878B-F346-71B4-5EDA3A1D5AFF}"/>
          </ac:spMkLst>
        </pc:spChg>
        <pc:grpChg chg="mod">
          <ac:chgData name="Tan, Roger" userId="f6f33758-bd69-4951-8148-181de3b92474" providerId="ADAL" clId="{A436842E-EA5C-4A6D-B51D-DDAE8BC6E9BD}" dt="2023-11-06T04:16:09.949" v="16942" actId="1076"/>
          <ac:grpSpMkLst>
            <pc:docMk/>
            <pc:sldMk cId="3926867436" sldId="388"/>
            <ac:grpSpMk id="33" creationId="{EBBE44D5-F619-435B-CC1D-EF9B15EBBD59}"/>
          </ac:grpSpMkLst>
        </pc:grpChg>
        <pc:grpChg chg="mod">
          <ac:chgData name="Tan, Roger" userId="f6f33758-bd69-4951-8148-181de3b92474" providerId="ADAL" clId="{A436842E-EA5C-4A6D-B51D-DDAE8BC6E9BD}" dt="2023-11-06T04:16:09.949" v="16942" actId="1076"/>
          <ac:grpSpMkLst>
            <pc:docMk/>
            <pc:sldMk cId="3926867436" sldId="388"/>
            <ac:grpSpMk id="34" creationId="{BAFEA759-387D-F795-CE63-5372C97D369E}"/>
          </ac:grpSpMkLst>
        </pc:grpChg>
        <pc:graphicFrameChg chg="mod">
          <ac:chgData name="Tan, Roger" userId="f6f33758-bd69-4951-8148-181de3b92474" providerId="ADAL" clId="{A436842E-EA5C-4A6D-B51D-DDAE8BC6E9BD}" dt="2023-11-06T05:56:45.374" v="16956"/>
          <ac:graphicFrameMkLst>
            <pc:docMk/>
            <pc:sldMk cId="3926867436" sldId="388"/>
            <ac:graphicFrameMk id="14" creationId="{17A90CED-A26D-EE3C-D1E0-6B7BEBBD1632}"/>
          </ac:graphicFrameMkLst>
        </pc:graphicFrameChg>
      </pc:sldChg>
      <pc:sldChg chg="modSp add mod modTransition modShow">
        <pc:chgData name="Tan, Roger" userId="f6f33758-bd69-4951-8148-181de3b92474" providerId="ADAL" clId="{A436842E-EA5C-4A6D-B51D-DDAE8BC6E9BD}" dt="2023-11-07T07:53:58.595" v="61827"/>
        <pc:sldMkLst>
          <pc:docMk/>
          <pc:sldMk cId="2226683047" sldId="389"/>
        </pc:sldMkLst>
        <pc:spChg chg="mod">
          <ac:chgData name="Tan, Roger" userId="f6f33758-bd69-4951-8148-181de3b92474" providerId="ADAL" clId="{A436842E-EA5C-4A6D-B51D-DDAE8BC6E9BD}" dt="2023-11-06T06:47:10.362" v="20666" actId="20577"/>
          <ac:spMkLst>
            <pc:docMk/>
            <pc:sldMk cId="2226683047" sldId="389"/>
            <ac:spMk id="2" creationId="{7A122DDB-75F7-A9E9-2923-77BEC9F48B18}"/>
          </ac:spMkLst>
        </pc:spChg>
      </pc:sldChg>
      <pc:sldChg chg="addSp delSp modSp mod ord modClrScheme chgLayout modNotesTx">
        <pc:chgData name="Tan, Roger" userId="f6f33758-bd69-4951-8148-181de3b92474" providerId="ADAL" clId="{A436842E-EA5C-4A6D-B51D-DDAE8BC6E9BD}" dt="2023-11-08T22:27:02.774" v="83582" actId="57"/>
        <pc:sldMkLst>
          <pc:docMk/>
          <pc:sldMk cId="3541548231" sldId="390"/>
        </pc:sldMkLst>
        <pc:spChg chg="add del mod modVis">
          <ac:chgData name="Tan, Roger" userId="f6f33758-bd69-4951-8148-181de3b92474" providerId="ADAL" clId="{A436842E-EA5C-4A6D-B51D-DDAE8BC6E9BD}" dt="2023-11-07T03:36:04.185" v="38025"/>
          <ac:spMkLst>
            <pc:docMk/>
            <pc:sldMk cId="3541548231" sldId="390"/>
            <ac:spMk id="2" creationId="{C82BCDAF-462E-839E-C1B1-81C18EE0CB41}"/>
          </ac:spMkLst>
        </pc:spChg>
        <pc:spChg chg="add mod">
          <ac:chgData name="Tan, Roger" userId="f6f33758-bd69-4951-8148-181de3b92474" providerId="ADAL" clId="{A436842E-EA5C-4A6D-B51D-DDAE8BC6E9BD}" dt="2023-11-08T01:29:33.207" v="76210" actId="20577"/>
          <ac:spMkLst>
            <pc:docMk/>
            <pc:sldMk cId="3541548231" sldId="390"/>
            <ac:spMk id="2" creationId="{E95EA2C4-8689-4FD5-0392-75CE592B2F58}"/>
          </ac:spMkLst>
        </pc:spChg>
        <pc:spChg chg="mod">
          <ac:chgData name="Tan, Roger" userId="f6f33758-bd69-4951-8148-181de3b92474" providerId="ADAL" clId="{A436842E-EA5C-4A6D-B51D-DDAE8BC6E9BD}" dt="2023-11-07T07:55:41.747" v="62110"/>
          <ac:spMkLst>
            <pc:docMk/>
            <pc:sldMk cId="3541548231" sldId="390"/>
            <ac:spMk id="3" creationId="{BCCE04C1-AFB8-D80F-A6BD-1D6526F8192A}"/>
          </ac:spMkLst>
        </pc:spChg>
        <pc:spChg chg="add mod">
          <ac:chgData name="Tan, Roger" userId="f6f33758-bd69-4951-8148-181de3b92474" providerId="ADAL" clId="{A436842E-EA5C-4A6D-B51D-DDAE8BC6E9BD}" dt="2023-11-07T17:08:59.624" v="73413"/>
          <ac:spMkLst>
            <pc:docMk/>
            <pc:sldMk cId="3541548231" sldId="390"/>
            <ac:spMk id="4" creationId="{E03226EA-DB45-2E5A-E1C6-BF708046E187}"/>
          </ac:spMkLst>
        </pc:spChg>
        <pc:spChg chg="add del mod modVis">
          <ac:chgData name="Tan, Roger" userId="f6f33758-bd69-4951-8148-181de3b92474" providerId="ADAL" clId="{A436842E-EA5C-4A6D-B51D-DDAE8BC6E9BD}" dt="2023-11-07T03:36:06.935" v="38105"/>
          <ac:spMkLst>
            <pc:docMk/>
            <pc:sldMk cId="3541548231" sldId="390"/>
            <ac:spMk id="5" creationId="{BF11A83D-7042-DA6D-D85A-A9302E9A3F01}"/>
          </ac:spMkLst>
        </pc:spChg>
        <pc:spChg chg="add mod replST">
          <ac:chgData name="Tan, Roger" userId="f6f33758-bd69-4951-8148-181de3b92474" providerId="ADAL" clId="{A436842E-EA5C-4A6D-B51D-DDAE8BC6E9BD}" dt="2023-11-07T07:55:41.749" v="62113"/>
          <ac:spMkLst>
            <pc:docMk/>
            <pc:sldMk cId="3541548231" sldId="390"/>
            <ac:spMk id="7" creationId="{FD57B10E-CC39-FBD8-ED21-8FC54F068094}"/>
          </ac:spMkLst>
        </pc:spChg>
        <pc:spChg chg="add del mod modVis">
          <ac:chgData name="Tan, Roger" userId="f6f33758-bd69-4951-8148-181de3b92474" providerId="ADAL" clId="{A436842E-EA5C-4A6D-B51D-DDAE8BC6E9BD}" dt="2023-11-07T03:36:13.714" v="38194"/>
          <ac:spMkLst>
            <pc:docMk/>
            <pc:sldMk cId="3541548231" sldId="390"/>
            <ac:spMk id="8" creationId="{25F5B8F5-2E95-33A3-C832-1B43317D2D33}"/>
          </ac:spMkLst>
        </pc:spChg>
        <pc:spChg chg="del mod">
          <ac:chgData name="Tan, Roger" userId="f6f33758-bd69-4951-8148-181de3b92474" providerId="ADAL" clId="{A436842E-EA5C-4A6D-B51D-DDAE8BC6E9BD}" dt="2023-11-07T03:39:33.266" v="42391"/>
          <ac:spMkLst>
            <pc:docMk/>
            <pc:sldMk cId="3541548231" sldId="390"/>
            <ac:spMk id="10" creationId="{4B974D29-2389-961A-FF41-7819BC49FD19}"/>
          </ac:spMkLst>
        </pc:spChg>
        <pc:spChg chg="mod">
          <ac:chgData name="Tan, Roger" userId="f6f33758-bd69-4951-8148-181de3b92474" providerId="ADAL" clId="{A436842E-EA5C-4A6D-B51D-DDAE8BC6E9BD}" dt="2023-11-07T07:55:41.750" v="62118"/>
          <ac:spMkLst>
            <pc:docMk/>
            <pc:sldMk cId="3541548231" sldId="390"/>
            <ac:spMk id="11" creationId="{8FEB5D0F-C82C-4021-FB65-A03CCAA7733D}"/>
          </ac:spMkLst>
        </pc:spChg>
        <pc:spChg chg="del mod">
          <ac:chgData name="Tan, Roger" userId="f6f33758-bd69-4951-8148-181de3b92474" providerId="ADAL" clId="{A436842E-EA5C-4A6D-B51D-DDAE8BC6E9BD}" dt="2023-11-07T07:34:15.375" v="58888"/>
          <ac:spMkLst>
            <pc:docMk/>
            <pc:sldMk cId="3541548231" sldId="390"/>
            <ac:spMk id="13" creationId="{1A1806CD-1E2D-8ECE-E0E5-331946386C4C}"/>
          </ac:spMkLst>
        </pc:spChg>
        <pc:spChg chg="del mod">
          <ac:chgData name="Tan, Roger" userId="f6f33758-bd69-4951-8148-181de3b92474" providerId="ADAL" clId="{A436842E-EA5C-4A6D-B51D-DDAE8BC6E9BD}" dt="2023-11-07T07:34:09.402" v="58631"/>
          <ac:spMkLst>
            <pc:docMk/>
            <pc:sldMk cId="3541548231" sldId="390"/>
            <ac:spMk id="14" creationId="{AE0A0DB4-DB0F-B9AE-B440-21D96E2C5A1C}"/>
          </ac:spMkLst>
        </pc:spChg>
        <pc:spChg chg="add mod replST">
          <ac:chgData name="Tan, Roger" userId="f6f33758-bd69-4951-8148-181de3b92474" providerId="ADAL" clId="{A436842E-EA5C-4A6D-B51D-DDAE8BC6E9BD}" dt="2023-11-07T07:55:41.749" v="62114"/>
          <ac:spMkLst>
            <pc:docMk/>
            <pc:sldMk cId="3541548231" sldId="390"/>
            <ac:spMk id="15" creationId="{864DE7C5-A441-C40A-B870-DF0F026F80BA}"/>
          </ac:spMkLst>
        </pc:spChg>
        <pc:spChg chg="del mod">
          <ac:chgData name="Tan, Roger" userId="f6f33758-bd69-4951-8148-181de3b92474" providerId="ADAL" clId="{A436842E-EA5C-4A6D-B51D-DDAE8BC6E9BD}" dt="2023-11-07T07:34:12.847" v="58693"/>
          <ac:spMkLst>
            <pc:docMk/>
            <pc:sldMk cId="3541548231" sldId="390"/>
            <ac:spMk id="16" creationId="{57234463-0767-AC78-CD70-5C73A74A36A4}"/>
          </ac:spMkLst>
        </pc:spChg>
        <pc:spChg chg="del mod">
          <ac:chgData name="Tan, Roger" userId="f6f33758-bd69-4951-8148-181de3b92474" providerId="ADAL" clId="{A436842E-EA5C-4A6D-B51D-DDAE8BC6E9BD}" dt="2023-11-07T07:34:12.849" v="58696"/>
          <ac:spMkLst>
            <pc:docMk/>
            <pc:sldMk cId="3541548231" sldId="390"/>
            <ac:spMk id="17" creationId="{6A0ECE27-CD8C-AEF1-ED8C-4EF7BB7752E0}"/>
          </ac:spMkLst>
        </pc:spChg>
        <pc:spChg chg="add del mod modVis">
          <ac:chgData name="Tan, Roger" userId="f6f33758-bd69-4951-8148-181de3b92474" providerId="ADAL" clId="{A436842E-EA5C-4A6D-B51D-DDAE8BC6E9BD}" dt="2023-11-07T03:36:31.384" v="38307"/>
          <ac:spMkLst>
            <pc:docMk/>
            <pc:sldMk cId="3541548231" sldId="390"/>
            <ac:spMk id="19" creationId="{912904B3-845C-3C02-0E82-C0753108793A}"/>
          </ac:spMkLst>
        </pc:spChg>
        <pc:spChg chg="add del mod ord">
          <ac:chgData name="Tan, Roger" userId="f6f33758-bd69-4951-8148-181de3b92474" providerId="ADAL" clId="{A436842E-EA5C-4A6D-B51D-DDAE8BC6E9BD}" dt="2023-11-07T07:47:33.647" v="61114" actId="478"/>
          <ac:spMkLst>
            <pc:docMk/>
            <pc:sldMk cId="3541548231" sldId="390"/>
            <ac:spMk id="20" creationId="{97B0F3CC-DDDD-90F7-A365-2131F7268760}"/>
          </ac:spMkLst>
        </pc:spChg>
        <pc:spChg chg="mod">
          <ac:chgData name="Tan, Roger" userId="f6f33758-bd69-4951-8148-181de3b92474" providerId="ADAL" clId="{A436842E-EA5C-4A6D-B51D-DDAE8BC6E9BD}" dt="2023-11-07T07:55:41.748" v="62111"/>
          <ac:spMkLst>
            <pc:docMk/>
            <pc:sldMk cId="3541548231" sldId="390"/>
            <ac:spMk id="22" creationId="{8533C479-7A7F-C0CF-D53F-B45F329380DF}"/>
          </ac:spMkLst>
        </pc:spChg>
        <pc:spChg chg="add mod replST">
          <ac:chgData name="Tan, Roger" userId="f6f33758-bd69-4951-8148-181de3b92474" providerId="ADAL" clId="{A436842E-EA5C-4A6D-B51D-DDAE8BC6E9BD}" dt="2023-11-07T07:55:41.749" v="62115"/>
          <ac:spMkLst>
            <pc:docMk/>
            <pc:sldMk cId="3541548231" sldId="390"/>
            <ac:spMk id="23" creationId="{56CDF04B-260D-688D-BF1E-A0A01AFAE4B4}"/>
          </ac:spMkLst>
        </pc:spChg>
        <pc:spChg chg="add del mod ord">
          <ac:chgData name="Tan, Roger" userId="f6f33758-bd69-4951-8148-181de3b92474" providerId="ADAL" clId="{A436842E-EA5C-4A6D-B51D-DDAE8BC6E9BD}" dt="2023-11-07T07:49:56.459" v="61160"/>
          <ac:spMkLst>
            <pc:docMk/>
            <pc:sldMk cId="3541548231" sldId="390"/>
            <ac:spMk id="24" creationId="{0D484F98-3F16-9B69-01F6-0027969EB090}"/>
          </ac:spMkLst>
        </pc:spChg>
        <pc:spChg chg="mod">
          <ac:chgData name="Tan, Roger" userId="f6f33758-bd69-4951-8148-181de3b92474" providerId="ADAL" clId="{A436842E-EA5C-4A6D-B51D-DDAE8BC6E9BD}" dt="2023-11-07T07:55:41.748" v="62112"/>
          <ac:spMkLst>
            <pc:docMk/>
            <pc:sldMk cId="3541548231" sldId="390"/>
            <ac:spMk id="25" creationId="{986A2692-6CDB-3146-324D-1918A119B02F}"/>
          </ac:spMkLst>
        </pc:spChg>
        <pc:spChg chg="add del mod modVis">
          <ac:chgData name="Tan, Roger" userId="f6f33758-bd69-4951-8148-181de3b92474" providerId="ADAL" clId="{A436842E-EA5C-4A6D-B51D-DDAE8BC6E9BD}" dt="2023-11-07T03:36:36.358" v="38420"/>
          <ac:spMkLst>
            <pc:docMk/>
            <pc:sldMk cId="3541548231" sldId="390"/>
            <ac:spMk id="26" creationId="{D9DD8FA9-ED54-A142-427F-B8077CF32462}"/>
          </ac:spMkLst>
        </pc:spChg>
        <pc:spChg chg="add mod replST">
          <ac:chgData name="Tan, Roger" userId="f6f33758-bd69-4951-8148-181de3b92474" providerId="ADAL" clId="{A436842E-EA5C-4A6D-B51D-DDAE8BC6E9BD}" dt="2023-11-07T07:55:41.750" v="62116"/>
          <ac:spMkLst>
            <pc:docMk/>
            <pc:sldMk cId="3541548231" sldId="390"/>
            <ac:spMk id="28" creationId="{644EB977-6DD9-9303-70E5-25785A840F45}"/>
          </ac:spMkLst>
        </pc:spChg>
        <pc:spChg chg="add del mod modVis">
          <ac:chgData name="Tan, Roger" userId="f6f33758-bd69-4951-8148-181de3b92474" providerId="ADAL" clId="{A436842E-EA5C-4A6D-B51D-DDAE8BC6E9BD}" dt="2023-11-07T03:36:39.838" v="38548"/>
          <ac:spMkLst>
            <pc:docMk/>
            <pc:sldMk cId="3541548231" sldId="390"/>
            <ac:spMk id="29" creationId="{D81D95AC-4353-8916-288A-DD57FE73E176}"/>
          </ac:spMkLst>
        </pc:spChg>
        <pc:spChg chg="add del mod modVis">
          <ac:chgData name="Tan, Roger" userId="f6f33758-bd69-4951-8148-181de3b92474" providerId="ADAL" clId="{A436842E-EA5C-4A6D-B51D-DDAE8BC6E9BD}" dt="2023-11-07T03:36:48.430" v="38664"/>
          <ac:spMkLst>
            <pc:docMk/>
            <pc:sldMk cId="3541548231" sldId="390"/>
            <ac:spMk id="31" creationId="{86F1DB21-9A95-5D97-7B4D-2463ADCAC00E}"/>
          </ac:spMkLst>
        </pc:spChg>
        <pc:spChg chg="add del mod modVis">
          <ac:chgData name="Tan, Roger" userId="f6f33758-bd69-4951-8148-181de3b92474" providerId="ADAL" clId="{A436842E-EA5C-4A6D-B51D-DDAE8BC6E9BD}" dt="2023-11-07T03:36:56.184" v="39029"/>
          <ac:spMkLst>
            <pc:docMk/>
            <pc:sldMk cId="3541548231" sldId="390"/>
            <ac:spMk id="33" creationId="{3CBF135F-E5AB-8285-36AA-BC3A28748F8B}"/>
          </ac:spMkLst>
        </pc:spChg>
        <pc:spChg chg="add del mod ord replST">
          <ac:chgData name="Tan, Roger" userId="f6f33758-bd69-4951-8148-181de3b92474" providerId="ADAL" clId="{A436842E-EA5C-4A6D-B51D-DDAE8BC6E9BD}" dt="2023-11-07T03:37:02.345" v="39096"/>
          <ac:spMkLst>
            <pc:docMk/>
            <pc:sldMk cId="3541548231" sldId="390"/>
            <ac:spMk id="34" creationId="{3D0DFC41-99D9-52FA-A1CE-31E658E4EC15}"/>
          </ac:spMkLst>
        </pc:spChg>
        <pc:spChg chg="add del mod ord replST">
          <ac:chgData name="Tan, Roger" userId="f6f33758-bd69-4951-8148-181de3b92474" providerId="ADAL" clId="{A436842E-EA5C-4A6D-B51D-DDAE8BC6E9BD}" dt="2023-11-07T03:37:02.345" v="39094"/>
          <ac:spMkLst>
            <pc:docMk/>
            <pc:sldMk cId="3541548231" sldId="390"/>
            <ac:spMk id="35" creationId="{CA15E0D1-26BB-F230-7C79-533918D0E342}"/>
          </ac:spMkLst>
        </pc:spChg>
        <pc:spChg chg="add del mod modVis">
          <ac:chgData name="Tan, Roger" userId="f6f33758-bd69-4951-8148-181de3b92474" providerId="ADAL" clId="{A436842E-EA5C-4A6D-B51D-DDAE8BC6E9BD}" dt="2023-11-07T03:37:02.386" v="39175"/>
          <ac:spMkLst>
            <pc:docMk/>
            <pc:sldMk cId="3541548231" sldId="390"/>
            <ac:spMk id="44" creationId="{CD703560-0BE3-2D6D-59F4-EDB47EA08A46}"/>
          </ac:spMkLst>
        </pc:spChg>
        <pc:spChg chg="add del mod modVis">
          <ac:chgData name="Tan, Roger" userId="f6f33758-bd69-4951-8148-181de3b92474" providerId="ADAL" clId="{A436842E-EA5C-4A6D-B51D-DDAE8BC6E9BD}" dt="2023-11-07T03:37:05.241" v="39277"/>
          <ac:spMkLst>
            <pc:docMk/>
            <pc:sldMk cId="3541548231" sldId="390"/>
            <ac:spMk id="46" creationId="{90472F3C-B260-64BC-9220-8B376F7E1AAE}"/>
          </ac:spMkLst>
        </pc:spChg>
        <pc:spChg chg="add del mod modVis">
          <ac:chgData name="Tan, Roger" userId="f6f33758-bd69-4951-8148-181de3b92474" providerId="ADAL" clId="{A436842E-EA5C-4A6D-B51D-DDAE8BC6E9BD}" dt="2023-11-07T03:37:09.776" v="39371"/>
          <ac:spMkLst>
            <pc:docMk/>
            <pc:sldMk cId="3541548231" sldId="390"/>
            <ac:spMk id="48" creationId="{5E0642C2-B707-655F-8B81-D697E80F0B61}"/>
          </ac:spMkLst>
        </pc:spChg>
        <pc:spChg chg="add del mod modVis">
          <ac:chgData name="Tan, Roger" userId="f6f33758-bd69-4951-8148-181de3b92474" providerId="ADAL" clId="{A436842E-EA5C-4A6D-B51D-DDAE8BC6E9BD}" dt="2023-11-07T03:37:10.926" v="39467"/>
          <ac:spMkLst>
            <pc:docMk/>
            <pc:sldMk cId="3541548231" sldId="390"/>
            <ac:spMk id="50" creationId="{59A33E04-04FC-275F-A8F3-3BDBB3181FE0}"/>
          </ac:spMkLst>
        </pc:spChg>
        <pc:spChg chg="add del mod modVis">
          <ac:chgData name="Tan, Roger" userId="f6f33758-bd69-4951-8148-181de3b92474" providerId="ADAL" clId="{A436842E-EA5C-4A6D-B51D-DDAE8BC6E9BD}" dt="2023-11-07T03:37:17.853" v="39569"/>
          <ac:spMkLst>
            <pc:docMk/>
            <pc:sldMk cId="3541548231" sldId="390"/>
            <ac:spMk id="52" creationId="{CAA9CB1B-9CA3-E360-F5BF-CE1E75378F69}"/>
          </ac:spMkLst>
        </pc:spChg>
        <pc:spChg chg="add del mod modVis">
          <ac:chgData name="Tan, Roger" userId="f6f33758-bd69-4951-8148-181de3b92474" providerId="ADAL" clId="{A436842E-EA5C-4A6D-B51D-DDAE8BC6E9BD}" dt="2023-11-07T03:37:19.261" v="39671"/>
          <ac:spMkLst>
            <pc:docMk/>
            <pc:sldMk cId="3541548231" sldId="390"/>
            <ac:spMk id="55" creationId="{AD9241C0-AFF4-0F65-2339-453BD7069F42}"/>
          </ac:spMkLst>
        </pc:spChg>
        <pc:spChg chg="add del mod modVis">
          <ac:chgData name="Tan, Roger" userId="f6f33758-bd69-4951-8148-181de3b92474" providerId="ADAL" clId="{A436842E-EA5C-4A6D-B51D-DDAE8BC6E9BD}" dt="2023-11-07T03:37:21.979" v="39775"/>
          <ac:spMkLst>
            <pc:docMk/>
            <pc:sldMk cId="3541548231" sldId="390"/>
            <ac:spMk id="57" creationId="{45017F6F-615B-6979-AE26-F19C5374A1D7}"/>
          </ac:spMkLst>
        </pc:spChg>
        <pc:spChg chg="add del mod modVis">
          <ac:chgData name="Tan, Roger" userId="f6f33758-bd69-4951-8148-181de3b92474" providerId="ADAL" clId="{A436842E-EA5C-4A6D-B51D-DDAE8BC6E9BD}" dt="2023-11-07T03:37:23.299" v="39879"/>
          <ac:spMkLst>
            <pc:docMk/>
            <pc:sldMk cId="3541548231" sldId="390"/>
            <ac:spMk id="59" creationId="{26C5D8F4-5050-A7DC-75E1-985B4AB5FF59}"/>
          </ac:spMkLst>
        </pc:spChg>
        <pc:spChg chg="add del mod replST">
          <ac:chgData name="Tan, Roger" userId="f6f33758-bd69-4951-8148-181de3b92474" providerId="ADAL" clId="{A436842E-EA5C-4A6D-B51D-DDAE8BC6E9BD}" dt="2023-11-07T07:34:12.852" v="58699"/>
          <ac:spMkLst>
            <pc:docMk/>
            <pc:sldMk cId="3541548231" sldId="390"/>
            <ac:spMk id="61" creationId="{19336C84-2804-70F5-6388-DAE91C9C0AA5}"/>
          </ac:spMkLst>
        </pc:spChg>
        <pc:spChg chg="add del mod modVis">
          <ac:chgData name="Tan, Roger" userId="f6f33758-bd69-4951-8148-181de3b92474" providerId="ADAL" clId="{A436842E-EA5C-4A6D-B51D-DDAE8BC6E9BD}" dt="2023-11-07T03:37:41.260" v="39974"/>
          <ac:spMkLst>
            <pc:docMk/>
            <pc:sldMk cId="3541548231" sldId="390"/>
            <ac:spMk id="62" creationId="{9F6BD543-64CA-B86E-36D5-1E0A004D53EA}"/>
          </ac:spMkLst>
        </pc:spChg>
        <pc:spChg chg="add del mod modVis">
          <ac:chgData name="Tan, Roger" userId="f6f33758-bd69-4951-8148-181de3b92474" providerId="ADAL" clId="{A436842E-EA5C-4A6D-B51D-DDAE8BC6E9BD}" dt="2023-11-07T03:37:42.182" v="40070"/>
          <ac:spMkLst>
            <pc:docMk/>
            <pc:sldMk cId="3541548231" sldId="390"/>
            <ac:spMk id="448" creationId="{C785F7A9-33CD-E3CE-905F-5635308EF1FA}"/>
          </ac:spMkLst>
        </pc:spChg>
        <pc:spChg chg="add del mod replST">
          <ac:chgData name="Tan, Roger" userId="f6f33758-bd69-4951-8148-181de3b92474" providerId="ADAL" clId="{A436842E-EA5C-4A6D-B51D-DDAE8BC6E9BD}" dt="2023-11-07T07:34:12.853" v="58702"/>
          <ac:spMkLst>
            <pc:docMk/>
            <pc:sldMk cId="3541548231" sldId="390"/>
            <ac:spMk id="450" creationId="{9477389E-720B-A235-3445-09E2B7D30A84}"/>
          </ac:spMkLst>
        </pc:spChg>
        <pc:spChg chg="add del mod modVis">
          <ac:chgData name="Tan, Roger" userId="f6f33758-bd69-4951-8148-181de3b92474" providerId="ADAL" clId="{A436842E-EA5C-4A6D-B51D-DDAE8BC6E9BD}" dt="2023-11-07T03:37:45.658" v="40167"/>
          <ac:spMkLst>
            <pc:docMk/>
            <pc:sldMk cId="3541548231" sldId="390"/>
            <ac:spMk id="451" creationId="{C7C17C57-5F05-9893-B1CD-1F068FCFB15B}"/>
          </ac:spMkLst>
        </pc:spChg>
        <pc:spChg chg="add del mod modVis">
          <ac:chgData name="Tan, Roger" userId="f6f33758-bd69-4951-8148-181de3b92474" providerId="ADAL" clId="{A436842E-EA5C-4A6D-B51D-DDAE8BC6E9BD}" dt="2023-11-07T03:37:46.680" v="40265"/>
          <ac:spMkLst>
            <pc:docMk/>
            <pc:sldMk cId="3541548231" sldId="390"/>
            <ac:spMk id="453" creationId="{0411CEC8-3960-ED6D-03F5-CF8AD1DA5F91}"/>
          </ac:spMkLst>
        </pc:spChg>
        <pc:spChg chg="add del mod replST">
          <ac:chgData name="Tan, Roger" userId="f6f33758-bd69-4951-8148-181de3b92474" providerId="ADAL" clId="{A436842E-EA5C-4A6D-B51D-DDAE8BC6E9BD}" dt="2023-11-07T07:34:12.911" v="58753"/>
          <ac:spMkLst>
            <pc:docMk/>
            <pc:sldMk cId="3541548231" sldId="390"/>
            <ac:spMk id="455" creationId="{49C39E21-F656-572C-929A-10998B623D96}"/>
          </ac:spMkLst>
        </pc:spChg>
        <pc:spChg chg="add del mod modVis">
          <ac:chgData name="Tan, Roger" userId="f6f33758-bd69-4951-8148-181de3b92474" providerId="ADAL" clId="{A436842E-EA5C-4A6D-B51D-DDAE8BC6E9BD}" dt="2023-11-07T03:37:57.556" v="40364"/>
          <ac:spMkLst>
            <pc:docMk/>
            <pc:sldMk cId="3541548231" sldId="390"/>
            <ac:spMk id="456" creationId="{A9819488-64C3-99A8-D773-44401E9BD3DA}"/>
          </ac:spMkLst>
        </pc:spChg>
        <pc:spChg chg="add del mod modVis">
          <ac:chgData name="Tan, Roger" userId="f6f33758-bd69-4951-8148-181de3b92474" providerId="ADAL" clId="{A436842E-EA5C-4A6D-B51D-DDAE8BC6E9BD}" dt="2023-11-07T03:37:58.352" v="40464"/>
          <ac:spMkLst>
            <pc:docMk/>
            <pc:sldMk cId="3541548231" sldId="390"/>
            <ac:spMk id="458" creationId="{89F5DB36-4820-14B4-E8F7-BA88BE938EAB}"/>
          </ac:spMkLst>
        </pc:spChg>
        <pc:spChg chg="add del mod replST">
          <ac:chgData name="Tan, Roger" userId="f6f33758-bd69-4951-8148-181de3b92474" providerId="ADAL" clId="{A436842E-EA5C-4A6D-B51D-DDAE8BC6E9BD}" dt="2023-11-07T07:34:14.775" v="58848"/>
          <ac:spMkLst>
            <pc:docMk/>
            <pc:sldMk cId="3541548231" sldId="390"/>
            <ac:spMk id="460" creationId="{D2AFF2CB-7F0E-41E0-702B-FE9A0906CB9F}"/>
          </ac:spMkLst>
        </pc:spChg>
        <pc:spChg chg="add del mod modVis">
          <ac:chgData name="Tan, Roger" userId="f6f33758-bd69-4951-8148-181de3b92474" providerId="ADAL" clId="{A436842E-EA5C-4A6D-B51D-DDAE8BC6E9BD}" dt="2023-11-07T03:38:01.896" v="40565"/>
          <ac:spMkLst>
            <pc:docMk/>
            <pc:sldMk cId="3541548231" sldId="390"/>
            <ac:spMk id="461" creationId="{CC2D4274-2884-9A66-4928-2826CB20105D}"/>
          </ac:spMkLst>
        </pc:spChg>
        <pc:spChg chg="add del mod modVis">
          <ac:chgData name="Tan, Roger" userId="f6f33758-bd69-4951-8148-181de3b92474" providerId="ADAL" clId="{A436842E-EA5C-4A6D-B51D-DDAE8BC6E9BD}" dt="2023-11-07T03:38:02.631" v="40667"/>
          <ac:spMkLst>
            <pc:docMk/>
            <pc:sldMk cId="3541548231" sldId="390"/>
            <ac:spMk id="463" creationId="{3C2EB608-9F09-9B8F-306B-86FF9A8C508C}"/>
          </ac:spMkLst>
        </pc:spChg>
        <pc:spChg chg="add del mod modVis">
          <ac:chgData name="Tan, Roger" userId="f6f33758-bd69-4951-8148-181de3b92474" providerId="ADAL" clId="{A436842E-EA5C-4A6D-B51D-DDAE8BC6E9BD}" dt="2023-11-07T03:38:17.388" v="40991"/>
          <ac:spMkLst>
            <pc:docMk/>
            <pc:sldMk cId="3541548231" sldId="390"/>
            <ac:spMk id="465" creationId="{FB730335-18BD-0F32-3121-D774606D5299}"/>
          </ac:spMkLst>
        </pc:spChg>
        <pc:spChg chg="add del mod ord replST">
          <ac:chgData name="Tan, Roger" userId="f6f33758-bd69-4951-8148-181de3b92474" providerId="ADAL" clId="{A436842E-EA5C-4A6D-B51D-DDAE8BC6E9BD}" dt="2023-11-07T03:38:17.933" v="41067"/>
          <ac:spMkLst>
            <pc:docMk/>
            <pc:sldMk cId="3541548231" sldId="390"/>
            <ac:spMk id="466" creationId="{BC06A20A-173B-1843-101A-5493CFE44DFF}"/>
          </ac:spMkLst>
        </pc:spChg>
        <pc:spChg chg="add del mod ord replST">
          <ac:chgData name="Tan, Roger" userId="f6f33758-bd69-4951-8148-181de3b92474" providerId="ADAL" clId="{A436842E-EA5C-4A6D-B51D-DDAE8BC6E9BD}" dt="2023-11-07T03:38:17.935" v="41073"/>
          <ac:spMkLst>
            <pc:docMk/>
            <pc:sldMk cId="3541548231" sldId="390"/>
            <ac:spMk id="467" creationId="{CA8CB48B-57A1-51F8-8D1E-FAD744AC3B93}"/>
          </ac:spMkLst>
        </pc:spChg>
        <pc:spChg chg="add del mod ord replST">
          <ac:chgData name="Tan, Roger" userId="f6f33758-bd69-4951-8148-181de3b92474" providerId="ADAL" clId="{A436842E-EA5C-4A6D-B51D-DDAE8BC6E9BD}" dt="2023-11-07T03:38:17.937" v="41079"/>
          <ac:spMkLst>
            <pc:docMk/>
            <pc:sldMk cId="3541548231" sldId="390"/>
            <ac:spMk id="468" creationId="{7E1F1445-8FD5-FA74-D064-83BBD553F8D7}"/>
          </ac:spMkLst>
        </pc:spChg>
        <pc:spChg chg="add del mod modVis">
          <ac:chgData name="Tan, Roger" userId="f6f33758-bd69-4951-8148-181de3b92474" providerId="ADAL" clId="{A436842E-EA5C-4A6D-B51D-DDAE8BC6E9BD}" dt="2023-11-07T03:38:17.966" v="41132"/>
          <ac:spMkLst>
            <pc:docMk/>
            <pc:sldMk cId="3541548231" sldId="390"/>
            <ac:spMk id="470" creationId="{9A1D1B25-9ED0-B9E8-4D02-429DBFA5E32F}"/>
          </ac:spMkLst>
        </pc:spChg>
        <pc:spChg chg="add del mod modVis">
          <ac:chgData name="Tan, Roger" userId="f6f33758-bd69-4951-8148-181de3b92474" providerId="ADAL" clId="{A436842E-EA5C-4A6D-B51D-DDAE8BC6E9BD}" dt="2023-11-07T03:38:27.910" v="41751"/>
          <ac:spMkLst>
            <pc:docMk/>
            <pc:sldMk cId="3541548231" sldId="390"/>
            <ac:spMk id="473" creationId="{46392007-F8EA-BBC5-D16F-5EDB2FAF3364}"/>
          </ac:spMkLst>
        </pc:spChg>
        <pc:spChg chg="add del mod modVis">
          <ac:chgData name="Tan, Roger" userId="f6f33758-bd69-4951-8148-181de3b92474" providerId="ADAL" clId="{A436842E-EA5C-4A6D-B51D-DDAE8BC6E9BD}" dt="2023-11-07T03:38:35.237" v="42045"/>
          <ac:spMkLst>
            <pc:docMk/>
            <pc:sldMk cId="3541548231" sldId="390"/>
            <ac:spMk id="475" creationId="{9A4A7CDC-294F-44FD-E53A-39A7C38126C6}"/>
          </ac:spMkLst>
        </pc:spChg>
        <pc:spChg chg="add del mod modVis">
          <ac:chgData name="Tan, Roger" userId="f6f33758-bd69-4951-8148-181de3b92474" providerId="ADAL" clId="{A436842E-EA5C-4A6D-B51D-DDAE8BC6E9BD}" dt="2023-11-07T03:39:36.584" v="42519"/>
          <ac:spMkLst>
            <pc:docMk/>
            <pc:sldMk cId="3541548231" sldId="390"/>
            <ac:spMk id="481" creationId="{5BF10702-5BE9-D295-BEC4-C8CE67A39C94}"/>
          </ac:spMkLst>
        </pc:spChg>
        <pc:spChg chg="add mod replST">
          <ac:chgData name="Tan, Roger" userId="f6f33758-bd69-4951-8148-181de3b92474" providerId="ADAL" clId="{A436842E-EA5C-4A6D-B51D-DDAE8BC6E9BD}" dt="2023-11-07T07:55:41.750" v="62117"/>
          <ac:spMkLst>
            <pc:docMk/>
            <pc:sldMk cId="3541548231" sldId="390"/>
            <ac:spMk id="483" creationId="{8869231B-6CD8-9E4B-03CD-CA94D4E0793D}"/>
          </ac:spMkLst>
        </pc:spChg>
        <pc:spChg chg="add del mod modVis">
          <ac:chgData name="Tan, Roger" userId="f6f33758-bd69-4951-8148-181de3b92474" providerId="ADAL" clId="{A436842E-EA5C-4A6D-B51D-DDAE8BC6E9BD}" dt="2023-11-07T03:39:41.304" v="42616"/>
          <ac:spMkLst>
            <pc:docMk/>
            <pc:sldMk cId="3541548231" sldId="390"/>
            <ac:spMk id="484" creationId="{99A777A3-2888-483D-8B69-6CF833335BF3}"/>
          </ac:spMkLst>
        </pc:spChg>
        <pc:spChg chg="del mod ord">
          <ac:chgData name="Tan, Roger" userId="f6f33758-bd69-4951-8148-181de3b92474" providerId="ADAL" clId="{A436842E-EA5C-4A6D-B51D-DDAE8BC6E9BD}" dt="2023-11-07T17:08:56.333" v="73410" actId="478"/>
          <ac:spMkLst>
            <pc:docMk/>
            <pc:sldMk cId="3541548231" sldId="390"/>
            <ac:spMk id="485" creationId="{9919C743-B9CA-D2D5-767A-F02BFF6150B4}"/>
          </ac:spMkLst>
        </pc:spChg>
        <pc:spChg chg="add mod ord">
          <ac:chgData name="Tan, Roger" userId="f6f33758-bd69-4951-8148-181de3b92474" providerId="ADAL" clId="{A436842E-EA5C-4A6D-B51D-DDAE8BC6E9BD}" dt="2023-11-07T07:55:41.756" v="62130"/>
          <ac:spMkLst>
            <pc:docMk/>
            <pc:sldMk cId="3541548231" sldId="390"/>
            <ac:spMk id="499" creationId="{2D807808-77E7-89DB-E644-D47AAC450FAD}"/>
          </ac:spMkLst>
        </pc:spChg>
        <pc:spChg chg="add del mod modVis">
          <ac:chgData name="Tan, Roger" userId="f6f33758-bd69-4951-8148-181de3b92474" providerId="ADAL" clId="{A436842E-EA5C-4A6D-B51D-DDAE8BC6E9BD}" dt="2023-11-07T07:35:48.370" v="59191"/>
          <ac:spMkLst>
            <pc:docMk/>
            <pc:sldMk cId="3541548231" sldId="390"/>
            <ac:spMk id="502" creationId="{898269C2-E920-D3BD-E996-D63B1D7B2086}"/>
          </ac:spMkLst>
        </pc:spChg>
        <pc:spChg chg="add del mod modVis">
          <ac:chgData name="Tan, Roger" userId="f6f33758-bd69-4951-8148-181de3b92474" providerId="ADAL" clId="{A436842E-EA5C-4A6D-B51D-DDAE8BC6E9BD}" dt="2023-11-07T07:36:06.032" v="59323"/>
          <ac:spMkLst>
            <pc:docMk/>
            <pc:sldMk cId="3541548231" sldId="390"/>
            <ac:spMk id="505" creationId="{C0A8151E-3795-AD66-FB5D-4D8867F3B5F2}"/>
          </ac:spMkLst>
        </pc:spChg>
        <pc:spChg chg="add del mod modVis">
          <ac:chgData name="Tan, Roger" userId="f6f33758-bd69-4951-8148-181de3b92474" providerId="ADAL" clId="{A436842E-EA5C-4A6D-B51D-DDAE8BC6E9BD}" dt="2023-11-07T07:36:17.474" v="59397"/>
          <ac:spMkLst>
            <pc:docMk/>
            <pc:sldMk cId="3541548231" sldId="390"/>
            <ac:spMk id="507" creationId="{A7E45D9B-3200-211C-D5B1-74652A889749}"/>
          </ac:spMkLst>
        </pc:spChg>
        <pc:spChg chg="add del mod modVis">
          <ac:chgData name="Tan, Roger" userId="f6f33758-bd69-4951-8148-181de3b92474" providerId="ADAL" clId="{A436842E-EA5C-4A6D-B51D-DDAE8BC6E9BD}" dt="2023-11-07T07:36:22.661" v="59496" actId="20578"/>
          <ac:spMkLst>
            <pc:docMk/>
            <pc:sldMk cId="3541548231" sldId="390"/>
            <ac:spMk id="509" creationId="{9CB528DD-F992-1CAE-74DC-621769F3A6F7}"/>
          </ac:spMkLst>
        </pc:spChg>
        <pc:spChg chg="add del mod modVis">
          <ac:chgData name="Tan, Roger" userId="f6f33758-bd69-4951-8148-181de3b92474" providerId="ADAL" clId="{A436842E-EA5C-4A6D-B51D-DDAE8BC6E9BD}" dt="2023-11-07T07:36:25.494" v="59673"/>
          <ac:spMkLst>
            <pc:docMk/>
            <pc:sldMk cId="3541548231" sldId="390"/>
            <ac:spMk id="511" creationId="{EDA130D2-794D-7C24-847C-A0B936D597A9}"/>
          </ac:spMkLst>
        </pc:spChg>
        <pc:spChg chg="add del mod modVis">
          <ac:chgData name="Tan, Roger" userId="f6f33758-bd69-4951-8148-181de3b92474" providerId="ADAL" clId="{A436842E-EA5C-4A6D-B51D-DDAE8BC6E9BD}" dt="2023-11-07T07:36:26.128" v="59747"/>
          <ac:spMkLst>
            <pc:docMk/>
            <pc:sldMk cId="3541548231" sldId="390"/>
            <ac:spMk id="513" creationId="{CEB8174F-28C0-D46D-82B0-EE466A752328}"/>
          </ac:spMkLst>
        </pc:spChg>
        <pc:spChg chg="add del mod modVis">
          <ac:chgData name="Tan, Roger" userId="f6f33758-bd69-4951-8148-181de3b92474" providerId="ADAL" clId="{A436842E-EA5C-4A6D-B51D-DDAE8BC6E9BD}" dt="2023-11-07T07:36:29.329" v="59813"/>
          <ac:spMkLst>
            <pc:docMk/>
            <pc:sldMk cId="3541548231" sldId="390"/>
            <ac:spMk id="515" creationId="{C36D3BFD-1CD9-BCE3-9838-F773304FDBB7}"/>
          </ac:spMkLst>
        </pc:spChg>
        <pc:spChg chg="add del mod modVis">
          <ac:chgData name="Tan, Roger" userId="f6f33758-bd69-4951-8148-181de3b92474" providerId="ADAL" clId="{A436842E-EA5C-4A6D-B51D-DDAE8BC6E9BD}" dt="2023-11-07T07:36:41.800" v="59919"/>
          <ac:spMkLst>
            <pc:docMk/>
            <pc:sldMk cId="3541548231" sldId="390"/>
            <ac:spMk id="517" creationId="{D16C6AB1-C4E1-7335-1601-C65334BFD982}"/>
          </ac:spMkLst>
        </pc:spChg>
        <pc:spChg chg="add del mod modVis">
          <ac:chgData name="Tan, Roger" userId="f6f33758-bd69-4951-8148-181de3b92474" providerId="ADAL" clId="{A436842E-EA5C-4A6D-B51D-DDAE8BC6E9BD}" dt="2023-11-07T07:36:55.058" v="60155"/>
          <ac:spMkLst>
            <pc:docMk/>
            <pc:sldMk cId="3541548231" sldId="390"/>
            <ac:spMk id="519" creationId="{9FFFFB72-FC60-701E-44BE-B878778DBA43}"/>
          </ac:spMkLst>
        </pc:spChg>
        <pc:spChg chg="add del mod modVis">
          <ac:chgData name="Tan, Roger" userId="f6f33758-bd69-4951-8148-181de3b92474" providerId="ADAL" clId="{A436842E-EA5C-4A6D-B51D-DDAE8BC6E9BD}" dt="2023-11-07T07:37:04.229" v="60235"/>
          <ac:spMkLst>
            <pc:docMk/>
            <pc:sldMk cId="3541548231" sldId="390"/>
            <ac:spMk id="521" creationId="{44A19571-FCBD-F123-5B93-2D13C81141B4}"/>
          </ac:spMkLst>
        </pc:spChg>
        <pc:spChg chg="add mod replST">
          <ac:chgData name="Tan, Roger" userId="f6f33758-bd69-4951-8148-181de3b92474" providerId="ADAL" clId="{A436842E-EA5C-4A6D-B51D-DDAE8BC6E9BD}" dt="2023-11-07T07:55:41.747" v="62109"/>
          <ac:spMkLst>
            <pc:docMk/>
            <pc:sldMk cId="3541548231" sldId="390"/>
            <ac:spMk id="523" creationId="{45EA4C83-E947-FFCD-7224-06D4347DD70D}"/>
          </ac:spMkLst>
        </pc:spChg>
        <pc:spChg chg="add del mod modVis">
          <ac:chgData name="Tan, Roger" userId="f6f33758-bd69-4951-8148-181de3b92474" providerId="ADAL" clId="{A436842E-EA5C-4A6D-B51D-DDAE8BC6E9BD}" dt="2023-11-07T07:37:37.831" v="60354"/>
          <ac:spMkLst>
            <pc:docMk/>
            <pc:sldMk cId="3541548231" sldId="390"/>
            <ac:spMk id="524" creationId="{B9CFA57B-5F80-3E74-7A9B-5A83399B6D48}"/>
          </ac:spMkLst>
        </pc:spChg>
        <pc:spChg chg="add del mod replST delST">
          <ac:chgData name="Tan, Roger" userId="f6f33758-bd69-4951-8148-181de3b92474" providerId="ADAL" clId="{A436842E-EA5C-4A6D-B51D-DDAE8BC6E9BD}" dt="2023-11-07T07:39:42.078" v="60666"/>
          <ac:spMkLst>
            <pc:docMk/>
            <pc:sldMk cId="3541548231" sldId="390"/>
            <ac:spMk id="531" creationId="{03289F4D-1132-E0DF-A2D4-4CEE7685FFA1}"/>
          </ac:spMkLst>
        </pc:spChg>
        <pc:spChg chg="add del mod modVis">
          <ac:chgData name="Tan, Roger" userId="f6f33758-bd69-4951-8148-181de3b92474" providerId="ADAL" clId="{A436842E-EA5C-4A6D-B51D-DDAE8BC6E9BD}" dt="2023-11-07T07:39:56.078" v="60846"/>
          <ac:spMkLst>
            <pc:docMk/>
            <pc:sldMk cId="3541548231" sldId="390"/>
            <ac:spMk id="532" creationId="{21BB2519-79F1-F27D-DC9D-24654991E888}"/>
          </ac:spMkLst>
        </pc:spChg>
        <pc:spChg chg="add del mod">
          <ac:chgData name="Tan, Roger" userId="f6f33758-bd69-4951-8148-181de3b92474" providerId="ADAL" clId="{A436842E-EA5C-4A6D-B51D-DDAE8BC6E9BD}" dt="2023-11-07T07:45:53.580" v="61098"/>
          <ac:spMkLst>
            <pc:docMk/>
            <pc:sldMk cId="3541548231" sldId="390"/>
            <ac:spMk id="539" creationId="{3376DF03-DF02-1581-5274-3B17A982E1C0}"/>
          </ac:spMkLst>
        </pc:spChg>
        <pc:spChg chg="add mod ord">
          <ac:chgData name="Tan, Roger" userId="f6f33758-bd69-4951-8148-181de3b92474" providerId="ADAL" clId="{A436842E-EA5C-4A6D-B51D-DDAE8BC6E9BD}" dt="2023-11-08T22:27:02.774" v="83582" actId="57"/>
          <ac:spMkLst>
            <pc:docMk/>
            <pc:sldMk cId="3541548231" sldId="390"/>
            <ac:spMk id="540" creationId="{D49B2E32-B70E-7B2A-0042-C5CA3D02D4F7}"/>
          </ac:spMkLst>
        </pc:spChg>
        <pc:spChg chg="add mod ord">
          <ac:chgData name="Tan, Roger" userId="f6f33758-bd69-4951-8148-181de3b92474" providerId="ADAL" clId="{A436842E-EA5C-4A6D-B51D-DDAE8BC6E9BD}" dt="2023-11-08T22:26:54.125" v="83581" actId="57"/>
          <ac:spMkLst>
            <pc:docMk/>
            <pc:sldMk cId="3541548231" sldId="390"/>
            <ac:spMk id="541" creationId="{4D95E698-C7F1-992C-7B12-CC828CAED4C9}"/>
          </ac:spMkLst>
        </pc:spChg>
        <pc:spChg chg="add mod ord">
          <ac:chgData name="Tan, Roger" userId="f6f33758-bd69-4951-8148-181de3b92474" providerId="ADAL" clId="{A436842E-EA5C-4A6D-B51D-DDAE8BC6E9BD}" dt="2023-11-08T08:51:56.561" v="77395" actId="20577"/>
          <ac:spMkLst>
            <pc:docMk/>
            <pc:sldMk cId="3541548231" sldId="390"/>
            <ac:spMk id="542" creationId="{8B0130D3-80B8-53AB-C918-F4299B283477}"/>
          </ac:spMkLst>
        </pc:spChg>
        <pc:spChg chg="mod">
          <ac:chgData name="Tan, Roger" userId="f6f33758-bd69-4951-8148-181de3b92474" providerId="ADAL" clId="{A436842E-EA5C-4A6D-B51D-DDAE8BC6E9BD}" dt="2023-11-07T07:50:12.430" v="61229"/>
          <ac:spMkLst>
            <pc:docMk/>
            <pc:sldMk cId="3541548231" sldId="390"/>
            <ac:spMk id="545" creationId="{DA8626E9-9D15-30FE-DF9F-14D3D4B2BE72}"/>
          </ac:spMkLst>
        </pc:spChg>
        <pc:spChg chg="mod">
          <ac:chgData name="Tan, Roger" userId="f6f33758-bd69-4951-8148-181de3b92474" providerId="ADAL" clId="{A436842E-EA5C-4A6D-B51D-DDAE8BC6E9BD}" dt="2023-11-07T07:50:12.430" v="61229"/>
          <ac:spMkLst>
            <pc:docMk/>
            <pc:sldMk cId="3541548231" sldId="390"/>
            <ac:spMk id="546" creationId="{D8EF34B5-B68D-A7DD-3064-B5753A39D1C1}"/>
          </ac:spMkLst>
        </pc:spChg>
        <pc:spChg chg="mod">
          <ac:chgData name="Tan, Roger" userId="f6f33758-bd69-4951-8148-181de3b92474" providerId="ADAL" clId="{A436842E-EA5C-4A6D-B51D-DDAE8BC6E9BD}" dt="2023-11-07T07:50:12.430" v="61229"/>
          <ac:spMkLst>
            <pc:docMk/>
            <pc:sldMk cId="3541548231" sldId="390"/>
            <ac:spMk id="548" creationId="{C4C67CD2-DF23-A330-3235-DA7B3784235F}"/>
          </ac:spMkLst>
        </pc:spChg>
        <pc:spChg chg="mod">
          <ac:chgData name="Tan, Roger" userId="f6f33758-bd69-4951-8148-181de3b92474" providerId="ADAL" clId="{A436842E-EA5C-4A6D-B51D-DDAE8BC6E9BD}" dt="2023-11-07T07:50:12.430" v="61229"/>
          <ac:spMkLst>
            <pc:docMk/>
            <pc:sldMk cId="3541548231" sldId="390"/>
            <ac:spMk id="549" creationId="{5DA36D00-AC62-7404-C5F7-166F39FC00B5}"/>
          </ac:spMkLst>
        </pc:spChg>
        <pc:spChg chg="add mod ord">
          <ac:chgData name="Tan, Roger" userId="f6f33758-bd69-4951-8148-181de3b92474" providerId="ADAL" clId="{A436842E-EA5C-4A6D-B51D-DDAE8BC6E9BD}" dt="2023-11-07T07:55:41.755" v="62126"/>
          <ac:spMkLst>
            <pc:docMk/>
            <pc:sldMk cId="3541548231" sldId="390"/>
            <ac:spMk id="550" creationId="{109F94FF-8AB8-B08B-AB62-CBC6668AD21C}"/>
          </ac:spMkLst>
        </pc:spChg>
        <pc:spChg chg="add del mod modVis">
          <ac:chgData name="Tan, Roger" userId="f6f33758-bd69-4951-8148-181de3b92474" providerId="ADAL" clId="{A436842E-EA5C-4A6D-B51D-DDAE8BC6E9BD}" dt="2023-11-07T07:55:40.614" v="62043"/>
          <ac:spMkLst>
            <pc:docMk/>
            <pc:sldMk cId="3541548231" sldId="390"/>
            <ac:spMk id="555" creationId="{04CA1308-0187-6EF3-1F6B-5C3DCBBEEC27}"/>
          </ac:spMkLst>
        </pc:spChg>
        <pc:spChg chg="add del mod modVis">
          <ac:chgData name="Tan, Roger" userId="f6f33758-bd69-4951-8148-181de3b92474" providerId="ADAL" clId="{A436842E-EA5C-4A6D-B51D-DDAE8BC6E9BD}" dt="2023-11-07T07:55:41.757" v="62134"/>
          <ac:spMkLst>
            <pc:docMk/>
            <pc:sldMk cId="3541548231" sldId="390"/>
            <ac:spMk id="557" creationId="{BDB34E4B-0D14-B89B-BDCE-C46BC8CFA533}"/>
          </ac:spMkLst>
        </pc:spChg>
        <pc:grpChg chg="add mod ord">
          <ac:chgData name="Tan, Roger" userId="f6f33758-bd69-4951-8148-181de3b92474" providerId="ADAL" clId="{A436842E-EA5C-4A6D-B51D-DDAE8BC6E9BD}" dt="2023-11-07T07:55:41.745" v="62102"/>
          <ac:grpSpMkLst>
            <pc:docMk/>
            <pc:sldMk cId="3541548231" sldId="390"/>
            <ac:grpSpMk id="544" creationId="{5F434FF3-F823-85F7-D6E6-F07A5AA396A4}"/>
          </ac:grpSpMkLst>
        </pc:grpChg>
        <pc:grpChg chg="add mod ord">
          <ac:chgData name="Tan, Roger" userId="f6f33758-bd69-4951-8148-181de3b92474" providerId="ADAL" clId="{A436842E-EA5C-4A6D-B51D-DDAE8BC6E9BD}" dt="2023-11-07T07:56:03.728" v="62148" actId="1036"/>
          <ac:grpSpMkLst>
            <pc:docMk/>
            <pc:sldMk cId="3541548231" sldId="390"/>
            <ac:grpSpMk id="547" creationId="{81CA9C01-8EAF-49DC-719E-7B4A37C1515A}"/>
          </ac:grpSpMkLst>
        </pc:grpChg>
        <pc:graphicFrameChg chg="add del mod ord replST">
          <ac:chgData name="Tan, Roger" userId="f6f33758-bd69-4951-8148-181de3b92474" providerId="ADAL" clId="{A436842E-EA5C-4A6D-B51D-DDAE8BC6E9BD}" dt="2023-11-07T03:36:06.915" v="38076"/>
          <ac:graphicFrameMkLst>
            <pc:docMk/>
            <pc:sldMk cId="3541548231" sldId="390"/>
            <ac:graphicFrameMk id="4" creationId="{F84201A1-F9EE-E2D5-A591-1958D3C36EA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13.694" v="38164"/>
          <ac:graphicFrameMkLst>
            <pc:docMk/>
            <pc:sldMk cId="3541548231" sldId="390"/>
            <ac:graphicFrameMk id="6" creationId="{ED30E8C3-5700-EC20-F220-7AA528E81BE0}"/>
          </ac:graphicFrameMkLst>
        </pc:graphicFrameChg>
        <pc:graphicFrameChg chg="mod">
          <ac:chgData name="Tan, Roger" userId="f6f33758-bd69-4951-8148-181de3b92474" providerId="ADAL" clId="{A436842E-EA5C-4A6D-B51D-DDAE8BC6E9BD}" dt="2023-11-07T09:49:34.108" v="73225"/>
          <ac:graphicFrameMkLst>
            <pc:docMk/>
            <pc:sldMk cId="3541548231" sldId="390"/>
            <ac:graphicFrameMk id="9" creationId="{5DE7E905-5EDA-8429-DE11-43E8EDD3180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31.362" v="38276"/>
          <ac:graphicFrameMkLst>
            <pc:docMk/>
            <pc:sldMk cId="3541548231" sldId="390"/>
            <ac:graphicFrameMk id="12" creationId="{361A631E-4EC4-C75F-65B5-0AAB9E2A5D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36.338" v="38388"/>
          <ac:graphicFrameMkLst>
            <pc:docMk/>
            <pc:sldMk cId="3541548231" sldId="390"/>
            <ac:graphicFrameMk id="21" creationId="{9CC527A9-ECF4-E12D-0E89-741E89463B1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39.818" v="38515"/>
          <ac:graphicFrameMkLst>
            <pc:docMk/>
            <pc:sldMk cId="3541548231" sldId="390"/>
            <ac:graphicFrameMk id="27" creationId="{57B3C658-EBD1-3C90-5976-6762DC4F964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48.406" v="38631"/>
          <ac:graphicFrameMkLst>
            <pc:docMk/>
            <pc:sldMk cId="3541548231" sldId="390"/>
            <ac:graphicFrameMk id="30" creationId="{4D7E8C07-B6BF-7EF2-7840-CB14BBED6D3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6:56.158" v="38978"/>
          <ac:graphicFrameMkLst>
            <pc:docMk/>
            <pc:sldMk cId="3541548231" sldId="390"/>
            <ac:graphicFrameMk id="32" creationId="{1C873023-27C7-CED7-4802-1F212159962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02.364" v="39142"/>
          <ac:graphicFrameMkLst>
            <pc:docMk/>
            <pc:sldMk cId="3541548231" sldId="390"/>
            <ac:graphicFrameMk id="43" creationId="{81E4BF99-E1F8-A88A-1447-D48CB8E5AB7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05.218" v="39244"/>
          <ac:graphicFrameMkLst>
            <pc:docMk/>
            <pc:sldMk cId="3541548231" sldId="390"/>
            <ac:graphicFrameMk id="45" creationId="{03A9E549-ECFA-F315-48FC-47223769B45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09.755" v="39338"/>
          <ac:graphicFrameMkLst>
            <pc:docMk/>
            <pc:sldMk cId="3541548231" sldId="390"/>
            <ac:graphicFrameMk id="47" creationId="{6A9C94C1-C2D8-A4BC-5AE9-F7458F653CC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10.905" v="39434"/>
          <ac:graphicFrameMkLst>
            <pc:docMk/>
            <pc:sldMk cId="3541548231" sldId="390"/>
            <ac:graphicFrameMk id="49" creationId="{01A3946F-366D-0ACF-BEBD-25B7DA17825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17.832" v="39536"/>
          <ac:graphicFrameMkLst>
            <pc:docMk/>
            <pc:sldMk cId="3541548231" sldId="390"/>
            <ac:graphicFrameMk id="51" creationId="{B241656A-A9CA-242D-00BE-F367E18A487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19.240" v="39638"/>
          <ac:graphicFrameMkLst>
            <pc:docMk/>
            <pc:sldMk cId="3541548231" sldId="390"/>
            <ac:graphicFrameMk id="53" creationId="{97B856AE-376C-DBAC-C751-ED433CC922CC}"/>
          </ac:graphicFrameMkLst>
        </pc:graphicFrameChg>
        <pc:graphicFrameChg chg="del">
          <ac:chgData name="Tan, Roger" userId="f6f33758-bd69-4951-8148-181de3b92474" providerId="ADAL" clId="{A436842E-EA5C-4A6D-B51D-DDAE8BC6E9BD}" dt="2023-11-07T03:36:04.164" v="37996"/>
          <ac:graphicFrameMkLst>
            <pc:docMk/>
            <pc:sldMk cId="3541548231" sldId="390"/>
            <ac:graphicFrameMk id="54" creationId="{CB936A00-027A-F2E9-A8E4-9E7C47FBD96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21.958" v="39742"/>
          <ac:graphicFrameMkLst>
            <pc:docMk/>
            <pc:sldMk cId="3541548231" sldId="390"/>
            <ac:graphicFrameMk id="56" creationId="{7EAF46FD-5CC7-6AEB-CF03-D756EE963E8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23.277" v="39846"/>
          <ac:graphicFrameMkLst>
            <pc:docMk/>
            <pc:sldMk cId="3541548231" sldId="390"/>
            <ac:graphicFrameMk id="58" creationId="{E1D9F93B-5C08-DA50-9F27-8EDA3B28E01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41.239" v="39940"/>
          <ac:graphicFrameMkLst>
            <pc:docMk/>
            <pc:sldMk cId="3541548231" sldId="390"/>
            <ac:graphicFrameMk id="60" creationId="{719134DF-89E6-E2BA-22DC-723B69E517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42.161" v="40036"/>
          <ac:graphicFrameMkLst>
            <pc:docMk/>
            <pc:sldMk cId="3541548231" sldId="390"/>
            <ac:graphicFrameMk id="63" creationId="{9D335D1B-DDC7-BB89-7EF2-B5387BF3C4D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45.635" v="40132"/>
          <ac:graphicFrameMkLst>
            <pc:docMk/>
            <pc:sldMk cId="3541548231" sldId="390"/>
            <ac:graphicFrameMk id="449" creationId="{D0897E30-65FF-BED0-8BE5-5CA1E943AE0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46.658" v="40230"/>
          <ac:graphicFrameMkLst>
            <pc:docMk/>
            <pc:sldMk cId="3541548231" sldId="390"/>
            <ac:graphicFrameMk id="452" creationId="{069A25D8-BC77-75FD-7CA3-438D1729EBF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57.534" v="40328"/>
          <ac:graphicFrameMkLst>
            <pc:docMk/>
            <pc:sldMk cId="3541548231" sldId="390"/>
            <ac:graphicFrameMk id="454" creationId="{5FD7165E-9704-332D-E6C0-026928D3240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7:58.330" v="40428"/>
          <ac:graphicFrameMkLst>
            <pc:docMk/>
            <pc:sldMk cId="3541548231" sldId="390"/>
            <ac:graphicFrameMk id="457" creationId="{CA3DC5D1-C9F0-FDBF-7753-16DD8A4484C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01.871" v="40528"/>
          <ac:graphicFrameMkLst>
            <pc:docMk/>
            <pc:sldMk cId="3541548231" sldId="390"/>
            <ac:graphicFrameMk id="459" creationId="{5F678DAC-D2C0-9B57-FACB-66A5B471D44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02.608" v="40630"/>
          <ac:graphicFrameMkLst>
            <pc:docMk/>
            <pc:sldMk cId="3541548231" sldId="390"/>
            <ac:graphicFrameMk id="462" creationId="{F2307ED1-5A3A-C4E2-020C-00F1F1DC89A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17.361" v="40948"/>
          <ac:graphicFrameMkLst>
            <pc:docMk/>
            <pc:sldMk cId="3541548231" sldId="390"/>
            <ac:graphicFrameMk id="464" creationId="{161B4022-9176-C7C4-13CB-3A08D66F3CF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17.943" v="41095"/>
          <ac:graphicFrameMkLst>
            <pc:docMk/>
            <pc:sldMk cId="3541548231" sldId="390"/>
            <ac:graphicFrameMk id="469" creationId="{1EF881A1-7951-E794-7977-D039F7C96D6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35.214" v="42008"/>
          <ac:graphicFrameMkLst>
            <pc:docMk/>
            <pc:sldMk cId="3541548231" sldId="390"/>
            <ac:graphicFrameMk id="471" creationId="{187E9292-8380-2523-090E-F2EDFC4F8469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3:38:23.657" v="41285"/>
          <ac:graphicFrameMkLst>
            <pc:docMk/>
            <pc:sldMk cId="3541548231" sldId="390"/>
            <ac:graphicFrameMk id="472" creationId="{9B85D172-F824-3733-DF24-236D43BCE04A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3:38:27.910" v="41751"/>
          <ac:graphicFrameMkLst>
            <pc:docMk/>
            <pc:sldMk cId="3541548231" sldId="390"/>
            <ac:graphicFrameMk id="474" creationId="{DF6DB527-9281-555E-9DF4-13D9A03005D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37.962" v="42142"/>
          <ac:graphicFrameMkLst>
            <pc:docMk/>
            <pc:sldMk cId="3541548231" sldId="390"/>
            <ac:graphicFrameMk id="476" creationId="{68C846CE-59F1-DC03-F6B3-79D3F0AF329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39.407" v="42236"/>
          <ac:graphicFrameMkLst>
            <pc:docMk/>
            <pc:sldMk cId="3541548231" sldId="390"/>
            <ac:graphicFrameMk id="477" creationId="{9973B0BB-F278-4EDE-2D27-38D392093F8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8:41.025" v="42336"/>
          <ac:graphicFrameMkLst>
            <pc:docMk/>
            <pc:sldMk cId="3541548231" sldId="390"/>
            <ac:graphicFrameMk id="478" creationId="{ACCAFAC5-A0EE-F2FC-6BDE-29D3534737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9:33.272" v="42395"/>
          <ac:graphicFrameMkLst>
            <pc:docMk/>
            <pc:sldMk cId="3541548231" sldId="390"/>
            <ac:graphicFrameMk id="479" creationId="{83CF6012-D92D-0865-2644-823929590D2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9:36.561" v="42483"/>
          <ac:graphicFrameMkLst>
            <pc:docMk/>
            <pc:sldMk cId="3541548231" sldId="390"/>
            <ac:graphicFrameMk id="480" creationId="{58639B6C-81BF-574C-0A97-23921746F1B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39:41.281" v="42579"/>
          <ac:graphicFrameMkLst>
            <pc:docMk/>
            <pc:sldMk cId="3541548231" sldId="390"/>
            <ac:graphicFrameMk id="482" creationId="{906795E7-1F6B-29D2-775E-FCE0834E83E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42:52.925" v="42675"/>
          <ac:graphicFrameMkLst>
            <pc:docMk/>
            <pc:sldMk cId="3541548231" sldId="390"/>
            <ac:graphicFrameMk id="486" creationId="{8BF6094C-1ABC-1EE9-76AC-B37640E2350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3:43:02.420" v="42737"/>
          <ac:graphicFrameMkLst>
            <pc:docMk/>
            <pc:sldMk cId="3541548231" sldId="390"/>
            <ac:graphicFrameMk id="487" creationId="{8284FF7E-3EF1-6D51-BAAC-C8FD8BF3ED3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06.947" v="58476"/>
          <ac:graphicFrameMkLst>
            <pc:docMk/>
            <pc:sldMk cId="3541548231" sldId="390"/>
            <ac:graphicFrameMk id="488" creationId="{17598B7D-51D0-DCCC-DD8C-53CDCAC26C9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07.190" v="58532"/>
          <ac:graphicFrameMkLst>
            <pc:docMk/>
            <pc:sldMk cId="3541548231" sldId="390"/>
            <ac:graphicFrameMk id="489" creationId="{D946484E-DDE9-4A80-8D4C-0868B41E109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08.548" v="58591"/>
          <ac:graphicFrameMkLst>
            <pc:docMk/>
            <pc:sldMk cId="3541548231" sldId="390"/>
            <ac:graphicFrameMk id="490" creationId="{35B1AAA8-5107-66D2-911D-11E0EB5DCF0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09.419" v="58648"/>
          <ac:graphicFrameMkLst>
            <pc:docMk/>
            <pc:sldMk cId="3541548231" sldId="390"/>
            <ac:graphicFrameMk id="491" creationId="{E8F7DCD7-96DB-8139-9E05-ED0FE71240E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2.864" v="58713"/>
          <ac:graphicFrameMkLst>
            <pc:docMk/>
            <pc:sldMk cId="3541548231" sldId="390"/>
            <ac:graphicFrameMk id="492" creationId="{03249D80-CEC4-1F51-2958-1B9D78E611E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2.919" v="58760"/>
          <ac:graphicFrameMkLst>
            <pc:docMk/>
            <pc:sldMk cId="3541548231" sldId="390"/>
            <ac:graphicFrameMk id="493" creationId="{030B1871-5D35-C9AD-A6A0-11486286691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3.806" v="58807"/>
          <ac:graphicFrameMkLst>
            <pc:docMk/>
            <pc:sldMk cId="3541548231" sldId="390"/>
            <ac:graphicFrameMk id="494" creationId="{DADD1206-0508-D26A-C3CB-98581256581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4.783" v="58855"/>
          <ac:graphicFrameMkLst>
            <pc:docMk/>
            <pc:sldMk cId="3541548231" sldId="390"/>
            <ac:graphicFrameMk id="495" creationId="{B9ADFBF3-2903-26F0-EA4C-9F25336810D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5.387" v="58899"/>
          <ac:graphicFrameMkLst>
            <pc:docMk/>
            <pc:sldMk cId="3541548231" sldId="390"/>
            <ac:graphicFrameMk id="496" creationId="{ACBF537F-AC45-4788-D26E-5E161C0F266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4:19.164" v="58973"/>
          <ac:graphicFrameMkLst>
            <pc:docMk/>
            <pc:sldMk cId="3541548231" sldId="390"/>
            <ac:graphicFrameMk id="497" creationId="{8225C5B4-5DF0-D8CA-9E16-787E905DF4B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5:21.190" v="59048"/>
          <ac:graphicFrameMkLst>
            <pc:docMk/>
            <pc:sldMk cId="3541548231" sldId="390"/>
            <ac:graphicFrameMk id="498" creationId="{83F6DA31-0534-7559-0658-294AD306B57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5:36.582" v="59088"/>
          <ac:graphicFrameMkLst>
            <pc:docMk/>
            <pc:sldMk cId="3541548231" sldId="390"/>
            <ac:graphicFrameMk id="500" creationId="{10682F20-E41D-1960-B4D4-B48007E8506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5:48.347" v="59162"/>
          <ac:graphicFrameMkLst>
            <pc:docMk/>
            <pc:sldMk cId="3541548231" sldId="390"/>
            <ac:graphicFrameMk id="501" creationId="{BECFC2E5-C2FC-0E5B-1BC4-E81F99128CB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00.519" v="59219"/>
          <ac:graphicFrameMkLst>
            <pc:docMk/>
            <pc:sldMk cId="3541548231" sldId="390"/>
            <ac:graphicFrameMk id="503" creationId="{F5D16EE8-0BE5-B17B-EFCF-48C8BE6F587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06.004" v="59294"/>
          <ac:graphicFrameMkLst>
            <pc:docMk/>
            <pc:sldMk cId="3541548231" sldId="390"/>
            <ac:graphicFrameMk id="504" creationId="{74FE5D15-9C1A-C4D1-831F-53F010E8A6D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17.450" v="59368"/>
          <ac:graphicFrameMkLst>
            <pc:docMk/>
            <pc:sldMk cId="3541548231" sldId="390"/>
            <ac:graphicFrameMk id="506" creationId="{F2FEE83F-357A-3373-D197-8BACE821A5E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25.467" v="59644"/>
          <ac:graphicFrameMkLst>
            <pc:docMk/>
            <pc:sldMk cId="3541548231" sldId="390"/>
            <ac:graphicFrameMk id="508" creationId="{79987594-629A-0094-E7F8-F9B4C9FED676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7:36:22.661" v="59496" actId="20578"/>
          <ac:graphicFrameMkLst>
            <pc:docMk/>
            <pc:sldMk cId="3541548231" sldId="390"/>
            <ac:graphicFrameMk id="510" creationId="{ED4A2349-D734-8101-B3A0-35B794262A8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26.103" v="59718"/>
          <ac:graphicFrameMkLst>
            <pc:docMk/>
            <pc:sldMk cId="3541548231" sldId="390"/>
            <ac:graphicFrameMk id="512" creationId="{863CC86B-C8B6-73A2-645C-502A69AEE20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29.304" v="59784"/>
          <ac:graphicFrameMkLst>
            <pc:docMk/>
            <pc:sldMk cId="3541548231" sldId="390"/>
            <ac:graphicFrameMk id="514" creationId="{F34D6659-3F0B-E537-EC0C-8450DE492F9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6:55.031" v="60126"/>
          <ac:graphicFrameMkLst>
            <pc:docMk/>
            <pc:sldMk cId="3541548231" sldId="390"/>
            <ac:graphicFrameMk id="516" creationId="{0CA1CD34-30F8-C90D-EB9C-5972003FA2D8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7:36:41.800" v="59919"/>
          <ac:graphicFrameMkLst>
            <pc:docMk/>
            <pc:sldMk cId="3541548231" sldId="390"/>
            <ac:graphicFrameMk id="518" creationId="{D7F45F46-C6FA-5410-4EE0-7F815136FBB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7:04.204" v="60206"/>
          <ac:graphicFrameMkLst>
            <pc:docMk/>
            <pc:sldMk cId="3541548231" sldId="390"/>
            <ac:graphicFrameMk id="520" creationId="{183ECF2E-9F6A-D24F-76E8-E22D3F465C8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7:37.809" v="60324"/>
          <ac:graphicFrameMkLst>
            <pc:docMk/>
            <pc:sldMk cId="3541548231" sldId="390"/>
            <ac:graphicFrameMk id="522" creationId="{3CD68727-E8AD-B07D-D6BB-2D387DFEA38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7:41.641" v="60376"/>
          <ac:graphicFrameMkLst>
            <pc:docMk/>
            <pc:sldMk cId="3541548231" sldId="390"/>
            <ac:graphicFrameMk id="525" creationId="{D78E7BA1-307D-4C71-A340-2CA4E321EAF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7:43.933" v="60432"/>
          <ac:graphicFrameMkLst>
            <pc:docMk/>
            <pc:sldMk cId="3541548231" sldId="390"/>
            <ac:graphicFrameMk id="526" creationId="{E869EAD7-DA9F-EBEB-1E8A-224B225634E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7:56.806" v="60482"/>
          <ac:graphicFrameMkLst>
            <pc:docMk/>
            <pc:sldMk cId="3541548231" sldId="390"/>
            <ac:graphicFrameMk id="527" creationId="{99A048E0-8E5B-2291-B073-0F7F18A7E78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9:03.594" v="60553"/>
          <ac:graphicFrameMkLst>
            <pc:docMk/>
            <pc:sldMk cId="3541548231" sldId="390"/>
            <ac:graphicFrameMk id="528" creationId="{D62ACEDD-BBE1-9919-2DA1-9AE0BDA3A9B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39:56.035" v="60816"/>
          <ac:graphicFrameMkLst>
            <pc:docMk/>
            <pc:sldMk cId="3541548231" sldId="390"/>
            <ac:graphicFrameMk id="529" creationId="{0C38B6B4-296C-5D19-DA26-73CA12A54DF3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7:39:42.078" v="60666"/>
          <ac:graphicFrameMkLst>
            <pc:docMk/>
            <pc:sldMk cId="3541548231" sldId="390"/>
            <ac:graphicFrameMk id="530" creationId="{054F1977-6E43-49D1-27CA-7E68BE35CD2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40:32.350" v="60860"/>
          <ac:graphicFrameMkLst>
            <pc:docMk/>
            <pc:sldMk cId="3541548231" sldId="390"/>
            <ac:graphicFrameMk id="533" creationId="{BCC885DC-D2D7-4B3D-9E7B-74F2089B756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41:03.961" v="60902"/>
          <ac:graphicFrameMkLst>
            <pc:docMk/>
            <pc:sldMk cId="3541548231" sldId="390"/>
            <ac:graphicFrameMk id="534" creationId="{DA4DA755-6A17-0923-7F8D-DC727F931C8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41:17.887" v="60968"/>
          <ac:graphicFrameMkLst>
            <pc:docMk/>
            <pc:sldMk cId="3541548231" sldId="390"/>
            <ac:graphicFrameMk id="535" creationId="{81D7AE96-5B9B-0002-BBFB-72C91341705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41:19.220" v="61058"/>
          <ac:graphicFrameMkLst>
            <pc:docMk/>
            <pc:sldMk cId="3541548231" sldId="390"/>
            <ac:graphicFrameMk id="536" creationId="{B01FF975-70C7-5A0C-3628-89A9B431BD0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0:04.703" v="61196"/>
          <ac:graphicFrameMkLst>
            <pc:docMk/>
            <pc:sldMk cId="3541548231" sldId="390"/>
            <ac:graphicFrameMk id="537" creationId="{8638566E-5338-B506-6644-3F5BDFF1433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3:22.822" v="61577"/>
          <ac:graphicFrameMkLst>
            <pc:docMk/>
            <pc:sldMk cId="3541548231" sldId="390"/>
            <ac:graphicFrameMk id="543" creationId="{6615EC11-3519-0FF9-F647-3913339BE85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3:23.905" v="61663"/>
          <ac:graphicFrameMkLst>
            <pc:docMk/>
            <pc:sldMk cId="3541548231" sldId="390"/>
            <ac:graphicFrameMk id="552" creationId="{9DD0F4B7-9079-75D2-0E04-0F9B1593325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3:25.304" v="61749"/>
          <ac:graphicFrameMkLst>
            <pc:docMk/>
            <pc:sldMk cId="3541548231" sldId="390"/>
            <ac:graphicFrameMk id="553" creationId="{D27A975D-A59F-C348-0610-2DB7B26D23A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5:40.585" v="62003"/>
          <ac:graphicFrameMkLst>
            <pc:docMk/>
            <pc:sldMk cId="3541548231" sldId="390"/>
            <ac:graphicFrameMk id="554" creationId="{3F694C0C-F4F0-285B-C2D1-78F35796D41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7:55:41.708" v="62094"/>
          <ac:graphicFrameMkLst>
            <pc:docMk/>
            <pc:sldMk cId="3541548231" sldId="390"/>
            <ac:graphicFrameMk id="556" creationId="{A361EF4E-B37C-D0B9-8ECB-7B8DA8D93EC2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7:55:41.747" v="62108"/>
          <ac:graphicFrameMkLst>
            <pc:docMk/>
            <pc:sldMk cId="3541548231" sldId="390"/>
            <ac:graphicFrameMk id="558" creationId="{5DE85269-B7A3-E3D7-98E7-2974FCA08FFF}"/>
          </ac:graphicFrameMkLst>
        </pc:graphicFrameChg>
        <pc:cxnChg chg="del mod ord">
          <ac:chgData name="Tan, Roger" userId="f6f33758-bd69-4951-8148-181de3b92474" providerId="ADAL" clId="{A436842E-EA5C-4A6D-B51D-DDAE8BC6E9BD}" dt="2023-11-07T07:34:15.374" v="58887"/>
          <ac:cxnSpMkLst>
            <pc:docMk/>
            <pc:sldMk cId="3541548231" sldId="390"/>
            <ac:cxnSpMk id="18" creationId="{06627C4E-CDA8-776B-9CA1-15A0310CFCEB}"/>
          </ac:cxnSpMkLst>
        </pc:cxnChg>
        <pc:cxnChg chg="add del mod ord replST">
          <ac:chgData name="Tan, Roger" userId="f6f33758-bd69-4951-8148-181de3b92474" providerId="ADAL" clId="{A436842E-EA5C-4A6D-B51D-DDAE8BC6E9BD}" dt="2023-11-07T03:37:02.348" v="39102"/>
          <ac:cxnSpMkLst>
            <pc:docMk/>
            <pc:sldMk cId="3541548231" sldId="390"/>
            <ac:cxnSpMk id="36" creationId="{4AA23A74-7EA7-2B9F-4A47-8A25C5211EFC}"/>
          </ac:cxnSpMkLst>
        </pc:cxnChg>
        <pc:cxnChg chg="add del mod ord replST">
          <ac:chgData name="Tan, Roger" userId="f6f33758-bd69-4951-8148-181de3b92474" providerId="ADAL" clId="{A436842E-EA5C-4A6D-B51D-DDAE8BC6E9BD}" dt="2023-11-07T03:37:02.349" v="39106"/>
          <ac:cxnSpMkLst>
            <pc:docMk/>
            <pc:sldMk cId="3541548231" sldId="390"/>
            <ac:cxnSpMk id="37" creationId="{71300744-73A2-607E-0612-FF5A6DEF372F}"/>
          </ac:cxnSpMkLst>
        </pc:cxnChg>
        <pc:cxnChg chg="add del mod ord replST">
          <ac:chgData name="Tan, Roger" userId="f6f33758-bd69-4951-8148-181de3b92474" providerId="ADAL" clId="{A436842E-EA5C-4A6D-B51D-DDAE8BC6E9BD}" dt="2023-11-07T03:37:02.349" v="39104"/>
          <ac:cxnSpMkLst>
            <pc:docMk/>
            <pc:sldMk cId="3541548231" sldId="390"/>
            <ac:cxnSpMk id="38" creationId="{986083BE-8E98-4F35-CBB6-8E5CDF40A1C1}"/>
          </ac:cxnSpMkLst>
        </pc:cxnChg>
        <pc:cxnChg chg="add del mod ord replST">
          <ac:chgData name="Tan, Roger" userId="f6f33758-bd69-4951-8148-181de3b92474" providerId="ADAL" clId="{A436842E-EA5C-4A6D-B51D-DDAE8BC6E9BD}" dt="2023-11-07T03:37:02.352" v="39112"/>
          <ac:cxnSpMkLst>
            <pc:docMk/>
            <pc:sldMk cId="3541548231" sldId="390"/>
            <ac:cxnSpMk id="39" creationId="{EEB3D0F5-DE04-C96B-BA83-A66418D2EC0B}"/>
          </ac:cxnSpMkLst>
        </pc:cxnChg>
        <pc:cxnChg chg="add del mod ord replST">
          <ac:chgData name="Tan, Roger" userId="f6f33758-bd69-4951-8148-181de3b92474" providerId="ADAL" clId="{A436842E-EA5C-4A6D-B51D-DDAE8BC6E9BD}" dt="2023-11-07T03:37:02.353" v="39116"/>
          <ac:cxnSpMkLst>
            <pc:docMk/>
            <pc:sldMk cId="3541548231" sldId="390"/>
            <ac:cxnSpMk id="40" creationId="{CB8094C8-8830-7330-F486-BAEC41DDA004}"/>
          </ac:cxnSpMkLst>
        </pc:cxnChg>
        <pc:cxnChg chg="add del mod ord replST">
          <ac:chgData name="Tan, Roger" userId="f6f33758-bd69-4951-8148-181de3b92474" providerId="ADAL" clId="{A436842E-EA5C-4A6D-B51D-DDAE8BC6E9BD}" dt="2023-11-07T03:37:02.352" v="39114"/>
          <ac:cxnSpMkLst>
            <pc:docMk/>
            <pc:sldMk cId="3541548231" sldId="390"/>
            <ac:cxnSpMk id="41" creationId="{8F1AEC43-68D2-4F66-D13A-36214A3B4B3D}"/>
          </ac:cxnSpMkLst>
        </pc:cxnChg>
        <pc:cxnChg chg="add del mod ord replST">
          <ac:chgData name="Tan, Roger" userId="f6f33758-bd69-4951-8148-181de3b92474" providerId="ADAL" clId="{A436842E-EA5C-4A6D-B51D-DDAE8BC6E9BD}" dt="2023-11-07T03:37:02.361" v="39134"/>
          <ac:cxnSpMkLst>
            <pc:docMk/>
            <pc:sldMk cId="3541548231" sldId="390"/>
            <ac:cxnSpMk id="42" creationId="{65F74585-D907-054C-2254-EC2A87BE093A}"/>
          </ac:cxnSpMkLst>
        </pc:cxnChg>
        <pc:cxnChg chg="add mod ord">
          <ac:chgData name="Tan, Roger" userId="f6f33758-bd69-4951-8148-181de3b92474" providerId="ADAL" clId="{A436842E-EA5C-4A6D-B51D-DDAE8BC6E9BD}" dt="2023-11-07T07:55:41.756" v="62128"/>
          <ac:cxnSpMkLst>
            <pc:docMk/>
            <pc:sldMk cId="3541548231" sldId="390"/>
            <ac:cxnSpMk id="551" creationId="{42C3F4F8-53C4-CD6A-6034-7B06B55013E2}"/>
          </ac:cxnSpMkLst>
        </pc:cxnChg>
      </pc:sldChg>
      <pc:sldChg chg="modSp mod">
        <pc:chgData name="Tan, Roger" userId="f6f33758-bd69-4951-8148-181de3b92474" providerId="ADAL" clId="{A436842E-EA5C-4A6D-B51D-DDAE8BC6E9BD}" dt="2023-11-07T10:05:14.258" v="73308" actId="20577"/>
        <pc:sldMkLst>
          <pc:docMk/>
          <pc:sldMk cId="1742603404" sldId="391"/>
        </pc:sldMkLst>
        <pc:spChg chg="mod">
          <ac:chgData name="Tan, Roger" userId="f6f33758-bd69-4951-8148-181de3b92474" providerId="ADAL" clId="{A436842E-EA5C-4A6D-B51D-DDAE8BC6E9BD}" dt="2023-11-07T10:05:14.258" v="73308" actId="20577"/>
          <ac:spMkLst>
            <pc:docMk/>
            <pc:sldMk cId="1742603404" sldId="391"/>
            <ac:spMk id="92" creationId="{89F3CD0B-6DC9-F623-70AC-D7619CAEEFA8}"/>
          </ac:spMkLst>
        </pc:spChg>
      </pc:sldChg>
      <pc:sldChg chg="addSp delSp modSp new add del mod ord modTransition modShow">
        <pc:chgData name="Tan, Roger" userId="f6f33758-bd69-4951-8148-181de3b92474" providerId="ADAL" clId="{A436842E-EA5C-4A6D-B51D-DDAE8BC6E9BD}" dt="2023-11-07T19:26:14.910" v="75862" actId="47"/>
        <pc:sldMkLst>
          <pc:docMk/>
          <pc:sldMk cId="2156854375" sldId="392"/>
        </pc:sldMkLst>
        <pc:spChg chg="add del mod modVis">
          <ac:chgData name="Tan, Roger" userId="f6f33758-bd69-4951-8148-181de3b92474" providerId="ADAL" clId="{A436842E-EA5C-4A6D-B51D-DDAE8BC6E9BD}" dt="2023-11-06T20:35:36.759" v="21193"/>
          <ac:spMkLst>
            <pc:docMk/>
            <pc:sldMk cId="2156854375" sldId="392"/>
            <ac:spMk id="2" creationId="{A24684CD-171F-A5CA-D7F5-4E83E193A727}"/>
          </ac:spMkLst>
        </pc:spChg>
        <pc:spChg chg="add mod replST">
          <ac:chgData name="Tan, Roger" userId="f6f33758-bd69-4951-8148-181de3b92474" providerId="ADAL" clId="{A436842E-EA5C-4A6D-B51D-DDAE8BC6E9BD}" dt="2023-11-06T20:44:18.405" v="25609"/>
          <ac:spMkLst>
            <pc:docMk/>
            <pc:sldMk cId="2156854375" sldId="392"/>
            <ac:spMk id="3" creationId="{3F76A028-CF0D-6B71-8F38-695E594D9938}"/>
          </ac:spMkLst>
        </pc:spChg>
        <pc:spChg chg="add mod replST">
          <ac:chgData name="Tan, Roger" userId="f6f33758-bd69-4951-8148-181de3b92474" providerId="ADAL" clId="{A436842E-EA5C-4A6D-B51D-DDAE8BC6E9BD}" dt="2023-11-06T20:44:18.405" v="25610"/>
          <ac:spMkLst>
            <pc:docMk/>
            <pc:sldMk cId="2156854375" sldId="392"/>
            <ac:spMk id="4" creationId="{53FBA2B0-ED25-650D-31A9-D767DFD8E6CF}"/>
          </ac:spMkLst>
        </pc:spChg>
        <pc:spChg chg="add del mod replST">
          <ac:chgData name="Tan, Roger" userId="f6f33758-bd69-4951-8148-181de3b92474" providerId="ADAL" clId="{A436842E-EA5C-4A6D-B51D-DDAE8BC6E9BD}" dt="2023-11-06T20:36:23.857" v="21697"/>
          <ac:spMkLst>
            <pc:docMk/>
            <pc:sldMk cId="2156854375" sldId="392"/>
            <ac:spMk id="5" creationId="{CD63AC51-D4E0-57FF-261B-9D4C2AE6BAC0}"/>
          </ac:spMkLst>
        </pc:spChg>
        <pc:spChg chg="add del mod modVis">
          <ac:chgData name="Tan, Roger" userId="f6f33758-bd69-4951-8148-181de3b92474" providerId="ADAL" clId="{A436842E-EA5C-4A6D-B51D-DDAE8BC6E9BD}" dt="2023-11-06T20:35:50.303" v="21262"/>
          <ac:spMkLst>
            <pc:docMk/>
            <pc:sldMk cId="2156854375" sldId="392"/>
            <ac:spMk id="8" creationId="{90B31110-6364-A4EF-2515-EFC793D56863}"/>
          </ac:spMkLst>
        </pc:spChg>
        <pc:spChg chg="add del mod modVis">
          <ac:chgData name="Tan, Roger" userId="f6f33758-bd69-4951-8148-181de3b92474" providerId="ADAL" clId="{A436842E-EA5C-4A6D-B51D-DDAE8BC6E9BD}" dt="2023-11-06T20:35:56.452" v="21509"/>
          <ac:spMkLst>
            <pc:docMk/>
            <pc:sldMk cId="2156854375" sldId="392"/>
            <ac:spMk id="10" creationId="{675BDD7C-361F-5E2F-7091-127D01473F81}"/>
          </ac:spMkLst>
        </pc:spChg>
        <pc:spChg chg="add del mod replST">
          <ac:chgData name="Tan, Roger" userId="f6f33758-bd69-4951-8148-181de3b92474" providerId="ADAL" clId="{A436842E-EA5C-4A6D-B51D-DDAE8BC6E9BD}" dt="2023-11-06T20:35:57.477" v="21551"/>
          <ac:spMkLst>
            <pc:docMk/>
            <pc:sldMk cId="2156854375" sldId="392"/>
            <ac:spMk id="11" creationId="{954DDA77-392D-E10F-37C4-25029D468586}"/>
          </ac:spMkLst>
        </pc:spChg>
        <pc:spChg chg="add del mod ord replST">
          <ac:chgData name="Tan, Roger" userId="f6f33758-bd69-4951-8148-181de3b92474" providerId="ADAL" clId="{A436842E-EA5C-4A6D-B51D-DDAE8BC6E9BD}" dt="2023-11-06T20:35:57.481" v="21557"/>
          <ac:spMkLst>
            <pc:docMk/>
            <pc:sldMk cId="2156854375" sldId="392"/>
            <ac:spMk id="12" creationId="{CF06FFCD-2986-B49E-6E5C-15FB746F79A8}"/>
          </ac:spMkLst>
        </pc:spChg>
        <pc:spChg chg="add del mod ord replST">
          <ac:chgData name="Tan, Roger" userId="f6f33758-bd69-4951-8148-181de3b92474" providerId="ADAL" clId="{A436842E-EA5C-4A6D-B51D-DDAE8BC6E9BD}" dt="2023-11-06T20:35:57.486" v="21563"/>
          <ac:spMkLst>
            <pc:docMk/>
            <pc:sldMk cId="2156854375" sldId="392"/>
            <ac:spMk id="13" creationId="{5795225C-5076-97AA-DC40-7D8A48C896DF}"/>
          </ac:spMkLst>
        </pc:spChg>
        <pc:spChg chg="add del mod modVis">
          <ac:chgData name="Tan, Roger" userId="f6f33758-bd69-4951-8148-181de3b92474" providerId="ADAL" clId="{A436842E-EA5C-4A6D-B51D-DDAE8BC6E9BD}" dt="2023-11-06T20:35:57.529" v="21584"/>
          <ac:spMkLst>
            <pc:docMk/>
            <pc:sldMk cId="2156854375" sldId="392"/>
            <ac:spMk id="15" creationId="{A204626E-27EB-C100-B8FA-869353139981}"/>
          </ac:spMkLst>
        </pc:spChg>
        <pc:spChg chg="add del mod modVis">
          <ac:chgData name="Tan, Roger" userId="f6f33758-bd69-4951-8148-181de3b92474" providerId="ADAL" clId="{A436842E-EA5C-4A6D-B51D-DDAE8BC6E9BD}" dt="2023-11-06T20:36:03.607" v="21638"/>
          <ac:spMkLst>
            <pc:docMk/>
            <pc:sldMk cId="2156854375" sldId="392"/>
            <ac:spMk id="17" creationId="{EE12DB8D-6887-864E-6EFA-B207BA5E2403}"/>
          </ac:spMkLst>
        </pc:spChg>
        <pc:spChg chg="add del mod modVis">
          <ac:chgData name="Tan, Roger" userId="f6f33758-bd69-4951-8148-181de3b92474" providerId="ADAL" clId="{A436842E-EA5C-4A6D-B51D-DDAE8BC6E9BD}" dt="2023-11-06T20:36:21.628" v="21694"/>
          <ac:spMkLst>
            <pc:docMk/>
            <pc:sldMk cId="2156854375" sldId="392"/>
            <ac:spMk id="19" creationId="{0E05FC02-9F8C-25BF-E082-7A606384ED38}"/>
          </ac:spMkLst>
        </pc:spChg>
        <pc:spChg chg="add del mod modVis">
          <ac:chgData name="Tan, Roger" userId="f6f33758-bd69-4951-8148-181de3b92474" providerId="ADAL" clId="{A436842E-EA5C-4A6D-B51D-DDAE8BC6E9BD}" dt="2023-11-06T20:36:29.230" v="21769"/>
          <ac:spMkLst>
            <pc:docMk/>
            <pc:sldMk cId="2156854375" sldId="392"/>
            <ac:spMk id="22" creationId="{0CC801D5-0F32-B951-7B58-5313E4486F7B}"/>
          </ac:spMkLst>
        </pc:spChg>
        <pc:spChg chg="add del mod modVis">
          <ac:chgData name="Tan, Roger" userId="f6f33758-bd69-4951-8148-181de3b92474" providerId="ADAL" clId="{A436842E-EA5C-4A6D-B51D-DDAE8BC6E9BD}" dt="2023-11-06T20:36:56.546" v="21875"/>
          <ac:spMkLst>
            <pc:docMk/>
            <pc:sldMk cId="2156854375" sldId="392"/>
            <ac:spMk id="26" creationId="{8E2CE160-8B81-24E0-EDE1-8DA9789F04EB}"/>
          </ac:spMkLst>
        </pc:spChg>
        <pc:spChg chg="add del mod modVis">
          <ac:chgData name="Tan, Roger" userId="f6f33758-bd69-4951-8148-181de3b92474" providerId="ADAL" clId="{A436842E-EA5C-4A6D-B51D-DDAE8BC6E9BD}" dt="2023-11-06T20:37:00.944" v="21929"/>
          <ac:spMkLst>
            <pc:docMk/>
            <pc:sldMk cId="2156854375" sldId="392"/>
            <ac:spMk id="28" creationId="{F4EE912F-39A4-859C-104E-4C2B8DEAC324}"/>
          </ac:spMkLst>
        </pc:spChg>
        <pc:spChg chg="add mod ord">
          <ac:chgData name="Tan, Roger" userId="f6f33758-bd69-4951-8148-181de3b92474" providerId="ADAL" clId="{A436842E-EA5C-4A6D-B51D-DDAE8BC6E9BD}" dt="2023-11-06T20:44:18.406" v="25612"/>
          <ac:spMkLst>
            <pc:docMk/>
            <pc:sldMk cId="2156854375" sldId="392"/>
            <ac:spMk id="40" creationId="{C9430907-A986-2031-0DF1-F3FDB785D92D}"/>
          </ac:spMkLst>
        </pc:spChg>
        <pc:spChg chg="add mod ord">
          <ac:chgData name="Tan, Roger" userId="f6f33758-bd69-4951-8148-181de3b92474" providerId="ADAL" clId="{A436842E-EA5C-4A6D-B51D-DDAE8BC6E9BD}" dt="2023-11-07T02:45:32.561" v="37326" actId="1076"/>
          <ac:spMkLst>
            <pc:docMk/>
            <pc:sldMk cId="2156854375" sldId="392"/>
            <ac:spMk id="41" creationId="{A17AEE7A-893F-AC65-CE3D-CAABC30C1C27}"/>
          </ac:spMkLst>
        </pc:spChg>
        <pc:spChg chg="add del mod modVis">
          <ac:chgData name="Tan, Roger" userId="f6f33758-bd69-4951-8148-181de3b92474" providerId="ADAL" clId="{A436842E-EA5C-4A6D-B51D-DDAE8BC6E9BD}" dt="2023-11-06T20:40:39.510" v="22747"/>
          <ac:spMkLst>
            <pc:docMk/>
            <pc:sldMk cId="2156854375" sldId="392"/>
            <ac:spMk id="54" creationId="{50E477D4-BC74-94B7-D494-09757B5F89D5}"/>
          </ac:spMkLst>
        </pc:spChg>
        <pc:graphicFrameChg chg="add del mod ord replST">
          <ac:chgData name="Tan, Roger" userId="f6f33758-bd69-4951-8148-181de3b92474" providerId="ADAL" clId="{A436842E-EA5C-4A6D-B51D-DDAE8BC6E9BD}" dt="2023-11-06T20:35:50.280" v="21247"/>
          <ac:graphicFrameMkLst>
            <pc:docMk/>
            <pc:sldMk cId="2156854375" sldId="392"/>
            <ac:graphicFrameMk id="6" creationId="{C8B3CBEC-B09D-A9F8-7E48-E7F401908BF6}"/>
          </ac:graphicFrameMkLst>
        </pc:graphicFrameChg>
        <pc:graphicFrameChg chg="add mod ord modVis replST">
          <ac:chgData name="Tan, Roger" userId="f6f33758-bd69-4951-8148-181de3b92474" providerId="ADAL" clId="{A436842E-EA5C-4A6D-B51D-DDAE8BC6E9BD}" dt="2023-11-06T20:44:18.409" v="25618"/>
          <ac:graphicFrameMkLst>
            <pc:docMk/>
            <pc:sldMk cId="2156854375" sldId="392"/>
            <ac:graphicFrameMk id="7" creationId="{92FF8875-7516-7AA2-61C1-331CCAFD296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5:56.426" v="21489"/>
          <ac:graphicFrameMkLst>
            <pc:docMk/>
            <pc:sldMk cId="2156854375" sldId="392"/>
            <ac:graphicFrameMk id="9" creationId="{F683DA96-68CF-051B-B770-0C0261B31F3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5:57.490" v="21569"/>
          <ac:graphicFrameMkLst>
            <pc:docMk/>
            <pc:sldMk cId="2156854375" sldId="392"/>
            <ac:graphicFrameMk id="14" creationId="{57142223-54EE-AE03-838B-7655AD157BD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03.590" v="21623"/>
          <ac:graphicFrameMkLst>
            <pc:docMk/>
            <pc:sldMk cId="2156854375" sldId="392"/>
            <ac:graphicFrameMk id="16" creationId="{A37E4E2C-AA0A-9422-C3B1-F3824C19396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21.612" v="21679"/>
          <ac:graphicFrameMkLst>
            <pc:docMk/>
            <pc:sldMk cId="2156854375" sldId="392"/>
            <ac:graphicFrameMk id="18" creationId="{7FE17AD8-0A73-3D6E-B228-E772BC6D4BA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23.879" v="21709"/>
          <ac:graphicFrameMkLst>
            <pc:docMk/>
            <pc:sldMk cId="2156854375" sldId="392"/>
            <ac:graphicFrameMk id="20" creationId="{98C0A599-CB32-5E06-682C-B528E4075E3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29.202" v="21755"/>
          <ac:graphicFrameMkLst>
            <pc:docMk/>
            <pc:sldMk cId="2156854375" sldId="392"/>
            <ac:graphicFrameMk id="21" creationId="{CAE9C4E4-E09B-4069-F79E-54D4752D718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33.261" v="21783"/>
          <ac:graphicFrameMkLst>
            <pc:docMk/>
            <pc:sldMk cId="2156854375" sldId="392"/>
            <ac:graphicFrameMk id="23" creationId="{2027A1B2-FA91-74EB-DE94-395B75B2193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34.171" v="21809"/>
          <ac:graphicFrameMkLst>
            <pc:docMk/>
            <pc:sldMk cId="2156854375" sldId="392"/>
            <ac:graphicFrameMk id="24" creationId="{1E099BAE-C6AC-D0F0-B7C6-BBDDE5BCF04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6:56.524" v="21861"/>
          <ac:graphicFrameMkLst>
            <pc:docMk/>
            <pc:sldMk cId="2156854375" sldId="392"/>
            <ac:graphicFrameMk id="25" creationId="{7EB71F8E-CCEE-1EDB-9C60-93AD7B2967B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00.922" v="21915"/>
          <ac:graphicFrameMkLst>
            <pc:docMk/>
            <pc:sldMk cId="2156854375" sldId="392"/>
            <ac:graphicFrameMk id="27" creationId="{10278312-9E18-614F-26F7-3AD1E000317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03.108" v="21943"/>
          <ac:graphicFrameMkLst>
            <pc:docMk/>
            <pc:sldMk cId="2156854375" sldId="392"/>
            <ac:graphicFrameMk id="29" creationId="{412E9CA0-9BB9-AD9A-4BD4-B83A78947E4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06.222" v="21961"/>
          <ac:graphicFrameMkLst>
            <pc:docMk/>
            <pc:sldMk cId="2156854375" sldId="392"/>
            <ac:graphicFrameMk id="30" creationId="{11948A5C-F814-8C6D-0B3F-F1FB3A9C1B7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08.305" v="21979"/>
          <ac:graphicFrameMkLst>
            <pc:docMk/>
            <pc:sldMk cId="2156854375" sldId="392"/>
            <ac:graphicFrameMk id="31" creationId="{C4A9A585-634A-E3C7-1634-119FA83D778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16.603" v="21997"/>
          <ac:graphicFrameMkLst>
            <pc:docMk/>
            <pc:sldMk cId="2156854375" sldId="392"/>
            <ac:graphicFrameMk id="32" creationId="{F2DE90C1-B8AA-14D0-FDA5-C3C6FBC98A0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21.267" v="22016"/>
          <ac:graphicFrameMkLst>
            <pc:docMk/>
            <pc:sldMk cId="2156854375" sldId="392"/>
            <ac:graphicFrameMk id="33" creationId="{A0D4CE62-71E4-5A30-327D-791054C5F02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26.443" v="22034"/>
          <ac:graphicFrameMkLst>
            <pc:docMk/>
            <pc:sldMk cId="2156854375" sldId="392"/>
            <ac:graphicFrameMk id="34" creationId="{163A7FA0-DE04-4AE7-2268-923043953E8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32.342" v="22054"/>
          <ac:graphicFrameMkLst>
            <pc:docMk/>
            <pc:sldMk cId="2156854375" sldId="392"/>
            <ac:graphicFrameMk id="35" creationId="{1F363748-0FD0-5D59-2AFB-E7A0B736B2D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35.655" v="22074"/>
          <ac:graphicFrameMkLst>
            <pc:docMk/>
            <pc:sldMk cId="2156854375" sldId="392"/>
            <ac:graphicFrameMk id="36" creationId="{919EEA70-2B1A-C5C4-3F99-C8A953ECAA4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51.880" v="22100"/>
          <ac:graphicFrameMkLst>
            <pc:docMk/>
            <pc:sldMk cId="2156854375" sldId="392"/>
            <ac:graphicFrameMk id="37" creationId="{E99209EE-ECF6-538C-2ACC-8BAF087D0C1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7:54.640" v="22126"/>
          <ac:graphicFrameMkLst>
            <pc:docMk/>
            <pc:sldMk cId="2156854375" sldId="392"/>
            <ac:graphicFrameMk id="38" creationId="{0D995266-AD11-D01F-FAF3-600D6FF56CF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13.666" v="22234"/>
          <ac:graphicFrameMkLst>
            <pc:docMk/>
            <pc:sldMk cId="2156854375" sldId="392"/>
            <ac:graphicFrameMk id="39" creationId="{AAAE72BE-B85E-9C2F-923B-16B68B21F50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19.139" v="22264"/>
          <ac:graphicFrameMkLst>
            <pc:docMk/>
            <pc:sldMk cId="2156854375" sldId="392"/>
            <ac:graphicFrameMk id="42" creationId="{2DD715DC-681E-4F7D-F218-631097B6BA7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20.139" v="22290"/>
          <ac:graphicFrameMkLst>
            <pc:docMk/>
            <pc:sldMk cId="2156854375" sldId="392"/>
            <ac:graphicFrameMk id="43" creationId="{BA54B6EA-4DEC-E109-CF2A-35439A7BBA0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20.899" v="22316"/>
          <ac:graphicFrameMkLst>
            <pc:docMk/>
            <pc:sldMk cId="2156854375" sldId="392"/>
            <ac:graphicFrameMk id="44" creationId="{342A3B98-9A1C-3F18-AC8F-CADCC5FD7CE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24.264" v="22342"/>
          <ac:graphicFrameMkLst>
            <pc:docMk/>
            <pc:sldMk cId="2156854375" sldId="392"/>
            <ac:graphicFrameMk id="45" creationId="{409E033A-26D2-BCBD-8836-B7C9C9AA11D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25.890" v="22368"/>
          <ac:graphicFrameMkLst>
            <pc:docMk/>
            <pc:sldMk cId="2156854375" sldId="392"/>
            <ac:graphicFrameMk id="46" creationId="{9A392BED-70EE-E26D-8A90-F74E28D4EF1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33.577" v="22399"/>
          <ac:graphicFrameMkLst>
            <pc:docMk/>
            <pc:sldMk cId="2156854375" sldId="392"/>
            <ac:graphicFrameMk id="47" creationId="{900096B1-5C98-1F2F-B58C-8382CB23257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39.722" v="22429"/>
          <ac:graphicFrameMkLst>
            <pc:docMk/>
            <pc:sldMk cId="2156854375" sldId="392"/>
            <ac:graphicFrameMk id="48" creationId="{89D65BF6-F87D-0210-D7A3-81A84AF5615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40.896" v="22455"/>
          <ac:graphicFrameMkLst>
            <pc:docMk/>
            <pc:sldMk cId="2156854375" sldId="392"/>
            <ac:graphicFrameMk id="49" creationId="{C999B4B7-CCBF-DAC9-738E-3D68A0195E6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39:42.666" v="22481"/>
          <ac:graphicFrameMkLst>
            <pc:docMk/>
            <pc:sldMk cId="2156854375" sldId="392"/>
            <ac:graphicFrameMk id="50" creationId="{E32BFB48-D206-73E5-3E69-C876A012F5D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0:39.490" v="22729"/>
          <ac:graphicFrameMkLst>
            <pc:docMk/>
            <pc:sldMk cId="2156854375" sldId="392"/>
            <ac:graphicFrameMk id="51" creationId="{D9A7112F-DFB1-A63F-3D2A-0994B8BD49D0}"/>
          </ac:graphicFrameMkLst>
        </pc:graphicFrameChg>
        <pc:graphicFrameChg chg="add del mod ord replST delST">
          <ac:chgData name="Tan, Roger" userId="f6f33758-bd69-4951-8148-181de3b92474" providerId="ADAL" clId="{A436842E-EA5C-4A6D-B51D-DDAE8BC6E9BD}" dt="2023-11-06T20:40:35.145" v="22685"/>
          <ac:graphicFrameMkLst>
            <pc:docMk/>
            <pc:sldMk cId="2156854375" sldId="392"/>
            <ac:graphicFrameMk id="52" creationId="{9DD3696E-02EA-DA06-069D-E456A3CA99A7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6T20:40:34.683" v="22671"/>
          <ac:graphicFrameMkLst>
            <pc:docMk/>
            <pc:sldMk cId="2156854375" sldId="392"/>
            <ac:graphicFrameMk id="53" creationId="{DD1E2D86-914C-5F47-CE76-D1F3CA24A09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14.102" v="25578"/>
          <ac:graphicFrameMkLst>
            <pc:docMk/>
            <pc:sldMk cId="2156854375" sldId="392"/>
            <ac:graphicFrameMk id="55" creationId="{0FCDEB42-82F4-0D4B-F485-DBE581AA5B7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18.387" v="25600"/>
          <ac:graphicFrameMkLst>
            <pc:docMk/>
            <pc:sldMk cId="2156854375" sldId="392"/>
            <ac:graphicFrameMk id="56" creationId="{6C1151F5-5405-A96B-F7D5-4C5B7C083B11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6T20:44:18.404" v="25608"/>
          <ac:graphicFrameMkLst>
            <pc:docMk/>
            <pc:sldMk cId="2156854375" sldId="392"/>
            <ac:graphicFrameMk id="57" creationId="{CC10C2D6-4A34-3501-8D91-E0002A844312}"/>
          </ac:graphicFrameMkLst>
        </pc:graphicFrameChg>
      </pc:sldChg>
      <pc:sldChg chg="addSp delSp modSp add mod ord">
        <pc:chgData name="Tan, Roger" userId="f6f33758-bd69-4951-8148-181de3b92474" providerId="ADAL" clId="{A436842E-EA5C-4A6D-B51D-DDAE8BC6E9BD}" dt="2023-11-07T19:20:43.882" v="75702" actId="20577"/>
        <pc:sldMkLst>
          <pc:docMk/>
          <pc:sldMk cId="425422822" sldId="393"/>
        </pc:sldMkLst>
        <pc:spChg chg="add mod">
          <ac:chgData name="Tan, Roger" userId="f6f33758-bd69-4951-8148-181de3b92474" providerId="ADAL" clId="{A436842E-EA5C-4A6D-B51D-DDAE8BC6E9BD}" dt="2023-11-07T17:10:48.735" v="73457"/>
          <ac:spMkLst>
            <pc:docMk/>
            <pc:sldMk cId="425422822" sldId="393"/>
            <ac:spMk id="2" creationId="{4A6DA5AA-60C2-F3FF-5C33-0DCE8903522C}"/>
          </ac:spMkLst>
        </pc:spChg>
        <pc:spChg chg="del mod ord">
          <ac:chgData name="Tan, Roger" userId="f6f33758-bd69-4951-8148-181de3b92474" providerId="ADAL" clId="{A436842E-EA5C-4A6D-B51D-DDAE8BC6E9BD}" dt="2023-11-06T20:45:36.695" v="27285" actId="478"/>
          <ac:spMkLst>
            <pc:docMk/>
            <pc:sldMk cId="425422822" sldId="393"/>
            <ac:spMk id="2" creationId="{5E3DE094-EAE6-C5A8-BAE0-2029ACB647BC}"/>
          </ac:spMkLst>
        </pc:spChg>
        <pc:spChg chg="add del mod modVis">
          <ac:chgData name="Tan, Roger" userId="f6f33758-bd69-4951-8148-181de3b92474" providerId="ADAL" clId="{A436842E-EA5C-4A6D-B51D-DDAE8BC6E9BD}" dt="2023-11-06T20:41:56.432" v="22941"/>
          <ac:spMkLst>
            <pc:docMk/>
            <pc:sldMk cId="425422822" sldId="393"/>
            <ac:spMk id="3" creationId="{790B9FDC-B858-6822-18F7-FDC8D4BFAC62}"/>
          </ac:spMkLst>
        </pc:spChg>
        <pc:spChg chg="add mod replST">
          <ac:chgData name="Tan, Roger" userId="f6f33758-bd69-4951-8148-181de3b92474" providerId="ADAL" clId="{A436842E-EA5C-4A6D-B51D-DDAE8BC6E9BD}" dt="2023-11-07T08:47:44.616" v="72215"/>
          <ac:spMkLst>
            <pc:docMk/>
            <pc:sldMk cId="425422822" sldId="393"/>
            <ac:spMk id="3" creationId="{F374ACBD-0572-3FDE-4699-40F60C0314C5}"/>
          </ac:spMkLst>
        </pc:spChg>
        <pc:spChg chg="add mod replST">
          <ac:chgData name="Tan, Roger" userId="f6f33758-bd69-4951-8148-181de3b92474" providerId="ADAL" clId="{A436842E-EA5C-4A6D-B51D-DDAE8BC6E9BD}" dt="2023-11-07T08:47:44.617" v="72216"/>
          <ac:spMkLst>
            <pc:docMk/>
            <pc:sldMk cId="425422822" sldId="393"/>
            <ac:spMk id="4" creationId="{D384D5E8-6A39-8050-F562-5A1AFEE8380B}"/>
          </ac:spMkLst>
        </pc:spChg>
        <pc:spChg chg="add del mod replST">
          <ac:chgData name="Tan, Roger" userId="f6f33758-bd69-4951-8148-181de3b92474" providerId="ADAL" clId="{A436842E-EA5C-4A6D-B51D-DDAE8BC6E9BD}" dt="2023-11-06T20:42:17.429" v="23937"/>
          <ac:spMkLst>
            <pc:docMk/>
            <pc:sldMk cId="425422822" sldId="393"/>
            <ac:spMk id="5" creationId="{AA5AFE0D-A369-6A18-E9BE-4E1BFC764457}"/>
          </ac:spMkLst>
        </pc:spChg>
        <pc:spChg chg="add mod replST">
          <ac:chgData name="Tan, Roger" userId="f6f33758-bd69-4951-8148-181de3b92474" providerId="ADAL" clId="{A436842E-EA5C-4A6D-B51D-DDAE8BC6E9BD}" dt="2023-11-07T08:47:44.617" v="72217"/>
          <ac:spMkLst>
            <pc:docMk/>
            <pc:sldMk cId="425422822" sldId="393"/>
            <ac:spMk id="5" creationId="{AC93CB86-B8A5-2AFD-AA55-29A29CFF9B1B}"/>
          </ac:spMkLst>
        </pc:spChg>
        <pc:spChg chg="add del mod modVis">
          <ac:chgData name="Tan, Roger" userId="f6f33758-bd69-4951-8148-181de3b92474" providerId="ADAL" clId="{A436842E-EA5C-4A6D-B51D-DDAE8BC6E9BD}" dt="2023-11-06T20:42:17.419" v="23934"/>
          <ac:spMkLst>
            <pc:docMk/>
            <pc:sldMk cId="425422822" sldId="393"/>
            <ac:spMk id="6" creationId="{8DC4C4BA-7905-1405-E877-CCFEC8C618D2}"/>
          </ac:spMkLst>
        </pc:spChg>
        <pc:spChg chg="add mod replST">
          <ac:chgData name="Tan, Roger" userId="f6f33758-bd69-4951-8148-181de3b92474" providerId="ADAL" clId="{A436842E-EA5C-4A6D-B51D-DDAE8BC6E9BD}" dt="2023-11-07T08:47:44.618" v="72218"/>
          <ac:spMkLst>
            <pc:docMk/>
            <pc:sldMk cId="425422822" sldId="393"/>
            <ac:spMk id="6" creationId="{CFC1E8B0-02BF-5A85-23B2-31E8FBE9ABD8}"/>
          </ac:spMkLst>
        </pc:spChg>
        <pc:spChg chg="add del mod ord replST">
          <ac:chgData name="Tan, Roger" userId="f6f33758-bd69-4951-8148-181de3b92474" providerId="ADAL" clId="{A436842E-EA5C-4A6D-B51D-DDAE8BC6E9BD}" dt="2023-11-06T20:43:22.389" v="24751"/>
          <ac:spMkLst>
            <pc:docMk/>
            <pc:sldMk cId="425422822" sldId="393"/>
            <ac:spMk id="7" creationId="{63A7760D-919C-6B75-539E-4EC5A2F5B814}"/>
          </ac:spMkLst>
        </pc:spChg>
        <pc:spChg chg="add mod replST">
          <ac:chgData name="Tan, Roger" userId="f6f33758-bd69-4951-8148-181de3b92474" providerId="ADAL" clId="{A436842E-EA5C-4A6D-B51D-DDAE8BC6E9BD}" dt="2023-11-07T08:47:44.618" v="72219"/>
          <ac:spMkLst>
            <pc:docMk/>
            <pc:sldMk cId="425422822" sldId="393"/>
            <ac:spMk id="7" creationId="{783BF5C5-DB97-91A6-F151-392796E36977}"/>
          </ac:spMkLst>
        </pc:spChg>
        <pc:spChg chg="add del mod replST">
          <ac:chgData name="Tan, Roger" userId="f6f33758-bd69-4951-8148-181de3b92474" providerId="ADAL" clId="{A436842E-EA5C-4A6D-B51D-DDAE8BC6E9BD}" dt="2023-11-07T08:37:25.730" v="63188"/>
          <ac:spMkLst>
            <pc:docMk/>
            <pc:sldMk cId="425422822" sldId="393"/>
            <ac:spMk id="8" creationId="{003E48A7-460A-81CE-DAF3-CDD79294E8EC}"/>
          </ac:spMkLst>
        </pc:spChg>
        <pc:spChg chg="add del mod ord replST">
          <ac:chgData name="Tan, Roger" userId="f6f33758-bd69-4951-8148-181de3b92474" providerId="ADAL" clId="{A436842E-EA5C-4A6D-B51D-DDAE8BC6E9BD}" dt="2023-11-06T20:43:22.390" v="24753"/>
          <ac:spMkLst>
            <pc:docMk/>
            <pc:sldMk cId="425422822" sldId="393"/>
            <ac:spMk id="8" creationId="{871924B4-7AC6-FF57-5D5A-4758DBD86B5A}"/>
          </ac:spMkLst>
        </pc:spChg>
        <pc:spChg chg="add mod">
          <ac:chgData name="Tan, Roger" userId="f6f33758-bd69-4951-8148-181de3b92474" providerId="ADAL" clId="{A436842E-EA5C-4A6D-B51D-DDAE8BC6E9BD}" dt="2023-11-07T19:20:43.882" v="75702" actId="20577"/>
          <ac:spMkLst>
            <pc:docMk/>
            <pc:sldMk cId="425422822" sldId="393"/>
            <ac:spMk id="8" creationId="{8A147557-6FFF-4491-6388-E1353D02140A}"/>
          </ac:spMkLst>
        </pc:spChg>
        <pc:spChg chg="add mod replST">
          <ac:chgData name="Tan, Roger" userId="f6f33758-bd69-4951-8148-181de3b92474" providerId="ADAL" clId="{A436842E-EA5C-4A6D-B51D-DDAE8BC6E9BD}" dt="2023-11-07T08:47:44.618" v="72220"/>
          <ac:spMkLst>
            <pc:docMk/>
            <pc:sldMk cId="425422822" sldId="393"/>
            <ac:spMk id="9" creationId="{5ADDACF3-5CFF-7125-1E7F-981BF97913B5}"/>
          </ac:spMkLst>
        </pc:spChg>
        <pc:spChg chg="add del mod replST">
          <ac:chgData name="Tan, Roger" userId="f6f33758-bd69-4951-8148-181de3b92474" providerId="ADAL" clId="{A436842E-EA5C-4A6D-B51D-DDAE8BC6E9BD}" dt="2023-11-06T20:43:22.386" v="24746"/>
          <ac:spMkLst>
            <pc:docMk/>
            <pc:sldMk cId="425422822" sldId="393"/>
            <ac:spMk id="9" creationId="{872CD341-2810-EC43-8A7F-28E767E1943C}"/>
          </ac:spMkLst>
        </pc:spChg>
        <pc:spChg chg="add del mod ord replST">
          <ac:chgData name="Tan, Roger" userId="f6f33758-bd69-4951-8148-181de3b92474" providerId="ADAL" clId="{A436842E-EA5C-4A6D-B51D-DDAE8BC6E9BD}" dt="2023-11-06T20:43:22.391" v="24755"/>
          <ac:spMkLst>
            <pc:docMk/>
            <pc:sldMk cId="425422822" sldId="393"/>
            <ac:spMk id="10" creationId="{1A03A7E2-2762-E27D-A6F2-2FD609B6B1E8}"/>
          </ac:spMkLst>
        </pc:spChg>
        <pc:spChg chg="add mod replST">
          <ac:chgData name="Tan, Roger" userId="f6f33758-bd69-4951-8148-181de3b92474" providerId="ADAL" clId="{A436842E-EA5C-4A6D-B51D-DDAE8BC6E9BD}" dt="2023-11-07T08:47:44.619" v="72221"/>
          <ac:spMkLst>
            <pc:docMk/>
            <pc:sldMk cId="425422822" sldId="393"/>
            <ac:spMk id="10" creationId="{E8842412-73A3-99CB-C2C4-2E801D3B0383}"/>
          </ac:spMkLst>
        </pc:spChg>
        <pc:spChg chg="add del mod replST">
          <ac:chgData name="Tan, Roger" userId="f6f33758-bd69-4951-8148-181de3b92474" providerId="ADAL" clId="{A436842E-EA5C-4A6D-B51D-DDAE8BC6E9BD}" dt="2023-11-07T08:37:25.731" v="63190"/>
          <ac:spMkLst>
            <pc:docMk/>
            <pc:sldMk cId="425422822" sldId="393"/>
            <ac:spMk id="11" creationId="{AB7A8CC7-F54A-9870-3F6E-E06EF973E628}"/>
          </ac:spMkLst>
        </pc:spChg>
        <pc:spChg chg="add del mod ord replST">
          <ac:chgData name="Tan, Roger" userId="f6f33758-bd69-4951-8148-181de3b92474" providerId="ADAL" clId="{A436842E-EA5C-4A6D-B51D-DDAE8BC6E9BD}" dt="2023-11-06T20:43:22.391" v="24757"/>
          <ac:spMkLst>
            <pc:docMk/>
            <pc:sldMk cId="425422822" sldId="393"/>
            <ac:spMk id="11" creationId="{F1236098-A8A5-B7D0-185E-FE4A1B27706A}"/>
          </ac:spMkLst>
        </pc:spChg>
        <pc:spChg chg="add del mod replST">
          <ac:chgData name="Tan, Roger" userId="f6f33758-bd69-4951-8148-181de3b92474" providerId="ADAL" clId="{A436842E-EA5C-4A6D-B51D-DDAE8BC6E9BD}" dt="2023-11-06T20:43:22.387" v="24747"/>
          <ac:spMkLst>
            <pc:docMk/>
            <pc:sldMk cId="425422822" sldId="393"/>
            <ac:spMk id="12" creationId="{C0465123-30AF-AA76-7410-712D15082BB7}"/>
          </ac:spMkLst>
        </pc:spChg>
        <pc:spChg chg="add mod replST">
          <ac:chgData name="Tan, Roger" userId="f6f33758-bd69-4951-8148-181de3b92474" providerId="ADAL" clId="{A436842E-EA5C-4A6D-B51D-DDAE8BC6E9BD}" dt="2023-11-07T08:47:44.619" v="72222"/>
          <ac:spMkLst>
            <pc:docMk/>
            <pc:sldMk cId="425422822" sldId="393"/>
            <ac:spMk id="12" creationId="{C2556A3C-11AF-31A3-08B0-4F65018096E5}"/>
          </ac:spMkLst>
        </pc:spChg>
        <pc:spChg chg="add del mod ord replST">
          <ac:chgData name="Tan, Roger" userId="f6f33758-bd69-4951-8148-181de3b92474" providerId="ADAL" clId="{A436842E-EA5C-4A6D-B51D-DDAE8BC6E9BD}" dt="2023-11-06T20:43:22.392" v="24759"/>
          <ac:spMkLst>
            <pc:docMk/>
            <pc:sldMk cId="425422822" sldId="393"/>
            <ac:spMk id="13" creationId="{C9B6E1AB-D853-5A50-A736-AB33CA91AB40}"/>
          </ac:spMkLst>
        </pc:spChg>
        <pc:spChg chg="add del mod replST">
          <ac:chgData name="Tan, Roger" userId="f6f33758-bd69-4951-8148-181de3b92474" providerId="ADAL" clId="{A436842E-EA5C-4A6D-B51D-DDAE8BC6E9BD}" dt="2023-11-07T08:37:25.731" v="63191"/>
          <ac:spMkLst>
            <pc:docMk/>
            <pc:sldMk cId="425422822" sldId="393"/>
            <ac:spMk id="13" creationId="{E2299A63-CFBE-7A0A-0553-1ED7AD25DA3B}"/>
          </ac:spMkLst>
        </pc:spChg>
        <pc:spChg chg="add del mod ord replST">
          <ac:chgData name="Tan, Roger" userId="f6f33758-bd69-4951-8148-181de3b92474" providerId="ADAL" clId="{A436842E-EA5C-4A6D-B51D-DDAE8BC6E9BD}" dt="2023-11-06T20:43:22.392" v="24761"/>
          <ac:spMkLst>
            <pc:docMk/>
            <pc:sldMk cId="425422822" sldId="393"/>
            <ac:spMk id="14" creationId="{87053EA8-7A6B-6892-CE19-995DD8BA7AF4}"/>
          </ac:spMkLst>
        </pc:spChg>
        <pc:spChg chg="add mod replST">
          <ac:chgData name="Tan, Roger" userId="f6f33758-bd69-4951-8148-181de3b92474" providerId="ADAL" clId="{A436842E-EA5C-4A6D-B51D-DDAE8BC6E9BD}" dt="2023-11-07T08:47:44.620" v="72223"/>
          <ac:spMkLst>
            <pc:docMk/>
            <pc:sldMk cId="425422822" sldId="393"/>
            <ac:spMk id="14" creationId="{8ED9C437-85A6-115C-B99C-3F9CD34D4DF1}"/>
          </ac:spMkLst>
        </pc:spChg>
        <pc:spChg chg="add del mod replST">
          <ac:chgData name="Tan, Roger" userId="f6f33758-bd69-4951-8148-181de3b92474" providerId="ADAL" clId="{A436842E-EA5C-4A6D-B51D-DDAE8BC6E9BD}" dt="2023-11-06T20:43:22.387" v="24748"/>
          <ac:spMkLst>
            <pc:docMk/>
            <pc:sldMk cId="425422822" sldId="393"/>
            <ac:spMk id="15" creationId="{0614F25A-2AF2-6035-B6C0-04431B49D224}"/>
          </ac:spMkLst>
        </pc:spChg>
        <pc:spChg chg="add del mod replST">
          <ac:chgData name="Tan, Roger" userId="f6f33758-bd69-4951-8148-181de3b92474" providerId="ADAL" clId="{A436842E-EA5C-4A6D-B51D-DDAE8BC6E9BD}" dt="2023-11-07T08:37:25.731" v="63189"/>
          <ac:spMkLst>
            <pc:docMk/>
            <pc:sldMk cId="425422822" sldId="393"/>
            <ac:spMk id="15" creationId="{A86487F1-EF44-83F5-AFEE-17E4C150DF03}"/>
          </ac:spMkLst>
        </pc:spChg>
        <pc:spChg chg="add del mod ord replST">
          <ac:chgData name="Tan, Roger" userId="f6f33758-bd69-4951-8148-181de3b92474" providerId="ADAL" clId="{A436842E-EA5C-4A6D-B51D-DDAE8BC6E9BD}" dt="2023-11-06T20:43:22.393" v="24763"/>
          <ac:spMkLst>
            <pc:docMk/>
            <pc:sldMk cId="425422822" sldId="393"/>
            <ac:spMk id="17" creationId="{30D8D4C5-DC7C-4C58-62C9-2DE7106B1DB6}"/>
          </ac:spMkLst>
        </pc:spChg>
        <pc:spChg chg="add del mod replST">
          <ac:chgData name="Tan, Roger" userId="f6f33758-bd69-4951-8148-181de3b92474" providerId="ADAL" clId="{A436842E-EA5C-4A6D-B51D-DDAE8BC6E9BD}" dt="2023-11-07T08:45:14.416" v="69673"/>
          <ac:spMkLst>
            <pc:docMk/>
            <pc:sldMk cId="425422822" sldId="393"/>
            <ac:spMk id="17" creationId="{7B794DAC-A0AE-D874-96D3-AC185FFBF6D2}"/>
          </ac:spMkLst>
        </pc:spChg>
        <pc:spChg chg="add del mod ord replST">
          <ac:chgData name="Tan, Roger" userId="f6f33758-bd69-4951-8148-181de3b92474" providerId="ADAL" clId="{A436842E-EA5C-4A6D-B51D-DDAE8BC6E9BD}" dt="2023-11-06T20:43:22.394" v="24765"/>
          <ac:spMkLst>
            <pc:docMk/>
            <pc:sldMk cId="425422822" sldId="393"/>
            <ac:spMk id="18" creationId="{5FA64DA7-FB7D-BFB2-86E1-F186B83299D2}"/>
          </ac:spMkLst>
        </pc:spChg>
        <pc:spChg chg="add del mod ord replST">
          <ac:chgData name="Tan, Roger" userId="f6f33758-bd69-4951-8148-181de3b92474" providerId="ADAL" clId="{A436842E-EA5C-4A6D-B51D-DDAE8BC6E9BD}" dt="2023-11-07T08:37:25.729" v="63186"/>
          <ac:spMkLst>
            <pc:docMk/>
            <pc:sldMk cId="425422822" sldId="393"/>
            <ac:spMk id="18" creationId="{9E14941C-AE74-CFED-5035-899D3E868299}"/>
          </ac:spMkLst>
        </pc:spChg>
        <pc:spChg chg="add del mod ord replST">
          <ac:chgData name="Tan, Roger" userId="f6f33758-bd69-4951-8148-181de3b92474" providerId="ADAL" clId="{A436842E-EA5C-4A6D-B51D-DDAE8BC6E9BD}" dt="2023-11-07T08:43:15.725" v="68586"/>
          <ac:spMkLst>
            <pc:docMk/>
            <pc:sldMk cId="425422822" sldId="393"/>
            <ac:spMk id="19" creationId="{264E9354-EEC6-3472-B5D3-DEA1B5E948F7}"/>
          </ac:spMkLst>
        </pc:spChg>
        <pc:spChg chg="add del mod replST">
          <ac:chgData name="Tan, Roger" userId="f6f33758-bd69-4951-8148-181de3b92474" providerId="ADAL" clId="{A436842E-EA5C-4A6D-B51D-DDAE8BC6E9BD}" dt="2023-11-06T20:43:22.388" v="24749"/>
          <ac:spMkLst>
            <pc:docMk/>
            <pc:sldMk cId="425422822" sldId="393"/>
            <ac:spMk id="19" creationId="{7503AC1B-85C1-EEE6-E3BF-CD84D76A78CE}"/>
          </ac:spMkLst>
        </pc:spChg>
        <pc:spChg chg="add del mod replST">
          <ac:chgData name="Tan, Roger" userId="f6f33758-bd69-4951-8148-181de3b92474" providerId="ADAL" clId="{A436842E-EA5C-4A6D-B51D-DDAE8BC6E9BD}" dt="2023-11-07T08:37:25.730" v="63187"/>
          <ac:spMkLst>
            <pc:docMk/>
            <pc:sldMk cId="425422822" sldId="393"/>
            <ac:spMk id="20" creationId="{7321C6E7-D1A0-2D3F-93E9-CFDF80EE0AC9}"/>
          </ac:spMkLst>
        </pc:spChg>
        <pc:spChg chg="add del mod replST">
          <ac:chgData name="Tan, Roger" userId="f6f33758-bd69-4951-8148-181de3b92474" providerId="ADAL" clId="{A436842E-EA5C-4A6D-B51D-DDAE8BC6E9BD}" dt="2023-11-06T20:43:20.630" v="24610"/>
          <ac:spMkLst>
            <pc:docMk/>
            <pc:sldMk cId="425422822" sldId="393"/>
            <ac:spMk id="20" creationId="{ABD49562-FDAD-0C3B-F42B-426491AB6D6A}"/>
          </ac:spMkLst>
        </pc:spChg>
        <pc:spChg chg="add del mod replST">
          <ac:chgData name="Tan, Roger" userId="f6f33758-bd69-4951-8148-181de3b92474" providerId="ADAL" clId="{A436842E-EA5C-4A6D-B51D-DDAE8BC6E9BD}" dt="2023-11-07T08:43:15.725" v="68587"/>
          <ac:spMkLst>
            <pc:docMk/>
            <pc:sldMk cId="425422822" sldId="393"/>
            <ac:spMk id="21" creationId="{7F1F1B08-BCDB-6393-9761-6AF52113CA9E}"/>
          </ac:spMkLst>
        </pc:spChg>
        <pc:spChg chg="add del mod modVis">
          <ac:chgData name="Tan, Roger" userId="f6f33758-bd69-4951-8148-181de3b92474" providerId="ADAL" clId="{A436842E-EA5C-4A6D-B51D-DDAE8BC6E9BD}" dt="2023-11-07T08:37:16.242" v="63181"/>
          <ac:spMkLst>
            <pc:docMk/>
            <pc:sldMk cId="425422822" sldId="393"/>
            <ac:spMk id="22" creationId="{8A48990F-3E3C-FFA4-D5A9-851BE13BA56A}"/>
          </ac:spMkLst>
        </pc:spChg>
        <pc:spChg chg="add del mod modVis">
          <ac:chgData name="Tan, Roger" userId="f6f33758-bd69-4951-8148-181de3b92474" providerId="ADAL" clId="{A436842E-EA5C-4A6D-B51D-DDAE8BC6E9BD}" dt="2023-11-06T20:42:17.517" v="24063"/>
          <ac:spMkLst>
            <pc:docMk/>
            <pc:sldMk cId="425422822" sldId="393"/>
            <ac:spMk id="22" creationId="{DDC85D63-BB2D-233A-2919-FE2B5CF8A3ED}"/>
          </ac:spMkLst>
        </pc:spChg>
        <pc:spChg chg="add del mod modVis">
          <ac:chgData name="Tan, Roger" userId="f6f33758-bd69-4951-8148-181de3b92474" providerId="ADAL" clId="{A436842E-EA5C-4A6D-B51D-DDAE8BC6E9BD}" dt="2023-11-06T20:42:39.707" v="24191"/>
          <ac:spMkLst>
            <pc:docMk/>
            <pc:sldMk cId="425422822" sldId="393"/>
            <ac:spMk id="24" creationId="{4E18B5F9-63AD-262C-2B7C-F174C992E83E}"/>
          </ac:spMkLst>
        </pc:spChg>
        <pc:spChg chg="add del mod modVis">
          <ac:chgData name="Tan, Roger" userId="f6f33758-bd69-4951-8148-181de3b92474" providerId="ADAL" clId="{A436842E-EA5C-4A6D-B51D-DDAE8BC6E9BD}" dt="2023-11-07T08:37:25.904" v="63335"/>
          <ac:spMkLst>
            <pc:docMk/>
            <pc:sldMk cId="425422822" sldId="393"/>
            <ac:spMk id="24" creationId="{7610B9DB-6B8F-4047-97AB-94D82E5A61CF}"/>
          </ac:spMkLst>
        </pc:spChg>
        <pc:spChg chg="add del mod modVis">
          <ac:chgData name="Tan, Roger" userId="f6f33758-bd69-4951-8148-181de3b92474" providerId="ADAL" clId="{A436842E-EA5C-4A6D-B51D-DDAE8BC6E9BD}" dt="2023-11-06T20:42:52.318" v="24319"/>
          <ac:spMkLst>
            <pc:docMk/>
            <pc:sldMk cId="425422822" sldId="393"/>
            <ac:spMk id="26" creationId="{0C9FF506-3397-3581-538D-FEDFE5A272A8}"/>
          </ac:spMkLst>
        </pc:spChg>
        <pc:spChg chg="add del mod modVis">
          <ac:chgData name="Tan, Roger" userId="f6f33758-bd69-4951-8148-181de3b92474" providerId="ADAL" clId="{A436842E-EA5C-4A6D-B51D-DDAE8BC6E9BD}" dt="2023-11-07T08:37:33.822" v="63532"/>
          <ac:spMkLst>
            <pc:docMk/>
            <pc:sldMk cId="425422822" sldId="393"/>
            <ac:spMk id="26" creationId="{1F20085F-8385-0D3A-F6FA-BC92D71BDB28}"/>
          </ac:spMkLst>
        </pc:spChg>
        <pc:spChg chg="mod">
          <ac:chgData name="Tan, Roger" userId="f6f33758-bd69-4951-8148-181de3b92474" providerId="ADAL" clId="{A436842E-EA5C-4A6D-B51D-DDAE8BC6E9BD}" dt="2023-11-07T08:47:44.613" v="72203"/>
          <ac:spMkLst>
            <pc:docMk/>
            <pc:sldMk cId="425422822" sldId="393"/>
            <ac:spMk id="28" creationId="{60923BF9-51E5-CBB4-DC09-A2285E468C34}"/>
          </ac:spMkLst>
        </pc:spChg>
        <pc:spChg chg="add del mod modVis">
          <ac:chgData name="Tan, Roger" userId="f6f33758-bd69-4951-8148-181de3b92474" providerId="ADAL" clId="{A436842E-EA5C-4A6D-B51D-DDAE8BC6E9BD}" dt="2023-11-06T20:43:03.887" v="24447"/>
          <ac:spMkLst>
            <pc:docMk/>
            <pc:sldMk cId="425422822" sldId="393"/>
            <ac:spMk id="29" creationId="{19AC6D38-B1FF-2EB3-C3A6-988471AF403E}"/>
          </ac:spMkLst>
        </pc:spChg>
        <pc:spChg chg="add del mod modVis">
          <ac:chgData name="Tan, Roger" userId="f6f33758-bd69-4951-8148-181de3b92474" providerId="ADAL" clId="{A436842E-EA5C-4A6D-B51D-DDAE8BC6E9BD}" dt="2023-11-07T08:37:37.871" v="63636"/>
          <ac:spMkLst>
            <pc:docMk/>
            <pc:sldMk cId="425422822" sldId="393"/>
            <ac:spMk id="29" creationId="{D29AD6AD-2A1E-138E-D49D-DB1896717C25}"/>
          </ac:spMkLst>
        </pc:spChg>
        <pc:spChg chg="mod">
          <ac:chgData name="Tan, Roger" userId="f6f33758-bd69-4951-8148-181de3b92474" providerId="ADAL" clId="{A436842E-EA5C-4A6D-B51D-DDAE8BC6E9BD}" dt="2023-11-07T08:47:44.613" v="72204"/>
          <ac:spMkLst>
            <pc:docMk/>
            <pc:sldMk cId="425422822" sldId="393"/>
            <ac:spMk id="31" creationId="{92A94E77-7A30-3C04-609D-BDCD0776E05F}"/>
          </ac:spMkLst>
        </pc:spChg>
        <pc:spChg chg="add del mod modVis">
          <ac:chgData name="Tan, Roger" userId="f6f33758-bd69-4951-8148-181de3b92474" providerId="ADAL" clId="{A436842E-EA5C-4A6D-B51D-DDAE8BC6E9BD}" dt="2023-11-06T20:43:11.545" v="24575"/>
          <ac:spMkLst>
            <pc:docMk/>
            <pc:sldMk cId="425422822" sldId="393"/>
            <ac:spMk id="32" creationId="{498D0EAF-F0A5-416D-4054-792B0DDAE422}"/>
          </ac:spMkLst>
        </pc:spChg>
        <pc:spChg chg="add del mod modVis">
          <ac:chgData name="Tan, Roger" userId="f6f33758-bd69-4951-8148-181de3b92474" providerId="ADAL" clId="{A436842E-EA5C-4A6D-B51D-DDAE8BC6E9BD}" dt="2023-11-07T08:37:41.392" v="63770"/>
          <ac:spMkLst>
            <pc:docMk/>
            <pc:sldMk cId="425422822" sldId="393"/>
            <ac:spMk id="32" creationId="{75CC7EE5-2D54-A879-0CA5-ED28C80E576C}"/>
          </ac:spMkLst>
        </pc:spChg>
        <pc:spChg chg="mod">
          <ac:chgData name="Tan, Roger" userId="f6f33758-bd69-4951-8148-181de3b92474" providerId="ADAL" clId="{A436842E-EA5C-4A6D-B51D-DDAE8BC6E9BD}" dt="2023-11-07T08:47:44.614" v="72206"/>
          <ac:spMkLst>
            <pc:docMk/>
            <pc:sldMk cId="425422822" sldId="393"/>
            <ac:spMk id="34" creationId="{26E6F0B1-EAB3-E15E-AC9C-D91DC72764D5}"/>
          </ac:spMkLst>
        </pc:spChg>
        <pc:spChg chg="add del mod modVis">
          <ac:chgData name="Tan, Roger" userId="f6f33758-bd69-4951-8148-181de3b92474" providerId="ADAL" clId="{A436842E-EA5C-4A6D-B51D-DDAE8BC6E9BD}" dt="2023-11-07T08:37:42.984" v="63904"/>
          <ac:spMkLst>
            <pc:docMk/>
            <pc:sldMk cId="425422822" sldId="393"/>
            <ac:spMk id="35" creationId="{5CF7729D-AC68-5B80-4635-C0C8B2BDFD70}"/>
          </ac:spMkLst>
        </pc:spChg>
        <pc:spChg chg="add del mod modVis">
          <ac:chgData name="Tan, Roger" userId="f6f33758-bd69-4951-8148-181de3b92474" providerId="ADAL" clId="{A436842E-EA5C-4A6D-B51D-DDAE8BC6E9BD}" dt="2023-11-06T20:43:20.737" v="24743"/>
          <ac:spMkLst>
            <pc:docMk/>
            <pc:sldMk cId="425422822" sldId="393"/>
            <ac:spMk id="35" creationId="{CDCC0E5D-55E7-E850-2C91-B76B4DC100FC}"/>
          </ac:spMkLst>
        </pc:spChg>
        <pc:spChg chg="add del mod modVis">
          <ac:chgData name="Tan, Roger" userId="f6f33758-bd69-4951-8148-181de3b92474" providerId="ADAL" clId="{A436842E-EA5C-4A6D-B51D-DDAE8BC6E9BD}" dt="2023-11-07T08:37:44.226" v="64038"/>
          <ac:spMkLst>
            <pc:docMk/>
            <pc:sldMk cId="425422822" sldId="393"/>
            <ac:spMk id="37" creationId="{72D12B43-6368-A6CD-5309-8144F4C10CCE}"/>
          </ac:spMkLst>
        </pc:spChg>
        <pc:spChg chg="del">
          <ac:chgData name="Tan, Roger" userId="f6f33758-bd69-4951-8148-181de3b92474" providerId="ADAL" clId="{A436842E-EA5C-4A6D-B51D-DDAE8BC6E9BD}" dt="2023-11-06T20:41:56.091" v="22779"/>
          <ac:spMkLst>
            <pc:docMk/>
            <pc:sldMk cId="425422822" sldId="393"/>
            <ac:spMk id="37" creationId="{EBAD2C7F-073F-15F2-974B-902606AAC996}"/>
          </ac:spMkLst>
        </pc:spChg>
        <pc:spChg chg="add del mod modVis">
          <ac:chgData name="Tan, Roger" userId="f6f33758-bd69-4951-8148-181de3b92474" providerId="ADAL" clId="{A436842E-EA5C-4A6D-B51D-DDAE8BC6E9BD}" dt="2023-11-06T20:43:22.494" v="24875"/>
          <ac:spMkLst>
            <pc:docMk/>
            <pc:sldMk cId="425422822" sldId="393"/>
            <ac:spMk id="38" creationId="{69580B99-0937-575E-B106-B547054B9F45}"/>
          </ac:spMkLst>
        </pc:spChg>
        <pc:spChg chg="add del mod modVis">
          <ac:chgData name="Tan, Roger" userId="f6f33758-bd69-4951-8148-181de3b92474" providerId="ADAL" clId="{A436842E-EA5C-4A6D-B51D-DDAE8BC6E9BD}" dt="2023-11-07T08:38:47.971" v="64253"/>
          <ac:spMkLst>
            <pc:docMk/>
            <pc:sldMk cId="425422822" sldId="393"/>
            <ac:spMk id="39" creationId="{62DCE468-D325-7A09-D1DA-7B759720F339}"/>
          </ac:spMkLst>
        </pc:spChg>
        <pc:spChg chg="add del mod modVis">
          <ac:chgData name="Tan, Roger" userId="f6f33758-bd69-4951-8148-181de3b92474" providerId="ADAL" clId="{A436842E-EA5C-4A6D-B51D-DDAE8BC6E9BD}" dt="2023-11-06T20:43:24.067" v="24965"/>
          <ac:spMkLst>
            <pc:docMk/>
            <pc:sldMk cId="425422822" sldId="393"/>
            <ac:spMk id="40" creationId="{3A0654E4-CA37-36C6-7575-E5F7C5C45A51}"/>
          </ac:spMkLst>
        </pc:spChg>
        <pc:spChg chg="add del mod modVis">
          <ac:chgData name="Tan, Roger" userId="f6f33758-bd69-4951-8148-181de3b92474" providerId="ADAL" clId="{A436842E-EA5C-4A6D-B51D-DDAE8BC6E9BD}" dt="2023-11-07T08:38:56.497" v="64391"/>
          <ac:spMkLst>
            <pc:docMk/>
            <pc:sldMk cId="425422822" sldId="393"/>
            <ac:spMk id="41" creationId="{647ED740-015F-6B9E-4626-3F29623CA312}"/>
          </ac:spMkLst>
        </pc:spChg>
        <pc:spChg chg="add del mod modVis">
          <ac:chgData name="Tan, Roger" userId="f6f33758-bd69-4951-8148-181de3b92474" providerId="ADAL" clId="{A436842E-EA5C-4A6D-B51D-DDAE8BC6E9BD}" dt="2023-11-06T20:43:26.416" v="25067"/>
          <ac:spMkLst>
            <pc:docMk/>
            <pc:sldMk cId="425422822" sldId="393"/>
            <ac:spMk id="42" creationId="{FAE1B570-632C-9482-A94B-CF41AE377438}"/>
          </ac:spMkLst>
        </pc:spChg>
        <pc:spChg chg="add del mod modVis">
          <ac:chgData name="Tan, Roger" userId="f6f33758-bd69-4951-8148-181de3b92474" providerId="ADAL" clId="{A436842E-EA5C-4A6D-B51D-DDAE8BC6E9BD}" dt="2023-11-07T08:39:02.086" v="64565"/>
          <ac:spMkLst>
            <pc:docMk/>
            <pc:sldMk cId="425422822" sldId="393"/>
            <ac:spMk id="43" creationId="{02138C30-0ECD-40E6-7600-1820545D46A0}"/>
          </ac:spMkLst>
        </pc:spChg>
        <pc:spChg chg="add del mod replST">
          <ac:chgData name="Tan, Roger" userId="f6f33758-bd69-4951-8148-181de3b92474" providerId="ADAL" clId="{A436842E-EA5C-4A6D-B51D-DDAE8BC6E9BD}" dt="2023-11-07T08:43:16.926" v="68595"/>
          <ac:spMkLst>
            <pc:docMk/>
            <pc:sldMk cId="425422822" sldId="393"/>
            <ac:spMk id="44" creationId="{2AB5B8CC-4606-156D-13F5-D12835DF992C}"/>
          </ac:spMkLst>
        </pc:spChg>
        <pc:spChg chg="add del mod modVis">
          <ac:chgData name="Tan, Roger" userId="f6f33758-bd69-4951-8148-181de3b92474" providerId="ADAL" clId="{A436842E-EA5C-4A6D-B51D-DDAE8BC6E9BD}" dt="2023-11-06T20:43:33.447" v="25293"/>
          <ac:spMkLst>
            <pc:docMk/>
            <pc:sldMk cId="425422822" sldId="393"/>
            <ac:spMk id="45" creationId="{0D6E81BC-9B19-C6E8-581C-1470D920FEAE}"/>
          </ac:spMkLst>
        </pc:spChg>
        <pc:spChg chg="add del mod replST">
          <ac:chgData name="Tan, Roger" userId="f6f33758-bd69-4951-8148-181de3b92474" providerId="ADAL" clId="{A436842E-EA5C-4A6D-B51D-DDAE8BC6E9BD}" dt="2023-11-07T08:37:33.644" v="63340"/>
          <ac:spMkLst>
            <pc:docMk/>
            <pc:sldMk cId="425422822" sldId="393"/>
            <ac:spMk id="46" creationId="{E78C6173-D81C-996A-33E9-F8344126A34C}"/>
          </ac:spMkLst>
        </pc:spChg>
        <pc:spChg chg="add del mod modVis">
          <ac:chgData name="Tan, Roger" userId="f6f33758-bd69-4951-8148-181de3b92474" providerId="ADAL" clId="{A436842E-EA5C-4A6D-B51D-DDAE8BC6E9BD}" dt="2023-11-07T08:39:08.059" v="64697"/>
          <ac:spMkLst>
            <pc:docMk/>
            <pc:sldMk cId="425422822" sldId="393"/>
            <ac:spMk id="47" creationId="{E4507497-603E-A802-F646-EB32DC1725DE}"/>
          </ac:spMkLst>
        </pc:spChg>
        <pc:spChg chg="add del mod ord replST">
          <ac:chgData name="Tan, Roger" userId="f6f33758-bd69-4951-8148-181de3b92474" providerId="ADAL" clId="{A436842E-EA5C-4A6D-B51D-DDAE8BC6E9BD}" dt="2023-11-07T08:43:16.926" v="68594"/>
          <ac:spMkLst>
            <pc:docMk/>
            <pc:sldMk cId="425422822" sldId="393"/>
            <ac:spMk id="48" creationId="{0714F5EA-591C-E51F-8CC3-18A47E802265}"/>
          </ac:spMkLst>
        </pc:spChg>
        <pc:spChg chg="add del mod ord replST">
          <ac:chgData name="Tan, Roger" userId="f6f33758-bd69-4951-8148-181de3b92474" providerId="ADAL" clId="{A436842E-EA5C-4A6D-B51D-DDAE8BC6E9BD}" dt="2023-11-07T08:37:33.644" v="63339"/>
          <ac:spMkLst>
            <pc:docMk/>
            <pc:sldMk cId="425422822" sldId="393"/>
            <ac:spMk id="49" creationId="{C01ACEF1-FB3C-AA10-72F3-256D9495C614}"/>
          </ac:spMkLst>
        </pc:spChg>
        <pc:spChg chg="add del mod modVis">
          <ac:chgData name="Tan, Roger" userId="f6f33758-bd69-4951-8148-181de3b92474" providerId="ADAL" clId="{A436842E-EA5C-4A6D-B51D-DDAE8BC6E9BD}" dt="2023-11-06T20:43:48.969" v="25412"/>
          <ac:spMkLst>
            <pc:docMk/>
            <pc:sldMk cId="425422822" sldId="393"/>
            <ac:spMk id="50" creationId="{BA1140CA-21C8-7449-A92C-ED1E062FF0CA}"/>
          </ac:spMkLst>
        </pc:spChg>
        <pc:spChg chg="add del mod modVis">
          <ac:chgData name="Tan, Roger" userId="f6f33758-bd69-4951-8148-181de3b92474" providerId="ADAL" clId="{A436842E-EA5C-4A6D-B51D-DDAE8BC6E9BD}" dt="2023-11-07T08:39:12.716" v="64824"/>
          <ac:spMkLst>
            <pc:docMk/>
            <pc:sldMk cId="425422822" sldId="393"/>
            <ac:spMk id="51" creationId="{66163115-4540-5DDE-3F37-88D5A5788737}"/>
          </ac:spMkLst>
        </pc:spChg>
        <pc:spChg chg="add del mod modVis">
          <ac:chgData name="Tan, Roger" userId="f6f33758-bd69-4951-8148-181de3b92474" providerId="ADAL" clId="{A436842E-EA5C-4A6D-B51D-DDAE8BC6E9BD}" dt="2023-11-06T20:43:57.232" v="25492"/>
          <ac:spMkLst>
            <pc:docMk/>
            <pc:sldMk cId="425422822" sldId="393"/>
            <ac:spMk id="52" creationId="{16668273-E71E-696D-FAF1-F70D582CE9DF}"/>
          </ac:spMkLst>
        </pc:spChg>
        <pc:spChg chg="add del mod modVis">
          <ac:chgData name="Tan, Roger" userId="f6f33758-bd69-4951-8148-181de3b92474" providerId="ADAL" clId="{A436842E-EA5C-4A6D-B51D-DDAE8BC6E9BD}" dt="2023-11-07T08:39:14.950" v="64940"/>
          <ac:spMkLst>
            <pc:docMk/>
            <pc:sldMk cId="425422822" sldId="393"/>
            <ac:spMk id="53" creationId="{E3F6B933-17B8-A161-6880-24997E545710}"/>
          </ac:spMkLst>
        </pc:spChg>
        <pc:spChg chg="add del mod modVis">
          <ac:chgData name="Tan, Roger" userId="f6f33758-bd69-4951-8148-181de3b92474" providerId="ADAL" clId="{A436842E-EA5C-4A6D-B51D-DDAE8BC6E9BD}" dt="2023-11-06T20:44:03.232" v="25572"/>
          <ac:spMkLst>
            <pc:docMk/>
            <pc:sldMk cId="425422822" sldId="393"/>
            <ac:spMk id="54" creationId="{38D5284B-A0C8-0BBE-C80A-2C927A031297}"/>
          </ac:spMkLst>
        </pc:spChg>
        <pc:spChg chg="add del mod modVis">
          <ac:chgData name="Tan, Roger" userId="f6f33758-bd69-4951-8148-181de3b92474" providerId="ADAL" clId="{A436842E-EA5C-4A6D-B51D-DDAE8BC6E9BD}" dt="2023-11-07T08:39:16.379" v="65056"/>
          <ac:spMkLst>
            <pc:docMk/>
            <pc:sldMk cId="425422822" sldId="393"/>
            <ac:spMk id="55" creationId="{EC093B77-63A7-087E-F463-E8F4524D68E6}"/>
          </ac:spMkLst>
        </pc:spChg>
        <pc:spChg chg="add del mod modVis">
          <ac:chgData name="Tan, Roger" userId="f6f33758-bd69-4951-8148-181de3b92474" providerId="ADAL" clId="{A436842E-EA5C-4A6D-B51D-DDAE8BC6E9BD}" dt="2023-11-06T20:44:38.190" v="25798"/>
          <ac:spMkLst>
            <pc:docMk/>
            <pc:sldMk cId="425422822" sldId="393"/>
            <ac:spMk id="56" creationId="{33CC3003-C523-E333-7213-B48BB7AFE05F}"/>
          </ac:spMkLst>
        </pc:spChg>
        <pc:spChg chg="add del mod modVis">
          <ac:chgData name="Tan, Roger" userId="f6f33758-bd69-4951-8148-181de3b92474" providerId="ADAL" clId="{A436842E-EA5C-4A6D-B51D-DDAE8BC6E9BD}" dt="2023-11-07T08:39:20.145" v="65194"/>
          <ac:spMkLst>
            <pc:docMk/>
            <pc:sldMk cId="425422822" sldId="393"/>
            <ac:spMk id="57" creationId="{032836AD-3671-EDAE-5DF5-B9049F7537E0}"/>
          </ac:spMkLst>
        </pc:spChg>
        <pc:spChg chg="add del mod replST">
          <ac:chgData name="Tan, Roger" userId="f6f33758-bd69-4951-8148-181de3b92474" providerId="ADAL" clId="{A436842E-EA5C-4A6D-B51D-DDAE8BC6E9BD}" dt="2023-11-06T20:44:38.950" v="25841"/>
          <ac:spMkLst>
            <pc:docMk/>
            <pc:sldMk cId="425422822" sldId="393"/>
            <ac:spMk id="57" creationId="{90E9F40A-4DA5-A08E-22A2-973BA3A82C29}"/>
          </ac:spMkLst>
        </pc:spChg>
        <pc:spChg chg="add del mod modVis">
          <ac:chgData name="Tan, Roger" userId="f6f33758-bd69-4951-8148-181de3b92474" providerId="ADAL" clId="{A436842E-EA5C-4A6D-B51D-DDAE8BC6E9BD}" dt="2023-11-07T08:39:22.626" v="65300"/>
          <ac:spMkLst>
            <pc:docMk/>
            <pc:sldMk cId="425422822" sldId="393"/>
            <ac:spMk id="59" creationId="{75BBA922-18F7-45CB-CE66-E3BE5297A924}"/>
          </ac:spMkLst>
        </pc:spChg>
        <pc:spChg chg="add del mod modVis">
          <ac:chgData name="Tan, Roger" userId="f6f33758-bd69-4951-8148-181de3b92474" providerId="ADAL" clId="{A436842E-EA5C-4A6D-B51D-DDAE8BC6E9BD}" dt="2023-11-06T20:44:38.983" v="25878"/>
          <ac:spMkLst>
            <pc:docMk/>
            <pc:sldMk cId="425422822" sldId="393"/>
            <ac:spMk id="59" creationId="{F1128A33-188E-ACC2-66EC-AEB0C5165243}"/>
          </ac:spMkLst>
        </pc:spChg>
        <pc:spChg chg="add del mod modVis">
          <ac:chgData name="Tan, Roger" userId="f6f33758-bd69-4951-8148-181de3b92474" providerId="ADAL" clId="{A436842E-EA5C-4A6D-B51D-DDAE8BC6E9BD}" dt="2023-11-07T08:39:27.155" v="65436"/>
          <ac:spMkLst>
            <pc:docMk/>
            <pc:sldMk cId="425422822" sldId="393"/>
            <ac:spMk id="61" creationId="{DF8C17EC-230B-45BB-9490-37EF84EC271F}"/>
          </ac:spMkLst>
        </pc:spChg>
        <pc:spChg chg="add del mod modVis">
          <ac:chgData name="Tan, Roger" userId="f6f33758-bd69-4951-8148-181de3b92474" providerId="ADAL" clId="{A436842E-EA5C-4A6D-B51D-DDAE8BC6E9BD}" dt="2023-11-06T20:44:49.793" v="26408"/>
          <ac:spMkLst>
            <pc:docMk/>
            <pc:sldMk cId="425422822" sldId="393"/>
            <ac:spMk id="61" creationId="{EFBB0A12-2166-1D32-2521-194D83C0FB64}"/>
          </ac:spMkLst>
        </pc:spChg>
        <pc:spChg chg="add mod replST">
          <ac:chgData name="Tan, Roger" userId="f6f33758-bd69-4951-8148-181de3b92474" providerId="ADAL" clId="{A436842E-EA5C-4A6D-B51D-DDAE8BC6E9BD}" dt="2023-11-07T08:47:44.614" v="72207"/>
          <ac:spMkLst>
            <pc:docMk/>
            <pc:sldMk cId="425422822" sldId="393"/>
            <ac:spMk id="62" creationId="{35FCE657-166E-7AFA-E88F-A8974EBE203D}"/>
          </ac:spMkLst>
        </pc:spChg>
        <pc:spChg chg="add del mod replST">
          <ac:chgData name="Tan, Roger" userId="f6f33758-bd69-4951-8148-181de3b92474" providerId="ADAL" clId="{A436842E-EA5C-4A6D-B51D-DDAE8BC6E9BD}" dt="2023-11-07T08:37:33.645" v="63341"/>
          <ac:spMkLst>
            <pc:docMk/>
            <pc:sldMk cId="425422822" sldId="393"/>
            <ac:spMk id="63" creationId="{906B938F-4448-7580-F358-3B4C7DFC2641}"/>
          </ac:spMkLst>
        </pc:spChg>
        <pc:spChg chg="add del mod modVis">
          <ac:chgData name="Tan, Roger" userId="f6f33758-bd69-4951-8148-181de3b92474" providerId="ADAL" clId="{A436842E-EA5C-4A6D-B51D-DDAE8BC6E9BD}" dt="2023-11-07T08:44:37.930" v="68875"/>
          <ac:spMkLst>
            <pc:docMk/>
            <pc:sldMk cId="425422822" sldId="393"/>
            <ac:spMk id="128" creationId="{F35A062E-9A4D-B310-8E23-F70216AACBA0}"/>
          </ac:spMkLst>
        </pc:spChg>
        <pc:spChg chg="add del mod modVis">
          <ac:chgData name="Tan, Roger" userId="f6f33758-bd69-4951-8148-181de3b92474" providerId="ADAL" clId="{A436842E-EA5C-4A6D-B51D-DDAE8BC6E9BD}" dt="2023-11-06T20:47:26.072" v="29747"/>
          <ac:spMkLst>
            <pc:docMk/>
            <pc:sldMk cId="425422822" sldId="393"/>
            <ac:spMk id="128" creationId="{FF64C9F8-3503-6CD1-B5D2-FD9CC539DDAC}"/>
          </ac:spMkLst>
        </pc:spChg>
        <pc:spChg chg="add del mod modVis">
          <ac:chgData name="Tan, Roger" userId="f6f33758-bd69-4951-8148-181de3b92474" providerId="ADAL" clId="{A436842E-EA5C-4A6D-B51D-DDAE8BC6E9BD}" dt="2023-11-06T20:47:28.237" v="29793"/>
          <ac:spMkLst>
            <pc:docMk/>
            <pc:sldMk cId="425422822" sldId="393"/>
            <ac:spMk id="129" creationId="{CE4DEFAB-2585-1C49-2832-4739A838A712}"/>
          </ac:spMkLst>
        </pc:spChg>
        <pc:spChg chg="add del mod modVis">
          <ac:chgData name="Tan, Roger" userId="f6f33758-bd69-4951-8148-181de3b92474" providerId="ADAL" clId="{A436842E-EA5C-4A6D-B51D-DDAE8BC6E9BD}" dt="2023-11-07T08:44:42.020" v="69019"/>
          <ac:spMkLst>
            <pc:docMk/>
            <pc:sldMk cId="425422822" sldId="393"/>
            <ac:spMk id="130" creationId="{23692EF3-660A-93CB-5B72-D8E832164E18}"/>
          </ac:spMkLst>
        </pc:spChg>
        <pc:spChg chg="add del mod modVis">
          <ac:chgData name="Tan, Roger" userId="f6f33758-bd69-4951-8148-181de3b92474" providerId="ADAL" clId="{A436842E-EA5C-4A6D-B51D-DDAE8BC6E9BD}" dt="2023-11-06T20:47:44.312" v="29889"/>
          <ac:spMkLst>
            <pc:docMk/>
            <pc:sldMk cId="425422822" sldId="393"/>
            <ac:spMk id="130" creationId="{879E83BC-2272-4E9B-44F9-585CF71ECD35}"/>
          </ac:spMkLst>
        </pc:spChg>
        <pc:spChg chg="add del mod modVis">
          <ac:chgData name="Tan, Roger" userId="f6f33758-bd69-4951-8148-181de3b92474" providerId="ADAL" clId="{A436842E-EA5C-4A6D-B51D-DDAE8BC6E9BD}" dt="2023-11-07T08:44:48.224" v="69131"/>
          <ac:spMkLst>
            <pc:docMk/>
            <pc:sldMk cId="425422822" sldId="393"/>
            <ac:spMk id="132" creationId="{5A14B58C-6294-C282-069B-6845B6CF2971}"/>
          </ac:spMkLst>
        </pc:spChg>
        <pc:spChg chg="add del mod modVis">
          <ac:chgData name="Tan, Roger" userId="f6f33758-bd69-4951-8148-181de3b92474" providerId="ADAL" clId="{A436842E-EA5C-4A6D-B51D-DDAE8BC6E9BD}" dt="2023-11-06T20:47:50.822" v="30591"/>
          <ac:spMkLst>
            <pc:docMk/>
            <pc:sldMk cId="425422822" sldId="393"/>
            <ac:spMk id="132" creationId="{859BD2AC-2774-C0FA-5A19-B2402BCF2E53}"/>
          </ac:spMkLst>
        </pc:spChg>
        <pc:spChg chg="add del mod replST">
          <ac:chgData name="Tan, Roger" userId="f6f33758-bd69-4951-8148-181de3b92474" providerId="ADAL" clId="{A436842E-EA5C-4A6D-B51D-DDAE8BC6E9BD}" dt="2023-11-06T20:47:51.718" v="30652"/>
          <ac:spMkLst>
            <pc:docMk/>
            <pc:sldMk cId="425422822" sldId="393"/>
            <ac:spMk id="133" creationId="{ADFEF893-8275-65D7-947F-1CFA9BFFB28B}"/>
          </ac:spMkLst>
        </pc:spChg>
        <pc:spChg chg="add del mod replST">
          <ac:chgData name="Tan, Roger" userId="f6f33758-bd69-4951-8148-181de3b92474" providerId="ADAL" clId="{A436842E-EA5C-4A6D-B51D-DDAE8BC6E9BD}" dt="2023-11-06T20:47:51.719" v="30653"/>
          <ac:spMkLst>
            <pc:docMk/>
            <pc:sldMk cId="425422822" sldId="393"/>
            <ac:spMk id="134" creationId="{83A6B78A-76C5-A6D9-0F8A-41169FBD74A6}"/>
          </ac:spMkLst>
        </pc:spChg>
        <pc:spChg chg="add del mod modVis">
          <ac:chgData name="Tan, Roger" userId="f6f33758-bd69-4951-8148-181de3b92474" providerId="ADAL" clId="{A436842E-EA5C-4A6D-B51D-DDAE8BC6E9BD}" dt="2023-11-07T08:44:59.429" v="69249"/>
          <ac:spMkLst>
            <pc:docMk/>
            <pc:sldMk cId="425422822" sldId="393"/>
            <ac:spMk id="134" creationId="{B64DDE80-F313-7AA4-203C-793EB3BF83D0}"/>
          </ac:spMkLst>
        </pc:spChg>
        <pc:spChg chg="add del mod replST">
          <ac:chgData name="Tan, Roger" userId="f6f33758-bd69-4951-8148-181de3b92474" providerId="ADAL" clId="{A436842E-EA5C-4A6D-B51D-DDAE8BC6E9BD}" dt="2023-11-06T20:47:51.720" v="30654"/>
          <ac:spMkLst>
            <pc:docMk/>
            <pc:sldMk cId="425422822" sldId="393"/>
            <ac:spMk id="135" creationId="{81E49062-DCA7-4CBB-3382-73F573AFA2FD}"/>
          </ac:spMkLst>
        </pc:spChg>
        <pc:spChg chg="add del mod replST">
          <ac:chgData name="Tan, Roger" userId="f6f33758-bd69-4951-8148-181de3b92474" providerId="ADAL" clId="{A436842E-EA5C-4A6D-B51D-DDAE8BC6E9BD}" dt="2023-11-06T20:47:51.721" v="30655"/>
          <ac:spMkLst>
            <pc:docMk/>
            <pc:sldMk cId="425422822" sldId="393"/>
            <ac:spMk id="136" creationId="{3D9DEE49-DD35-1F24-753F-07A3348D6764}"/>
          </ac:spMkLst>
        </pc:spChg>
        <pc:spChg chg="add del mod modVis">
          <ac:chgData name="Tan, Roger" userId="f6f33758-bd69-4951-8148-181de3b92474" providerId="ADAL" clId="{A436842E-EA5C-4A6D-B51D-DDAE8BC6E9BD}" dt="2023-11-07T08:45:00.665" v="69363"/>
          <ac:spMkLst>
            <pc:docMk/>
            <pc:sldMk cId="425422822" sldId="393"/>
            <ac:spMk id="136" creationId="{DCF64BD7-F4C3-36FB-A318-5BF88DD1FC7C}"/>
          </ac:spMkLst>
        </pc:spChg>
        <pc:spChg chg="add del mod replST">
          <ac:chgData name="Tan, Roger" userId="f6f33758-bd69-4951-8148-181de3b92474" providerId="ADAL" clId="{A436842E-EA5C-4A6D-B51D-DDAE8BC6E9BD}" dt="2023-11-06T20:47:51.722" v="30656"/>
          <ac:spMkLst>
            <pc:docMk/>
            <pc:sldMk cId="425422822" sldId="393"/>
            <ac:spMk id="137" creationId="{133C4CCF-7D29-1510-9753-21D749782DF6}"/>
          </ac:spMkLst>
        </pc:spChg>
        <pc:spChg chg="add del mod replST">
          <ac:chgData name="Tan, Roger" userId="f6f33758-bd69-4951-8148-181de3b92474" providerId="ADAL" clId="{A436842E-EA5C-4A6D-B51D-DDAE8BC6E9BD}" dt="2023-11-06T20:47:51.723" v="30657"/>
          <ac:spMkLst>
            <pc:docMk/>
            <pc:sldMk cId="425422822" sldId="393"/>
            <ac:spMk id="138" creationId="{B17B8FC9-06B5-60A9-6246-830EF075BA23}"/>
          </ac:spMkLst>
        </pc:spChg>
        <pc:spChg chg="add del mod modVis">
          <ac:chgData name="Tan, Roger" userId="f6f33758-bd69-4951-8148-181de3b92474" providerId="ADAL" clId="{A436842E-EA5C-4A6D-B51D-DDAE8BC6E9BD}" dt="2023-11-07T08:45:03.386" v="69479"/>
          <ac:spMkLst>
            <pc:docMk/>
            <pc:sldMk cId="425422822" sldId="393"/>
            <ac:spMk id="138" creationId="{F5883706-BC5E-290E-C230-17271A9027AE}"/>
          </ac:spMkLst>
        </pc:spChg>
        <pc:spChg chg="add del mod replST">
          <ac:chgData name="Tan, Roger" userId="f6f33758-bd69-4951-8148-181de3b92474" providerId="ADAL" clId="{A436842E-EA5C-4A6D-B51D-DDAE8BC6E9BD}" dt="2023-11-06T20:47:51.723" v="30658"/>
          <ac:spMkLst>
            <pc:docMk/>
            <pc:sldMk cId="425422822" sldId="393"/>
            <ac:spMk id="139" creationId="{5C7D0895-68D8-4B78-EEC5-E6F31F96C12F}"/>
          </ac:spMkLst>
        </pc:spChg>
        <pc:spChg chg="add del mod replST">
          <ac:chgData name="Tan, Roger" userId="f6f33758-bd69-4951-8148-181de3b92474" providerId="ADAL" clId="{A436842E-EA5C-4A6D-B51D-DDAE8BC6E9BD}" dt="2023-11-06T20:47:51.724" v="30659"/>
          <ac:spMkLst>
            <pc:docMk/>
            <pc:sldMk cId="425422822" sldId="393"/>
            <ac:spMk id="140" creationId="{62DC15C8-8F39-87BB-B368-D34581A5FEEC}"/>
          </ac:spMkLst>
        </pc:spChg>
        <pc:spChg chg="add del mod modVis">
          <ac:chgData name="Tan, Roger" userId="f6f33758-bd69-4951-8148-181de3b92474" providerId="ADAL" clId="{A436842E-EA5C-4A6D-B51D-DDAE8BC6E9BD}" dt="2023-11-07T08:45:11.200" v="69572"/>
          <ac:spMkLst>
            <pc:docMk/>
            <pc:sldMk cId="425422822" sldId="393"/>
            <ac:spMk id="140" creationId="{C678D533-F79E-789E-429C-51EBA7967175}"/>
          </ac:spMkLst>
        </pc:spChg>
        <pc:spChg chg="add del mod replST">
          <ac:chgData name="Tan, Roger" userId="f6f33758-bd69-4951-8148-181de3b92474" providerId="ADAL" clId="{A436842E-EA5C-4A6D-B51D-DDAE8BC6E9BD}" dt="2023-11-06T20:47:51.725" v="30660"/>
          <ac:spMkLst>
            <pc:docMk/>
            <pc:sldMk cId="425422822" sldId="393"/>
            <ac:spMk id="141" creationId="{63FE351B-113E-6D7A-3693-0D5BAB6C4ED8}"/>
          </ac:spMkLst>
        </pc:spChg>
        <pc:spChg chg="add del mod modVis">
          <ac:chgData name="Tan, Roger" userId="f6f33758-bd69-4951-8148-181de3b92474" providerId="ADAL" clId="{A436842E-EA5C-4A6D-B51D-DDAE8BC6E9BD}" dt="2023-11-07T08:45:12.870" v="69670"/>
          <ac:spMkLst>
            <pc:docMk/>
            <pc:sldMk cId="425422822" sldId="393"/>
            <ac:spMk id="142" creationId="{56C96BD1-AA0F-A170-4060-D635BD17E94E}"/>
          </ac:spMkLst>
        </pc:spChg>
        <pc:spChg chg="add del mod replST">
          <ac:chgData name="Tan, Roger" userId="f6f33758-bd69-4951-8148-181de3b92474" providerId="ADAL" clId="{A436842E-EA5C-4A6D-B51D-DDAE8BC6E9BD}" dt="2023-11-06T20:47:51.725" v="30661"/>
          <ac:spMkLst>
            <pc:docMk/>
            <pc:sldMk cId="425422822" sldId="393"/>
            <ac:spMk id="142" creationId="{DE3C027C-A2D9-71E6-BB42-83C381032005}"/>
          </ac:spMkLst>
        </pc:spChg>
        <pc:spChg chg="add del mod modVis">
          <ac:chgData name="Tan, Roger" userId="f6f33758-bd69-4951-8148-181de3b92474" providerId="ADAL" clId="{A436842E-EA5C-4A6D-B51D-DDAE8BC6E9BD}" dt="2023-11-06T20:47:51.771" v="30699"/>
          <ac:spMkLst>
            <pc:docMk/>
            <pc:sldMk cId="425422822" sldId="393"/>
            <ac:spMk id="144" creationId="{6265991F-2371-9424-FB5B-71EBEA1296E8}"/>
          </ac:spMkLst>
        </pc:spChg>
        <pc:spChg chg="add del mod modVis">
          <ac:chgData name="Tan, Roger" userId="f6f33758-bd69-4951-8148-181de3b92474" providerId="ADAL" clId="{A436842E-EA5C-4A6D-B51D-DDAE8BC6E9BD}" dt="2023-11-07T08:45:14.499" v="69764"/>
          <ac:spMkLst>
            <pc:docMk/>
            <pc:sldMk cId="425422822" sldId="393"/>
            <ac:spMk id="144" creationId="{D16682C1-0299-29D9-2E64-A7EA8C0C058F}"/>
          </ac:spMkLst>
        </pc:spChg>
        <pc:spChg chg="add del mod modVis">
          <ac:chgData name="Tan, Roger" userId="f6f33758-bd69-4951-8148-181de3b92474" providerId="ADAL" clId="{A436842E-EA5C-4A6D-B51D-DDAE8BC6E9BD}" dt="2023-11-07T08:45:17.698" v="69863"/>
          <ac:spMkLst>
            <pc:docMk/>
            <pc:sldMk cId="425422822" sldId="393"/>
            <ac:spMk id="146" creationId="{475E4A79-33B9-EC29-9CF5-524B69BE3891}"/>
          </ac:spMkLst>
        </pc:spChg>
        <pc:spChg chg="add del mod modVis">
          <ac:chgData name="Tan, Roger" userId="f6f33758-bd69-4951-8148-181de3b92474" providerId="ADAL" clId="{A436842E-EA5C-4A6D-B51D-DDAE8BC6E9BD}" dt="2023-11-06T20:47:53.371" v="30789"/>
          <ac:spMkLst>
            <pc:docMk/>
            <pc:sldMk cId="425422822" sldId="393"/>
            <ac:spMk id="146" creationId="{C93B845E-F4CA-917B-6864-B5995880083B}"/>
          </ac:spMkLst>
        </pc:spChg>
        <pc:spChg chg="add del mod modVis">
          <ac:chgData name="Tan, Roger" userId="f6f33758-bd69-4951-8148-181de3b92474" providerId="ADAL" clId="{A436842E-EA5C-4A6D-B51D-DDAE8BC6E9BD}" dt="2023-11-06T20:47:55.401" v="30879"/>
          <ac:spMkLst>
            <pc:docMk/>
            <pc:sldMk cId="425422822" sldId="393"/>
            <ac:spMk id="148" creationId="{B791B4DB-6131-3E9D-15E6-D868B91CAAD1}"/>
          </ac:spMkLst>
        </pc:spChg>
        <pc:spChg chg="add del mod modVis">
          <ac:chgData name="Tan, Roger" userId="f6f33758-bd69-4951-8148-181de3b92474" providerId="ADAL" clId="{A436842E-EA5C-4A6D-B51D-DDAE8BC6E9BD}" dt="2023-11-07T08:45:24.713" v="69962"/>
          <ac:spMkLst>
            <pc:docMk/>
            <pc:sldMk cId="425422822" sldId="393"/>
            <ac:spMk id="148" creationId="{EE453D83-9D99-172B-7EB9-B0FC67AC506B}"/>
          </ac:spMkLst>
        </pc:spChg>
        <pc:spChg chg="add del mod modVis">
          <ac:chgData name="Tan, Roger" userId="f6f33758-bd69-4951-8148-181de3b92474" providerId="ADAL" clId="{A436842E-EA5C-4A6D-B51D-DDAE8BC6E9BD}" dt="2023-11-07T08:45:25.894" v="70061"/>
          <ac:spMkLst>
            <pc:docMk/>
            <pc:sldMk cId="425422822" sldId="393"/>
            <ac:spMk id="150" creationId="{B64D7A69-1614-3ACB-4884-E1F489086E42}"/>
          </ac:spMkLst>
        </pc:spChg>
        <pc:spChg chg="add del mod modVis">
          <ac:chgData name="Tan, Roger" userId="f6f33758-bd69-4951-8148-181de3b92474" providerId="ADAL" clId="{A436842E-EA5C-4A6D-B51D-DDAE8BC6E9BD}" dt="2023-11-06T20:48:00.701" v="30972"/>
          <ac:spMkLst>
            <pc:docMk/>
            <pc:sldMk cId="425422822" sldId="393"/>
            <ac:spMk id="150" creationId="{DCBD95A5-6161-B42D-BB15-9ED08C5FF4F7}"/>
          </ac:spMkLst>
        </pc:spChg>
        <pc:spChg chg="add del mod modVis">
          <ac:chgData name="Tan, Roger" userId="f6f33758-bd69-4951-8148-181de3b92474" providerId="ADAL" clId="{A436842E-EA5C-4A6D-B51D-DDAE8BC6E9BD}" dt="2023-11-07T08:45:27.510" v="70168"/>
          <ac:spMkLst>
            <pc:docMk/>
            <pc:sldMk cId="425422822" sldId="393"/>
            <ac:spMk id="152" creationId="{08738452-8257-9085-0744-176343A302F0}"/>
          </ac:spMkLst>
        </pc:spChg>
        <pc:spChg chg="add del mod modVis">
          <ac:chgData name="Tan, Roger" userId="f6f33758-bd69-4951-8148-181de3b92474" providerId="ADAL" clId="{A436842E-EA5C-4A6D-B51D-DDAE8BC6E9BD}" dt="2023-11-06T20:48:01.589" v="31063"/>
          <ac:spMkLst>
            <pc:docMk/>
            <pc:sldMk cId="425422822" sldId="393"/>
            <ac:spMk id="152" creationId="{28514317-66B9-C5D0-DE94-2372869600B6}"/>
          </ac:spMkLst>
        </pc:spChg>
        <pc:spChg chg="add del mod modVis">
          <ac:chgData name="Tan, Roger" userId="f6f33758-bd69-4951-8148-181de3b92474" providerId="ADAL" clId="{A436842E-EA5C-4A6D-B51D-DDAE8BC6E9BD}" dt="2023-11-07T08:45:30.568" v="70267"/>
          <ac:spMkLst>
            <pc:docMk/>
            <pc:sldMk cId="425422822" sldId="393"/>
            <ac:spMk id="154" creationId="{381D3D55-510D-A093-55CD-D305B2750C3F}"/>
          </ac:spMkLst>
        </pc:spChg>
        <pc:spChg chg="add del mod modVis">
          <ac:chgData name="Tan, Roger" userId="f6f33758-bd69-4951-8148-181de3b92474" providerId="ADAL" clId="{A436842E-EA5C-4A6D-B51D-DDAE8BC6E9BD}" dt="2023-11-06T20:56:14.684" v="34653"/>
          <ac:spMkLst>
            <pc:docMk/>
            <pc:sldMk cId="425422822" sldId="393"/>
            <ac:spMk id="154" creationId="{692550C9-EEC1-96D3-4338-4CBCD973D701}"/>
          </ac:spMkLst>
        </pc:spChg>
        <pc:spChg chg="add del mod modVis">
          <ac:chgData name="Tan, Roger" userId="f6f33758-bd69-4951-8148-181de3b92474" providerId="ADAL" clId="{A436842E-EA5C-4A6D-B51D-DDAE8BC6E9BD}" dt="2023-11-07T08:46:04.433" v="70373"/>
          <ac:spMkLst>
            <pc:docMk/>
            <pc:sldMk cId="425422822" sldId="393"/>
            <ac:spMk id="156" creationId="{35C525BA-2C32-9C1B-361B-1A0ADDA16CDF}"/>
          </ac:spMkLst>
        </pc:spChg>
        <pc:spChg chg="add del mod modVis">
          <ac:chgData name="Tan, Roger" userId="f6f33758-bd69-4951-8148-181de3b92474" providerId="ADAL" clId="{A436842E-EA5C-4A6D-B51D-DDAE8BC6E9BD}" dt="2023-11-06T20:56:18.914" v="34749"/>
          <ac:spMkLst>
            <pc:docMk/>
            <pc:sldMk cId="425422822" sldId="393"/>
            <ac:spMk id="156" creationId="{DC9F66BB-4441-44C0-D9DF-674B684E7455}"/>
          </ac:spMkLst>
        </pc:spChg>
        <pc:spChg chg="add del mod modVis">
          <ac:chgData name="Tan, Roger" userId="f6f33758-bd69-4951-8148-181de3b92474" providerId="ADAL" clId="{A436842E-EA5C-4A6D-B51D-DDAE8BC6E9BD}" dt="2023-11-06T20:56:26.644" v="34837"/>
          <ac:spMkLst>
            <pc:docMk/>
            <pc:sldMk cId="425422822" sldId="393"/>
            <ac:spMk id="158" creationId="{BBDAC332-9D41-1081-DE67-7C9C2C3D2228}"/>
          </ac:spMkLst>
        </pc:spChg>
        <pc:spChg chg="add del mod modVis">
          <ac:chgData name="Tan, Roger" userId="f6f33758-bd69-4951-8148-181de3b92474" providerId="ADAL" clId="{A436842E-EA5C-4A6D-B51D-DDAE8BC6E9BD}" dt="2023-11-07T08:46:06.891" v="70464"/>
          <ac:spMkLst>
            <pc:docMk/>
            <pc:sldMk cId="425422822" sldId="393"/>
            <ac:spMk id="158" creationId="{DA1F80C2-2C70-732A-C0C7-1E656E3B8B6F}"/>
          </ac:spMkLst>
        </pc:spChg>
        <pc:spChg chg="del mod">
          <ac:chgData name="Tan, Roger" userId="f6f33758-bd69-4951-8148-181de3b92474" providerId="ADAL" clId="{A436842E-EA5C-4A6D-B51D-DDAE8BC6E9BD}" dt="2023-11-06T20:43:39.921" v="25305"/>
          <ac:spMkLst>
            <pc:docMk/>
            <pc:sldMk cId="425422822" sldId="393"/>
            <ac:spMk id="161" creationId="{0A8FB5D8-6744-FC22-7E68-89398F14D02B}"/>
          </ac:spMkLst>
        </pc:spChg>
        <pc:spChg chg="add del mod replST">
          <ac:chgData name="Tan, Roger" userId="f6f33758-bd69-4951-8148-181de3b92474" providerId="ADAL" clId="{A436842E-EA5C-4A6D-B51D-DDAE8BC6E9BD}" dt="2023-11-07T08:47:23.342" v="71435"/>
          <ac:spMkLst>
            <pc:docMk/>
            <pc:sldMk cId="425422822" sldId="393"/>
            <ac:spMk id="161" creationId="{428188E6-580D-2BC4-FAE1-85635A480D30}"/>
          </ac:spMkLst>
        </pc:spChg>
        <pc:spChg chg="add del mod replST">
          <ac:chgData name="Tan, Roger" userId="f6f33758-bd69-4951-8148-181de3b92474" providerId="ADAL" clId="{A436842E-EA5C-4A6D-B51D-DDAE8BC6E9BD}" dt="2023-11-07T08:47:23.341" v="71434"/>
          <ac:spMkLst>
            <pc:docMk/>
            <pc:sldMk cId="425422822" sldId="393"/>
            <ac:spMk id="162" creationId="{781508CB-1B23-26DA-8EFB-BC51E08F5AA4}"/>
          </ac:spMkLst>
        </pc:spChg>
        <pc:spChg chg="del mod">
          <ac:chgData name="Tan, Roger" userId="f6f33758-bd69-4951-8148-181de3b92474" providerId="ADAL" clId="{A436842E-EA5C-4A6D-B51D-DDAE8BC6E9BD}" dt="2023-11-06T20:43:39.920" v="25303"/>
          <ac:spMkLst>
            <pc:docMk/>
            <pc:sldMk cId="425422822" sldId="393"/>
            <ac:spMk id="162" creationId="{DB073147-8F00-EBEA-F4AA-25312FE302D9}"/>
          </ac:spMkLst>
        </pc:spChg>
        <pc:spChg chg="del mod">
          <ac:chgData name="Tan, Roger" userId="f6f33758-bd69-4951-8148-181de3b92474" providerId="ADAL" clId="{A436842E-EA5C-4A6D-B51D-DDAE8BC6E9BD}" dt="2023-11-06T20:43:39.919" v="25299"/>
          <ac:spMkLst>
            <pc:docMk/>
            <pc:sldMk cId="425422822" sldId="393"/>
            <ac:spMk id="163" creationId="{53AB2AA0-33C8-C86C-1C47-0A9D5BCCCA41}"/>
          </ac:spMkLst>
        </pc:spChg>
        <pc:spChg chg="add del mod modVis">
          <ac:chgData name="Tan, Roger" userId="f6f33758-bd69-4951-8148-181de3b92474" providerId="ADAL" clId="{A436842E-EA5C-4A6D-B51D-DDAE8BC6E9BD}" dt="2023-11-07T08:46:24.925" v="70632"/>
          <ac:spMkLst>
            <pc:docMk/>
            <pc:sldMk cId="425422822" sldId="393"/>
            <ac:spMk id="163" creationId="{61237549-8D14-327E-EE45-3B779C379A45}"/>
          </ac:spMkLst>
        </pc:spChg>
        <pc:spChg chg="del mod">
          <ac:chgData name="Tan, Roger" userId="f6f33758-bd69-4951-8148-181de3b92474" providerId="ADAL" clId="{A436842E-EA5C-4A6D-B51D-DDAE8BC6E9BD}" dt="2023-11-06T20:43:39.918" v="25297"/>
          <ac:spMkLst>
            <pc:docMk/>
            <pc:sldMk cId="425422822" sldId="393"/>
            <ac:spMk id="164" creationId="{B4492960-2F0B-78EE-7AC7-E3C3995B9808}"/>
          </ac:spMkLst>
        </pc:spChg>
        <pc:spChg chg="add del mod modVis">
          <ac:chgData name="Tan, Roger" userId="f6f33758-bd69-4951-8148-181de3b92474" providerId="ADAL" clId="{A436842E-EA5C-4A6D-B51D-DDAE8BC6E9BD}" dt="2023-11-07T08:46:29.851" v="70761"/>
          <ac:spMkLst>
            <pc:docMk/>
            <pc:sldMk cId="425422822" sldId="393"/>
            <ac:spMk id="165" creationId="{84EA24C9-4F7C-B147-C6CA-DE3BD85E9ED6}"/>
          </ac:spMkLst>
        </pc:spChg>
        <pc:spChg chg="del mod">
          <ac:chgData name="Tan, Roger" userId="f6f33758-bd69-4951-8148-181de3b92474" providerId="ADAL" clId="{A436842E-EA5C-4A6D-B51D-DDAE8BC6E9BD}" dt="2023-11-06T20:43:39.921" v="25304"/>
          <ac:spMkLst>
            <pc:docMk/>
            <pc:sldMk cId="425422822" sldId="393"/>
            <ac:spMk id="166" creationId="{1A1113B8-6752-6674-3C93-9B8AA3A09570}"/>
          </ac:spMkLst>
        </pc:spChg>
        <pc:spChg chg="add del mod modVis">
          <ac:chgData name="Tan, Roger" userId="f6f33758-bd69-4951-8148-181de3b92474" providerId="ADAL" clId="{A436842E-EA5C-4A6D-B51D-DDAE8BC6E9BD}" dt="2023-11-07T08:46:33.326" v="70890"/>
          <ac:spMkLst>
            <pc:docMk/>
            <pc:sldMk cId="425422822" sldId="393"/>
            <ac:spMk id="167" creationId="{2030C255-99BC-116D-3927-0E9A605244CC}"/>
          </ac:spMkLst>
        </pc:spChg>
        <pc:spChg chg="del mod">
          <ac:chgData name="Tan, Roger" userId="f6f33758-bd69-4951-8148-181de3b92474" providerId="ADAL" clId="{A436842E-EA5C-4A6D-B51D-DDAE8BC6E9BD}" dt="2023-11-06T20:43:39.920" v="25302"/>
          <ac:spMkLst>
            <pc:docMk/>
            <pc:sldMk cId="425422822" sldId="393"/>
            <ac:spMk id="167" creationId="{4218EC9E-E37E-DF04-D482-34DC04D22557}"/>
          </ac:spMkLst>
        </pc:spChg>
        <pc:spChg chg="del mod">
          <ac:chgData name="Tan, Roger" userId="f6f33758-bd69-4951-8148-181de3b92474" providerId="ADAL" clId="{A436842E-EA5C-4A6D-B51D-DDAE8BC6E9BD}" dt="2023-11-06T20:43:39.919" v="25298"/>
          <ac:spMkLst>
            <pc:docMk/>
            <pc:sldMk cId="425422822" sldId="393"/>
            <ac:spMk id="168" creationId="{BBE5DE74-4E1F-A78E-6630-81B26E253890}"/>
          </ac:spMkLst>
        </pc:spChg>
        <pc:spChg chg="del mod">
          <ac:chgData name="Tan, Roger" userId="f6f33758-bd69-4951-8148-181de3b92474" providerId="ADAL" clId="{A436842E-EA5C-4A6D-B51D-DDAE8BC6E9BD}" dt="2023-11-06T20:43:39.918" v="25296"/>
          <ac:spMkLst>
            <pc:docMk/>
            <pc:sldMk cId="425422822" sldId="393"/>
            <ac:spMk id="169" creationId="{493B8A6E-B251-F1FB-7DF8-DB0719247935}"/>
          </ac:spMkLst>
        </pc:spChg>
        <pc:spChg chg="add del mod modVis">
          <ac:chgData name="Tan, Roger" userId="f6f33758-bd69-4951-8148-181de3b92474" providerId="ADAL" clId="{A436842E-EA5C-4A6D-B51D-DDAE8BC6E9BD}" dt="2023-11-07T08:46:52.787" v="70993"/>
          <ac:spMkLst>
            <pc:docMk/>
            <pc:sldMk cId="425422822" sldId="393"/>
            <ac:spMk id="169" creationId="{8FB10958-EAFB-58CD-B3FD-6D59B633C86A}"/>
          </ac:spMkLst>
        </pc:spChg>
        <pc:spChg chg="add del mod modVis">
          <ac:chgData name="Tan, Roger" userId="f6f33758-bd69-4951-8148-181de3b92474" providerId="ADAL" clId="{A436842E-EA5C-4A6D-B51D-DDAE8BC6E9BD}" dt="2023-11-07T08:46:55.567" v="71106"/>
          <ac:spMkLst>
            <pc:docMk/>
            <pc:sldMk cId="425422822" sldId="393"/>
            <ac:spMk id="171" creationId="{3AC22EA8-6E15-BA2F-12FF-950B79BB3481}"/>
          </ac:spMkLst>
        </pc:spChg>
        <pc:spChg chg="add del mod modVis">
          <ac:chgData name="Tan, Roger" userId="f6f33758-bd69-4951-8148-181de3b92474" providerId="ADAL" clId="{A436842E-EA5C-4A6D-B51D-DDAE8BC6E9BD}" dt="2023-11-07T08:47:13.779" v="71431"/>
          <ac:spMkLst>
            <pc:docMk/>
            <pc:sldMk cId="425422822" sldId="393"/>
            <ac:spMk id="173" creationId="{B951BA1F-E989-97A7-57CB-3CB09C769057}"/>
          </ac:spMkLst>
        </pc:spChg>
        <pc:spChg chg="add mod ord replST delST">
          <ac:chgData name="Tan, Roger" userId="f6f33758-bd69-4951-8148-181de3b92474" providerId="ADAL" clId="{A436842E-EA5C-4A6D-B51D-DDAE8BC6E9BD}" dt="2023-11-07T08:47:13.779" v="71431"/>
          <ac:spMkLst>
            <pc:docMk/>
            <pc:sldMk cId="425422822" sldId="393"/>
            <ac:spMk id="174" creationId="{F757C84C-C0AD-6041-C708-A72301382D8B}"/>
          </ac:spMkLst>
        </pc:spChg>
        <pc:spChg chg="add del mod modVis">
          <ac:chgData name="Tan, Roger" userId="f6f33758-bd69-4951-8148-181de3b92474" providerId="ADAL" clId="{A436842E-EA5C-4A6D-B51D-DDAE8BC6E9BD}" dt="2023-11-07T08:47:23.569" v="71614"/>
          <ac:spMkLst>
            <pc:docMk/>
            <pc:sldMk cId="425422822" sldId="393"/>
            <ac:spMk id="177" creationId="{9F9931A8-2AD4-1920-8317-4445D1937ACA}"/>
          </ac:spMkLst>
        </pc:spChg>
        <pc:spChg chg="add del mod modVis">
          <ac:chgData name="Tan, Roger" userId="f6f33758-bd69-4951-8148-181de3b92474" providerId="ADAL" clId="{A436842E-EA5C-4A6D-B51D-DDAE8BC6E9BD}" dt="2023-11-07T08:47:28.270" v="71725"/>
          <ac:spMkLst>
            <pc:docMk/>
            <pc:sldMk cId="425422822" sldId="393"/>
            <ac:spMk id="179" creationId="{13618206-046A-7E25-8F4C-1AAAAEF49F8F}"/>
          </ac:spMkLst>
        </pc:spChg>
        <pc:spChg chg="add del mod modVis">
          <ac:chgData name="Tan, Roger" userId="f6f33758-bd69-4951-8148-181de3b92474" providerId="ADAL" clId="{A436842E-EA5C-4A6D-B51D-DDAE8BC6E9BD}" dt="2023-11-07T08:47:33.243" v="71906"/>
          <ac:spMkLst>
            <pc:docMk/>
            <pc:sldMk cId="425422822" sldId="393"/>
            <ac:spMk id="181" creationId="{D796CB84-26C6-1A3F-95A5-C6B27E0DDF92}"/>
          </ac:spMkLst>
        </pc:spChg>
        <pc:spChg chg="add del mod modVis">
          <ac:chgData name="Tan, Roger" userId="f6f33758-bd69-4951-8148-181de3b92474" providerId="ADAL" clId="{A436842E-EA5C-4A6D-B51D-DDAE8BC6E9BD}" dt="2023-11-07T08:47:36.529" v="72017"/>
          <ac:spMkLst>
            <pc:docMk/>
            <pc:sldMk cId="425422822" sldId="393"/>
            <ac:spMk id="183" creationId="{C91AD68F-D0A7-C099-1CFE-B79040EDA9A3}"/>
          </ac:spMkLst>
        </pc:spChg>
        <pc:spChg chg="add del mod modVis">
          <ac:chgData name="Tan, Roger" userId="f6f33758-bd69-4951-8148-181de3b92474" providerId="ADAL" clId="{A436842E-EA5C-4A6D-B51D-DDAE8BC6E9BD}" dt="2023-11-07T08:47:41.510" v="72124"/>
          <ac:spMkLst>
            <pc:docMk/>
            <pc:sldMk cId="425422822" sldId="393"/>
            <ac:spMk id="185" creationId="{E6796792-274D-8D42-D368-2B6986D03F3A}"/>
          </ac:spMkLst>
        </pc:spChg>
        <pc:spChg chg="add del mod modVis">
          <ac:chgData name="Tan, Roger" userId="f6f33758-bd69-4951-8148-181de3b92474" providerId="ADAL" clId="{A436842E-EA5C-4A6D-B51D-DDAE8BC6E9BD}" dt="2023-11-07T08:47:44.622" v="72235"/>
          <ac:spMkLst>
            <pc:docMk/>
            <pc:sldMk cId="425422822" sldId="393"/>
            <ac:spMk id="187" creationId="{148F3C00-84F9-30D6-8E2F-6E6299AD2E79}"/>
          </ac:spMkLst>
        </pc:spChg>
        <pc:spChg chg="mod">
          <ac:chgData name="Tan, Roger" userId="f6f33758-bd69-4951-8148-181de3b92474" providerId="ADAL" clId="{A436842E-EA5C-4A6D-B51D-DDAE8BC6E9BD}" dt="2023-11-07T08:47:44.613" v="72205"/>
          <ac:spMkLst>
            <pc:docMk/>
            <pc:sldMk cId="425422822" sldId="393"/>
            <ac:spMk id="205" creationId="{E5CEEBDA-EB0A-7B21-7F69-90CC1659879E}"/>
          </ac:spMkLst>
        </pc:spChg>
        <pc:spChg chg="del mod">
          <ac:chgData name="Tan, Roger" userId="f6f33758-bd69-4951-8148-181de3b92474" providerId="ADAL" clId="{A436842E-EA5C-4A6D-B51D-DDAE8BC6E9BD}" dt="2023-11-06T20:43:39.920" v="25301"/>
          <ac:spMkLst>
            <pc:docMk/>
            <pc:sldMk cId="425422822" sldId="393"/>
            <ac:spMk id="209" creationId="{B1D486CF-B225-C706-0A74-339291291955}"/>
          </ac:spMkLst>
        </pc:spChg>
        <pc:spChg chg="del mod">
          <ac:chgData name="Tan, Roger" userId="f6f33758-bd69-4951-8148-181de3b92474" providerId="ADAL" clId="{A436842E-EA5C-4A6D-B51D-DDAE8BC6E9BD}" dt="2023-11-06T20:43:39.919" v="25300"/>
          <ac:spMkLst>
            <pc:docMk/>
            <pc:sldMk cId="425422822" sldId="393"/>
            <ac:spMk id="210" creationId="{8BE9A6B1-268C-81ED-636F-FED860E11FE5}"/>
          </ac:spMkLst>
        </pc:spChg>
        <pc:spChg chg="del mod ord">
          <ac:chgData name="Tan, Roger" userId="f6f33758-bd69-4951-8148-181de3b92474" providerId="ADAL" clId="{A436842E-EA5C-4A6D-B51D-DDAE8BC6E9BD}" dt="2023-11-07T17:10:59.758" v="73461" actId="478"/>
          <ac:spMkLst>
            <pc:docMk/>
            <pc:sldMk cId="425422822" sldId="393"/>
            <ac:spMk id="228" creationId="{D2D10EBA-82D0-AF9D-12E9-3F8D82B8B2F4}"/>
          </ac:spMkLst>
        </pc:spChg>
        <pc:spChg chg="mod">
          <ac:chgData name="Tan, Roger" userId="f6f33758-bd69-4951-8148-181de3b92474" providerId="ADAL" clId="{A436842E-EA5C-4A6D-B51D-DDAE8BC6E9BD}" dt="2023-11-07T08:47:44.612" v="72202"/>
          <ac:spMkLst>
            <pc:docMk/>
            <pc:sldMk cId="425422822" sldId="393"/>
            <ac:spMk id="326" creationId="{6A98CF09-09E3-75F6-57DC-64E1E1678C47}"/>
          </ac:spMkLst>
        </pc:spChg>
        <pc:spChg chg="del mod">
          <ac:chgData name="Tan, Roger" userId="f6f33758-bd69-4951-8148-181de3b92474" providerId="ADAL" clId="{A436842E-EA5C-4A6D-B51D-DDAE8BC6E9BD}" dt="2023-11-06T20:43:20.692" v="24676"/>
          <ac:spMkLst>
            <pc:docMk/>
            <pc:sldMk cId="425422822" sldId="393"/>
            <ac:spMk id="347" creationId="{D7EE0142-84EA-00B4-12F0-E99955714E39}"/>
          </ac:spMkLst>
        </pc:spChg>
        <pc:spChg chg="del mod">
          <ac:chgData name="Tan, Roger" userId="f6f33758-bd69-4951-8148-181de3b92474" providerId="ADAL" clId="{A436842E-EA5C-4A6D-B51D-DDAE8BC6E9BD}" dt="2023-11-06T20:43:20.632" v="24614"/>
          <ac:spMkLst>
            <pc:docMk/>
            <pc:sldMk cId="425422822" sldId="393"/>
            <ac:spMk id="349" creationId="{A76A559D-2B97-B8F7-261A-DCBEB02238BE}"/>
          </ac:spMkLst>
        </pc:spChg>
        <pc:spChg chg="del mod">
          <ac:chgData name="Tan, Roger" userId="f6f33758-bd69-4951-8148-181de3b92474" providerId="ADAL" clId="{A436842E-EA5C-4A6D-B51D-DDAE8BC6E9BD}" dt="2023-11-06T20:43:20.632" v="24613"/>
          <ac:spMkLst>
            <pc:docMk/>
            <pc:sldMk cId="425422822" sldId="393"/>
            <ac:spMk id="351" creationId="{7D939C04-B553-1E0F-DC1A-8CA2E17661D9}"/>
          </ac:spMkLst>
        </pc:spChg>
        <pc:spChg chg="del mod">
          <ac:chgData name="Tan, Roger" userId="f6f33758-bd69-4951-8148-181de3b92474" providerId="ADAL" clId="{A436842E-EA5C-4A6D-B51D-DDAE8BC6E9BD}" dt="2023-11-06T20:43:20.631" v="24612"/>
          <ac:spMkLst>
            <pc:docMk/>
            <pc:sldMk cId="425422822" sldId="393"/>
            <ac:spMk id="353" creationId="{0481DB49-15F2-10A4-78FC-C690892073C6}"/>
          </ac:spMkLst>
        </pc:spChg>
        <pc:spChg chg="del mod">
          <ac:chgData name="Tan, Roger" userId="f6f33758-bd69-4951-8148-181de3b92474" providerId="ADAL" clId="{A436842E-EA5C-4A6D-B51D-DDAE8BC6E9BD}" dt="2023-11-06T20:43:20.631" v="24611"/>
          <ac:spMkLst>
            <pc:docMk/>
            <pc:sldMk cId="425422822" sldId="393"/>
            <ac:spMk id="355" creationId="{A325FF59-6EBB-EAE7-D536-FD31EECD17DD}"/>
          </ac:spMkLst>
        </pc:spChg>
        <pc:spChg chg="del">
          <ac:chgData name="Tan, Roger" userId="f6f33758-bd69-4951-8148-181de3b92474" providerId="ADAL" clId="{A436842E-EA5C-4A6D-B51D-DDAE8BC6E9BD}" dt="2023-11-06T20:41:44.974" v="22776" actId="478"/>
          <ac:spMkLst>
            <pc:docMk/>
            <pc:sldMk cId="425422822" sldId="393"/>
            <ac:spMk id="413" creationId="{B284629E-A277-50AA-F5B6-F339E5B5BAFC}"/>
          </ac:spMkLst>
        </pc:spChg>
        <pc:spChg chg="del">
          <ac:chgData name="Tan, Roger" userId="f6f33758-bd69-4951-8148-181de3b92474" providerId="ADAL" clId="{A436842E-EA5C-4A6D-B51D-DDAE8BC6E9BD}" dt="2023-11-06T20:41:46.535" v="22777" actId="478"/>
          <ac:spMkLst>
            <pc:docMk/>
            <pc:sldMk cId="425422822" sldId="393"/>
            <ac:spMk id="414" creationId="{18941C1B-4A0F-B3F9-2D57-5E8388C45260}"/>
          </ac:spMkLst>
        </pc:spChg>
        <pc:spChg chg="del mod ord">
          <ac:chgData name="Tan, Roger" userId="f6f33758-bd69-4951-8148-181de3b92474" providerId="ADAL" clId="{A436842E-EA5C-4A6D-B51D-DDAE8BC6E9BD}" dt="2023-11-07T08:43:42.592" v="68615" actId="478"/>
          <ac:spMkLst>
            <pc:docMk/>
            <pc:sldMk cId="425422822" sldId="393"/>
            <ac:spMk id="445" creationId="{8EB04C8D-FDD6-9561-FE68-1FC384A0B609}"/>
          </ac:spMkLst>
        </pc:spChg>
        <pc:spChg chg="add del mod replST">
          <ac:chgData name="Tan, Roger" userId="f6f33758-bd69-4951-8148-181de3b92474" providerId="ADAL" clId="{A436842E-EA5C-4A6D-B51D-DDAE8BC6E9BD}" dt="2023-11-07T08:37:33.645" v="63342"/>
          <ac:spMkLst>
            <pc:docMk/>
            <pc:sldMk cId="425422822" sldId="393"/>
            <ac:spMk id="449" creationId="{DE50E801-3879-CBAC-9318-8B356CDB29D1}"/>
          </ac:spMkLst>
        </pc:spChg>
        <pc:spChg chg="add mod replST">
          <ac:chgData name="Tan, Roger" userId="f6f33758-bd69-4951-8148-181de3b92474" providerId="ADAL" clId="{A436842E-EA5C-4A6D-B51D-DDAE8BC6E9BD}" dt="2023-11-07T08:47:44.615" v="72209"/>
          <ac:spMkLst>
            <pc:docMk/>
            <pc:sldMk cId="425422822" sldId="393"/>
            <ac:spMk id="450" creationId="{F3FC4E6B-1A52-C499-A7F3-F11FBF0B3409}"/>
          </ac:spMkLst>
        </pc:spChg>
        <pc:spChg chg="add del mod modVis">
          <ac:chgData name="Tan, Roger" userId="f6f33758-bd69-4951-8148-181de3b92474" providerId="ADAL" clId="{A436842E-EA5C-4A6D-B51D-DDAE8BC6E9BD}" dt="2023-11-07T08:39:35.612" v="65590"/>
          <ac:spMkLst>
            <pc:docMk/>
            <pc:sldMk cId="425422822" sldId="393"/>
            <ac:spMk id="451" creationId="{65CD38C7-72C1-A80F-F354-D0BE519DA8EC}"/>
          </ac:spMkLst>
        </pc:spChg>
        <pc:spChg chg="del mod ord">
          <ac:chgData name="Tan, Roger" userId="f6f33758-bd69-4951-8148-181de3b92474" providerId="ADAL" clId="{A436842E-EA5C-4A6D-B51D-DDAE8BC6E9BD}" dt="2023-11-06T20:45:02.464" v="26797" actId="478"/>
          <ac:spMkLst>
            <pc:docMk/>
            <pc:sldMk cId="425422822" sldId="393"/>
            <ac:spMk id="451" creationId="{F2E4C5CA-6943-EF81-260A-3B13BF63C055}"/>
          </ac:spMkLst>
        </pc:spChg>
        <pc:spChg chg="add del mod replST">
          <ac:chgData name="Tan, Roger" userId="f6f33758-bd69-4951-8148-181de3b92474" providerId="ADAL" clId="{A436842E-EA5C-4A6D-B51D-DDAE8BC6E9BD}" dt="2023-11-07T08:37:33.645" v="63343"/>
          <ac:spMkLst>
            <pc:docMk/>
            <pc:sldMk cId="425422822" sldId="393"/>
            <ac:spMk id="453" creationId="{B53E9942-7CD5-027F-9A67-88568EE83639}"/>
          </ac:spMkLst>
        </pc:spChg>
        <pc:spChg chg="add mod replST">
          <ac:chgData name="Tan, Roger" userId="f6f33758-bd69-4951-8148-181de3b92474" providerId="ADAL" clId="{A436842E-EA5C-4A6D-B51D-DDAE8BC6E9BD}" dt="2023-11-07T08:47:44.615" v="72210"/>
          <ac:spMkLst>
            <pc:docMk/>
            <pc:sldMk cId="425422822" sldId="393"/>
            <ac:spMk id="454" creationId="{E8F3723B-534A-603B-0967-33230DB0A5DB}"/>
          </ac:spMkLst>
        </pc:spChg>
        <pc:spChg chg="add del mod replST">
          <ac:chgData name="Tan, Roger" userId="f6f33758-bd69-4951-8148-181de3b92474" providerId="ADAL" clId="{A436842E-EA5C-4A6D-B51D-DDAE8BC6E9BD}" dt="2023-11-07T08:37:33.646" v="63344"/>
          <ac:spMkLst>
            <pc:docMk/>
            <pc:sldMk cId="425422822" sldId="393"/>
            <ac:spMk id="455" creationId="{1297D9CB-C865-7549-7E30-0DC0EFDBB18C}"/>
          </ac:spMkLst>
        </pc:spChg>
        <pc:spChg chg="add del mod modVis">
          <ac:chgData name="Tan, Roger" userId="f6f33758-bd69-4951-8148-181de3b92474" providerId="ADAL" clId="{A436842E-EA5C-4A6D-B51D-DDAE8BC6E9BD}" dt="2023-11-07T08:39:42.418" v="66241"/>
          <ac:spMkLst>
            <pc:docMk/>
            <pc:sldMk cId="425422822" sldId="393"/>
            <ac:spMk id="456" creationId="{015EA3BA-A1FB-D74C-22E4-55EFC21F0636}"/>
          </ac:spMkLst>
        </pc:spChg>
        <pc:spChg chg="add del mod modVis">
          <ac:chgData name="Tan, Roger" userId="f6f33758-bd69-4951-8148-181de3b92474" providerId="ADAL" clId="{A436842E-EA5C-4A6D-B51D-DDAE8BC6E9BD}" dt="2023-11-06T20:44:53.298" v="26574"/>
          <ac:spMkLst>
            <pc:docMk/>
            <pc:sldMk cId="425422822" sldId="393"/>
            <ac:spMk id="457" creationId="{1D931079-EA20-5628-128C-636A8383CCB0}"/>
          </ac:spMkLst>
        </pc:spChg>
        <pc:spChg chg="add del mod replST">
          <ac:chgData name="Tan, Roger" userId="f6f33758-bd69-4951-8148-181de3b92474" providerId="ADAL" clId="{A436842E-EA5C-4A6D-B51D-DDAE8BC6E9BD}" dt="2023-11-07T08:39:43.130" v="66303"/>
          <ac:spMkLst>
            <pc:docMk/>
            <pc:sldMk cId="425422822" sldId="393"/>
            <ac:spMk id="457" creationId="{EC618683-0491-2447-A791-35791921069E}"/>
          </ac:spMkLst>
        </pc:spChg>
        <pc:spChg chg="add del mod replST">
          <ac:chgData name="Tan, Roger" userId="f6f33758-bd69-4951-8148-181de3b92474" providerId="ADAL" clId="{A436842E-EA5C-4A6D-B51D-DDAE8BC6E9BD}" dt="2023-11-07T08:39:43.131" v="66304"/>
          <ac:spMkLst>
            <pc:docMk/>
            <pc:sldMk cId="425422822" sldId="393"/>
            <ac:spMk id="458" creationId="{28492F9E-05B9-7AA6-327A-8D947C35790E}"/>
          </ac:spMkLst>
        </pc:spChg>
        <pc:spChg chg="add del mod replST">
          <ac:chgData name="Tan, Roger" userId="f6f33758-bd69-4951-8148-181de3b92474" providerId="ADAL" clId="{A436842E-EA5C-4A6D-B51D-DDAE8BC6E9BD}" dt="2023-11-07T08:39:43.132" v="66305"/>
          <ac:spMkLst>
            <pc:docMk/>
            <pc:sldMk cId="425422822" sldId="393"/>
            <ac:spMk id="459" creationId="{A944A1C7-65CA-7839-0011-A96013EB7CF2}"/>
          </ac:spMkLst>
        </pc:spChg>
        <pc:spChg chg="add mod replST">
          <ac:chgData name="Tan, Roger" userId="f6f33758-bd69-4951-8148-181de3b92474" providerId="ADAL" clId="{A436842E-EA5C-4A6D-B51D-DDAE8BC6E9BD}" dt="2023-11-07T08:47:44.615" v="72208"/>
          <ac:spMkLst>
            <pc:docMk/>
            <pc:sldMk cId="425422822" sldId="393"/>
            <ac:spMk id="460" creationId="{C1576B1E-AA0F-93AD-3659-D1D059CC4013}"/>
          </ac:spMkLst>
        </pc:spChg>
        <pc:spChg chg="add del mod replST">
          <ac:chgData name="Tan, Roger" userId="f6f33758-bd69-4951-8148-181de3b92474" providerId="ADAL" clId="{A436842E-EA5C-4A6D-B51D-DDAE8BC6E9BD}" dt="2023-11-07T08:39:43.133" v="66306"/>
          <ac:spMkLst>
            <pc:docMk/>
            <pc:sldMk cId="425422822" sldId="393"/>
            <ac:spMk id="461" creationId="{3B1F8CD2-0F63-BD8B-3763-48E2D17F844D}"/>
          </ac:spMkLst>
        </pc:spChg>
        <pc:spChg chg="add del mod replST">
          <ac:chgData name="Tan, Roger" userId="f6f33758-bd69-4951-8148-181de3b92474" providerId="ADAL" clId="{A436842E-EA5C-4A6D-B51D-DDAE8BC6E9BD}" dt="2023-11-07T08:39:43.134" v="66307"/>
          <ac:spMkLst>
            <pc:docMk/>
            <pc:sldMk cId="425422822" sldId="393"/>
            <ac:spMk id="462" creationId="{7040D1CD-C83D-FE00-6EFB-CB0FD4185F18}"/>
          </ac:spMkLst>
        </pc:spChg>
        <pc:spChg chg="add del mod modVis">
          <ac:chgData name="Tan, Roger" userId="f6f33758-bd69-4951-8148-181de3b92474" providerId="ADAL" clId="{A436842E-EA5C-4A6D-B51D-DDAE8BC6E9BD}" dt="2023-11-06T20:44:58.484" v="26700"/>
          <ac:spMkLst>
            <pc:docMk/>
            <pc:sldMk cId="425422822" sldId="393"/>
            <ac:spMk id="462" creationId="{918BF5E5-C675-CF6B-AD32-F62D9529BC46}"/>
          </ac:spMkLst>
        </pc:spChg>
        <pc:spChg chg="add del mod replST">
          <ac:chgData name="Tan, Roger" userId="f6f33758-bd69-4951-8148-181de3b92474" providerId="ADAL" clId="{A436842E-EA5C-4A6D-B51D-DDAE8BC6E9BD}" dt="2023-11-07T08:39:43.135" v="66308"/>
          <ac:spMkLst>
            <pc:docMk/>
            <pc:sldMk cId="425422822" sldId="393"/>
            <ac:spMk id="463" creationId="{BE774A92-18A5-0C57-DAE7-3C4312DF6F91}"/>
          </ac:spMkLst>
        </pc:spChg>
        <pc:spChg chg="add del mod replST">
          <ac:chgData name="Tan, Roger" userId="f6f33758-bd69-4951-8148-181de3b92474" providerId="ADAL" clId="{A436842E-EA5C-4A6D-B51D-DDAE8BC6E9BD}" dt="2023-11-07T08:39:43.135" v="66309"/>
          <ac:spMkLst>
            <pc:docMk/>
            <pc:sldMk cId="425422822" sldId="393"/>
            <ac:spMk id="464" creationId="{03B1612C-3BFB-3840-AF34-5008DD995B8A}"/>
          </ac:spMkLst>
        </pc:spChg>
        <pc:spChg chg="add del mod modVis">
          <ac:chgData name="Tan, Roger" userId="f6f33758-bd69-4951-8148-181de3b92474" providerId="ADAL" clId="{A436842E-EA5C-4A6D-B51D-DDAE8BC6E9BD}" dt="2023-11-06T20:44:59.529" v="26794"/>
          <ac:spMkLst>
            <pc:docMk/>
            <pc:sldMk cId="425422822" sldId="393"/>
            <ac:spMk id="464" creationId="{27F5C9BC-3E26-8CD7-F9E9-8D320C26BC86}"/>
          </ac:spMkLst>
        </pc:spChg>
        <pc:spChg chg="add del mod replST">
          <ac:chgData name="Tan, Roger" userId="f6f33758-bd69-4951-8148-181de3b92474" providerId="ADAL" clId="{A436842E-EA5C-4A6D-B51D-DDAE8BC6E9BD}" dt="2023-11-07T08:39:43.136" v="66310"/>
          <ac:spMkLst>
            <pc:docMk/>
            <pc:sldMk cId="425422822" sldId="393"/>
            <ac:spMk id="465" creationId="{24E6476B-3D32-BAE6-AD4E-DB60EFADF099}"/>
          </ac:spMkLst>
        </pc:spChg>
        <pc:spChg chg="add del mod modVis">
          <ac:chgData name="Tan, Roger" userId="f6f33758-bd69-4951-8148-181de3b92474" providerId="ADAL" clId="{A436842E-EA5C-4A6D-B51D-DDAE8BC6E9BD}" dt="2023-11-06T20:45:09.929" v="26968"/>
          <ac:spMkLst>
            <pc:docMk/>
            <pc:sldMk cId="425422822" sldId="393"/>
            <ac:spMk id="466" creationId="{30674D30-2E7E-C0A3-2B75-FE235E2A6486}"/>
          </ac:spMkLst>
        </pc:spChg>
        <pc:spChg chg="add del mod replST">
          <ac:chgData name="Tan, Roger" userId="f6f33758-bd69-4951-8148-181de3b92474" providerId="ADAL" clId="{A436842E-EA5C-4A6D-B51D-DDAE8BC6E9BD}" dt="2023-11-07T08:39:43.137" v="66311"/>
          <ac:spMkLst>
            <pc:docMk/>
            <pc:sldMk cId="425422822" sldId="393"/>
            <ac:spMk id="466" creationId="{965DBA07-6A3C-9C48-A4D1-1B699ECA6FF4}"/>
          </ac:spMkLst>
        </pc:spChg>
        <pc:spChg chg="add del mod modVis">
          <ac:chgData name="Tan, Roger" userId="f6f33758-bd69-4951-8148-181de3b92474" providerId="ADAL" clId="{A436842E-EA5C-4A6D-B51D-DDAE8BC6E9BD}" dt="2023-11-07T08:39:43.191" v="66357"/>
          <ac:spMkLst>
            <pc:docMk/>
            <pc:sldMk cId="425422822" sldId="393"/>
            <ac:spMk id="468" creationId="{47908295-28AD-EF09-23C9-9EA5378BE40F}"/>
          </ac:spMkLst>
        </pc:spChg>
        <pc:spChg chg="add del mod modVis">
          <ac:chgData name="Tan, Roger" userId="f6f33758-bd69-4951-8148-181de3b92474" providerId="ADAL" clId="{A436842E-EA5C-4A6D-B51D-DDAE8BC6E9BD}" dt="2023-11-06T20:45:14.849" v="27110"/>
          <ac:spMkLst>
            <pc:docMk/>
            <pc:sldMk cId="425422822" sldId="393"/>
            <ac:spMk id="468" creationId="{78874715-3910-CFFA-D83D-C4E1541C2ADE}"/>
          </ac:spMkLst>
        </pc:spChg>
        <pc:spChg chg="add del mod modVis">
          <ac:chgData name="Tan, Roger" userId="f6f33758-bd69-4951-8148-181de3b92474" providerId="ADAL" clId="{A436842E-EA5C-4A6D-B51D-DDAE8BC6E9BD}" dt="2023-11-06T20:45:18.428" v="27252"/>
          <ac:spMkLst>
            <pc:docMk/>
            <pc:sldMk cId="425422822" sldId="393"/>
            <ac:spMk id="470" creationId="{DF2E3DF8-5B3D-B445-E6C2-68AB897B371E}"/>
          </ac:spMkLst>
        </pc:spChg>
        <pc:spChg chg="add del mod modVis">
          <ac:chgData name="Tan, Roger" userId="f6f33758-bd69-4951-8148-181de3b92474" providerId="ADAL" clId="{A436842E-EA5C-4A6D-B51D-DDAE8BC6E9BD}" dt="2023-11-07T08:39:45.508" v="66495"/>
          <ac:spMkLst>
            <pc:docMk/>
            <pc:sldMk cId="425422822" sldId="393"/>
            <ac:spMk id="470" creationId="{ED2F5226-E6CE-391A-D632-DB9B51B84B60}"/>
          </ac:spMkLst>
        </pc:spChg>
        <pc:spChg chg="add del mod modVis">
          <ac:chgData name="Tan, Roger" userId="f6f33758-bd69-4951-8148-181de3b92474" providerId="ADAL" clId="{A436842E-EA5C-4A6D-B51D-DDAE8BC6E9BD}" dt="2023-11-06T20:45:40.369" v="27423"/>
          <ac:spMkLst>
            <pc:docMk/>
            <pc:sldMk cId="425422822" sldId="393"/>
            <ac:spMk id="472" creationId="{7897BCED-E0AF-F126-4A31-F78687A52E64}"/>
          </ac:spMkLst>
        </pc:spChg>
        <pc:spChg chg="add del mod modVis">
          <ac:chgData name="Tan, Roger" userId="f6f33758-bd69-4951-8148-181de3b92474" providerId="ADAL" clId="{A436842E-EA5C-4A6D-B51D-DDAE8BC6E9BD}" dt="2023-11-07T08:39:47.062" v="66611"/>
          <ac:spMkLst>
            <pc:docMk/>
            <pc:sldMk cId="425422822" sldId="393"/>
            <ac:spMk id="472" creationId="{9B641E44-BE85-C701-BB62-4E4407C64377}"/>
          </ac:spMkLst>
        </pc:spChg>
        <pc:spChg chg="add del mod modVis">
          <ac:chgData name="Tan, Roger" userId="f6f33758-bd69-4951-8148-181de3b92474" providerId="ADAL" clId="{A436842E-EA5C-4A6D-B51D-DDAE8BC6E9BD}" dt="2023-11-07T08:39:50.113" v="66729"/>
          <ac:spMkLst>
            <pc:docMk/>
            <pc:sldMk cId="425422822" sldId="393"/>
            <ac:spMk id="474" creationId="{070CE2D0-59D2-FE59-FB65-5349F3A569A0}"/>
          </ac:spMkLst>
        </pc:spChg>
        <pc:spChg chg="add del mod modVis">
          <ac:chgData name="Tan, Roger" userId="f6f33758-bd69-4951-8148-181de3b92474" providerId="ADAL" clId="{A436842E-EA5C-4A6D-B51D-DDAE8BC6E9BD}" dt="2023-11-06T20:45:54.187" v="27590"/>
          <ac:spMkLst>
            <pc:docMk/>
            <pc:sldMk cId="425422822" sldId="393"/>
            <ac:spMk id="474" creationId="{BAF4D980-0484-FAAB-BD45-36A74FE1E7E4}"/>
          </ac:spMkLst>
        </pc:spChg>
        <pc:spChg chg="add del mod replST">
          <ac:chgData name="Tan, Roger" userId="f6f33758-bd69-4951-8148-181de3b92474" providerId="ADAL" clId="{A436842E-EA5C-4A6D-B51D-DDAE8BC6E9BD}" dt="2023-11-07T08:45:11.101" v="69482"/>
          <ac:spMkLst>
            <pc:docMk/>
            <pc:sldMk cId="425422822" sldId="393"/>
            <ac:spMk id="475" creationId="{9F949FD1-1C92-A333-AC3A-722B89358B7F}"/>
          </ac:spMkLst>
        </pc:spChg>
        <pc:spChg chg="add del mod modVis">
          <ac:chgData name="Tan, Roger" userId="f6f33758-bd69-4951-8148-181de3b92474" providerId="ADAL" clId="{A436842E-EA5C-4A6D-B51D-DDAE8BC6E9BD}" dt="2023-11-07T08:39:52.464" v="66847"/>
          <ac:spMkLst>
            <pc:docMk/>
            <pc:sldMk cId="425422822" sldId="393"/>
            <ac:spMk id="477" creationId="{4B99A421-5877-284E-7DAD-C149086583E8}"/>
          </ac:spMkLst>
        </pc:spChg>
        <pc:spChg chg="add del mod modVis">
          <ac:chgData name="Tan, Roger" userId="f6f33758-bd69-4951-8148-181de3b92474" providerId="ADAL" clId="{A436842E-EA5C-4A6D-B51D-DDAE8BC6E9BD}" dt="2023-11-06T20:45:59.669" v="27693"/>
          <ac:spMkLst>
            <pc:docMk/>
            <pc:sldMk cId="425422822" sldId="393"/>
            <ac:spMk id="477" creationId="{D5E9A591-6ADD-7AAF-0C8F-6B416D50C96D}"/>
          </ac:spMkLst>
        </pc:spChg>
        <pc:spChg chg="add del mod modVis">
          <ac:chgData name="Tan, Roger" userId="f6f33758-bd69-4951-8148-181de3b92474" providerId="ADAL" clId="{A436842E-EA5C-4A6D-B51D-DDAE8BC6E9BD}" dt="2023-11-06T20:46:01.618" v="27786"/>
          <ac:spMkLst>
            <pc:docMk/>
            <pc:sldMk cId="425422822" sldId="393"/>
            <ac:spMk id="479" creationId="{3DC7D6F1-BC31-5768-634B-D89582736934}"/>
          </ac:spMkLst>
        </pc:spChg>
        <pc:spChg chg="add del mod modVis">
          <ac:chgData name="Tan, Roger" userId="f6f33758-bd69-4951-8148-181de3b92474" providerId="ADAL" clId="{A436842E-EA5C-4A6D-B51D-DDAE8BC6E9BD}" dt="2023-11-07T08:39:54.927" v="66983"/>
          <ac:spMkLst>
            <pc:docMk/>
            <pc:sldMk cId="425422822" sldId="393"/>
            <ac:spMk id="479" creationId="{76762D55-998D-0A9A-93E5-9D046552CA7B}"/>
          </ac:spMkLst>
        </pc:spChg>
        <pc:spChg chg="add del mod modVis">
          <ac:chgData name="Tan, Roger" userId="f6f33758-bd69-4951-8148-181de3b92474" providerId="ADAL" clId="{A436842E-EA5C-4A6D-B51D-DDAE8BC6E9BD}" dt="2023-11-07T08:39:56.904" v="67121"/>
          <ac:spMkLst>
            <pc:docMk/>
            <pc:sldMk cId="425422822" sldId="393"/>
            <ac:spMk id="481" creationId="{98A9B670-428E-4CA6-A316-AD52BF5B181E}"/>
          </ac:spMkLst>
        </pc:spChg>
        <pc:spChg chg="add del mod modVis">
          <ac:chgData name="Tan, Roger" userId="f6f33758-bd69-4951-8148-181de3b92474" providerId="ADAL" clId="{A436842E-EA5C-4A6D-B51D-DDAE8BC6E9BD}" dt="2023-11-06T20:46:03.156" v="27882"/>
          <ac:spMkLst>
            <pc:docMk/>
            <pc:sldMk cId="425422822" sldId="393"/>
            <ac:spMk id="481" creationId="{B622E6B5-1281-3B44-16EA-663C18E8418B}"/>
          </ac:spMkLst>
        </pc:spChg>
        <pc:spChg chg="add del mod modVis">
          <ac:chgData name="Tan, Roger" userId="f6f33758-bd69-4951-8148-181de3b92474" providerId="ADAL" clId="{A436842E-EA5C-4A6D-B51D-DDAE8BC6E9BD}" dt="2023-11-07T08:39:59.599" v="67229"/>
          <ac:spMkLst>
            <pc:docMk/>
            <pc:sldMk cId="425422822" sldId="393"/>
            <ac:spMk id="483" creationId="{2551678A-EB7F-315E-6D8F-01A58F12375C}"/>
          </ac:spMkLst>
        </pc:spChg>
        <pc:spChg chg="add del mod modVis">
          <ac:chgData name="Tan, Roger" userId="f6f33758-bd69-4951-8148-181de3b92474" providerId="ADAL" clId="{A436842E-EA5C-4A6D-B51D-DDAE8BC6E9BD}" dt="2023-11-06T20:46:10.004" v="27980"/>
          <ac:spMkLst>
            <pc:docMk/>
            <pc:sldMk cId="425422822" sldId="393"/>
            <ac:spMk id="483" creationId="{A1E36F5C-877D-680B-F8D6-311DE9114A53}"/>
          </ac:spMkLst>
        </pc:spChg>
        <pc:spChg chg="add del mod modVis">
          <ac:chgData name="Tan, Roger" userId="f6f33758-bd69-4951-8148-181de3b92474" providerId="ADAL" clId="{A436842E-EA5C-4A6D-B51D-DDAE8BC6E9BD}" dt="2023-11-06T20:46:12.084" v="28076"/>
          <ac:spMkLst>
            <pc:docMk/>
            <pc:sldMk cId="425422822" sldId="393"/>
            <ac:spMk id="485" creationId="{32871169-4486-7C77-7BF3-7AD49BB017E0}"/>
          </ac:spMkLst>
        </pc:spChg>
        <pc:spChg chg="add del mod modVis">
          <ac:chgData name="Tan, Roger" userId="f6f33758-bd69-4951-8148-181de3b92474" providerId="ADAL" clId="{A436842E-EA5C-4A6D-B51D-DDAE8BC6E9BD}" dt="2023-11-07T08:40:57.334" v="67404"/>
          <ac:spMkLst>
            <pc:docMk/>
            <pc:sldMk cId="425422822" sldId="393"/>
            <ac:spMk id="485" creationId="{823FCE42-E86A-6EB2-3D2F-6DF90A7031FE}"/>
          </ac:spMkLst>
        </pc:spChg>
        <pc:spChg chg="add del mod modVis">
          <ac:chgData name="Tan, Roger" userId="f6f33758-bd69-4951-8148-181de3b92474" providerId="ADAL" clId="{A436842E-EA5C-4A6D-B51D-DDAE8BC6E9BD}" dt="2023-11-06T20:46:15.212" v="28171"/>
          <ac:spMkLst>
            <pc:docMk/>
            <pc:sldMk cId="425422822" sldId="393"/>
            <ac:spMk id="487" creationId="{0905B11F-C501-1349-DFEE-5E1E3B4755C8}"/>
          </ac:spMkLst>
        </pc:spChg>
        <pc:spChg chg="add del mod modVis">
          <ac:chgData name="Tan, Roger" userId="f6f33758-bd69-4951-8148-181de3b92474" providerId="ADAL" clId="{A436842E-EA5C-4A6D-B51D-DDAE8BC6E9BD}" dt="2023-11-07T08:41:00.104" v="67584"/>
          <ac:spMkLst>
            <pc:docMk/>
            <pc:sldMk cId="425422822" sldId="393"/>
            <ac:spMk id="487" creationId="{976ED23B-C801-2651-57E6-AF10BA5EF286}"/>
          </ac:spMkLst>
        </pc:spChg>
        <pc:spChg chg="add del mod modVis">
          <ac:chgData name="Tan, Roger" userId="f6f33758-bd69-4951-8148-181de3b92474" providerId="ADAL" clId="{A436842E-EA5C-4A6D-B51D-DDAE8BC6E9BD}" dt="2023-11-07T08:41:08.622" v="67764"/>
          <ac:spMkLst>
            <pc:docMk/>
            <pc:sldMk cId="425422822" sldId="393"/>
            <ac:spMk id="489" creationId="{66311CF9-9023-78EA-445E-75B1C961B2A3}"/>
          </ac:spMkLst>
        </pc:spChg>
        <pc:spChg chg="add del mod modVis">
          <ac:chgData name="Tan, Roger" userId="f6f33758-bd69-4951-8148-181de3b92474" providerId="ADAL" clId="{A436842E-EA5C-4A6D-B51D-DDAE8BC6E9BD}" dt="2023-11-06T20:46:21.155" v="28317"/>
          <ac:spMkLst>
            <pc:docMk/>
            <pc:sldMk cId="425422822" sldId="393"/>
            <ac:spMk id="489" creationId="{EA9270C3-3F9C-BA41-6E0C-3D57880CA3B2}"/>
          </ac:spMkLst>
        </pc:spChg>
        <pc:spChg chg="add del mod modVis">
          <ac:chgData name="Tan, Roger" userId="f6f33758-bd69-4951-8148-181de3b92474" providerId="ADAL" clId="{A436842E-EA5C-4A6D-B51D-DDAE8BC6E9BD}" dt="2023-11-06T20:46:23.377" v="28463"/>
          <ac:spMkLst>
            <pc:docMk/>
            <pc:sldMk cId="425422822" sldId="393"/>
            <ac:spMk id="491" creationId="{2D6D2A9E-980B-3CDB-E800-A6CB1D9D0F5A}"/>
          </ac:spMkLst>
        </pc:spChg>
        <pc:spChg chg="add mod ord">
          <ac:chgData name="Tan, Roger" userId="f6f33758-bd69-4951-8148-181de3b92474" providerId="ADAL" clId="{A436842E-EA5C-4A6D-B51D-DDAE8BC6E9BD}" dt="2023-11-07T08:47:44.620" v="72225"/>
          <ac:spMkLst>
            <pc:docMk/>
            <pc:sldMk cId="425422822" sldId="393"/>
            <ac:spMk id="491" creationId="{AB81E353-7B70-DDB9-24C7-6ECF524B6759}"/>
          </ac:spMkLst>
        </pc:spChg>
        <pc:spChg chg="add mod ord">
          <ac:chgData name="Tan, Roger" userId="f6f33758-bd69-4951-8148-181de3b92474" providerId="ADAL" clId="{A436842E-EA5C-4A6D-B51D-DDAE8BC6E9BD}" dt="2023-11-07T08:51:51.797" v="72244" actId="255"/>
          <ac:spMkLst>
            <pc:docMk/>
            <pc:sldMk cId="425422822" sldId="393"/>
            <ac:spMk id="493" creationId="{47541DBA-ACCB-189D-4274-F05B1EFF130D}"/>
          </ac:spMkLst>
        </pc:spChg>
        <pc:spChg chg="add del mod modVis">
          <ac:chgData name="Tan, Roger" userId="f6f33758-bd69-4951-8148-181de3b92474" providerId="ADAL" clId="{A436842E-EA5C-4A6D-B51D-DDAE8BC6E9BD}" dt="2023-11-06T20:46:25.426" v="28609"/>
          <ac:spMkLst>
            <pc:docMk/>
            <pc:sldMk cId="425422822" sldId="393"/>
            <ac:spMk id="493" creationId="{DDB1D775-5773-419E-2B6A-2CC9451AB625}"/>
          </ac:spMkLst>
        </pc:spChg>
        <pc:spChg chg="add del mod modVis">
          <ac:chgData name="Tan, Roger" userId="f6f33758-bd69-4951-8148-181de3b92474" providerId="ADAL" clId="{A436842E-EA5C-4A6D-B51D-DDAE8BC6E9BD}" dt="2023-11-06T20:46:27.166" v="28727"/>
          <ac:spMkLst>
            <pc:docMk/>
            <pc:sldMk cId="425422822" sldId="393"/>
            <ac:spMk id="495" creationId="{DB0D6D6D-55B3-2A54-11CF-95614A7AE9B5}"/>
          </ac:spMkLst>
        </pc:spChg>
        <pc:spChg chg="add del mod modVis">
          <ac:chgData name="Tan, Roger" userId="f6f33758-bd69-4951-8148-181de3b92474" providerId="ADAL" clId="{A436842E-EA5C-4A6D-B51D-DDAE8BC6E9BD}" dt="2023-11-07T08:41:46.205" v="67902"/>
          <ac:spMkLst>
            <pc:docMk/>
            <pc:sldMk cId="425422822" sldId="393"/>
            <ac:spMk id="495" creationId="{E96A977C-9E26-48E2-EFC3-4CB331E4E944}"/>
          </ac:spMkLst>
        </pc:spChg>
        <pc:spChg chg="add del mod modVis">
          <ac:chgData name="Tan, Roger" userId="f6f33758-bd69-4951-8148-181de3b92474" providerId="ADAL" clId="{A436842E-EA5C-4A6D-B51D-DDAE8BC6E9BD}" dt="2023-11-06T20:46:28.588" v="28845"/>
          <ac:spMkLst>
            <pc:docMk/>
            <pc:sldMk cId="425422822" sldId="393"/>
            <ac:spMk id="497" creationId="{7A15D808-03C3-AE6C-FB96-803FD612E533}"/>
          </ac:spMkLst>
        </pc:spChg>
        <pc:spChg chg="add del mod modVis">
          <ac:chgData name="Tan, Roger" userId="f6f33758-bd69-4951-8148-181de3b92474" providerId="ADAL" clId="{A436842E-EA5C-4A6D-B51D-DDAE8BC6E9BD}" dt="2023-11-07T08:41:49.726" v="68012"/>
          <ac:spMkLst>
            <pc:docMk/>
            <pc:sldMk cId="425422822" sldId="393"/>
            <ac:spMk id="497" creationId="{95FA754D-CBAC-92B9-A0CC-CAD16A568483}"/>
          </ac:spMkLst>
        </pc:spChg>
        <pc:spChg chg="add del mod modVis">
          <ac:chgData name="Tan, Roger" userId="f6f33758-bd69-4951-8148-181de3b92474" providerId="ADAL" clId="{A436842E-EA5C-4A6D-B51D-DDAE8BC6E9BD}" dt="2023-11-06T20:46:31.514" v="28963"/>
          <ac:spMkLst>
            <pc:docMk/>
            <pc:sldMk cId="425422822" sldId="393"/>
            <ac:spMk id="499" creationId="{99323C4B-2675-A777-E1DB-204E145BBC50}"/>
          </ac:spMkLst>
        </pc:spChg>
        <pc:spChg chg="add del mod modVis">
          <ac:chgData name="Tan, Roger" userId="f6f33758-bd69-4951-8148-181de3b92474" providerId="ADAL" clId="{A436842E-EA5C-4A6D-B51D-DDAE8BC6E9BD}" dt="2023-11-07T08:41:52.702" v="68123"/>
          <ac:spMkLst>
            <pc:docMk/>
            <pc:sldMk cId="425422822" sldId="393"/>
            <ac:spMk id="499" creationId="{CB627B2E-1EB2-0C92-81F0-DD542AF67BFB}"/>
          </ac:spMkLst>
        </pc:spChg>
        <pc:spChg chg="add del mod modVis">
          <ac:chgData name="Tan, Roger" userId="f6f33758-bd69-4951-8148-181de3b92474" providerId="ADAL" clId="{A436842E-EA5C-4A6D-B51D-DDAE8BC6E9BD}" dt="2023-11-06T20:46:33.870" v="29081"/>
          <ac:spMkLst>
            <pc:docMk/>
            <pc:sldMk cId="425422822" sldId="393"/>
            <ac:spMk id="501" creationId="{C6EFB9BF-280E-62D8-1BBF-70767362FFB0}"/>
          </ac:spMkLst>
        </pc:spChg>
        <pc:spChg chg="add del mod modVis">
          <ac:chgData name="Tan, Roger" userId="f6f33758-bd69-4951-8148-181de3b92474" providerId="ADAL" clId="{A436842E-EA5C-4A6D-B51D-DDAE8BC6E9BD}" dt="2023-11-07T08:41:55.885" v="68234"/>
          <ac:spMkLst>
            <pc:docMk/>
            <pc:sldMk cId="425422822" sldId="393"/>
            <ac:spMk id="501" creationId="{D0F004B2-C553-6086-8013-7A6A1768403E}"/>
          </ac:spMkLst>
        </pc:spChg>
        <pc:spChg chg="add del mod modVis">
          <ac:chgData name="Tan, Roger" userId="f6f33758-bd69-4951-8148-181de3b92474" providerId="ADAL" clId="{A436842E-EA5C-4A6D-B51D-DDAE8BC6E9BD}" dt="2023-11-06T20:46:48.999" v="29229"/>
          <ac:spMkLst>
            <pc:docMk/>
            <pc:sldMk cId="425422822" sldId="393"/>
            <ac:spMk id="503" creationId="{A378FAD2-4FC9-0645-4205-74E7BA34C2AB}"/>
          </ac:spMkLst>
        </pc:spChg>
        <pc:spChg chg="add del mod modVis">
          <ac:chgData name="Tan, Roger" userId="f6f33758-bd69-4951-8148-181de3b92474" providerId="ADAL" clId="{A436842E-EA5C-4A6D-B51D-DDAE8BC6E9BD}" dt="2023-11-07T08:41:59.556" v="68346"/>
          <ac:spMkLst>
            <pc:docMk/>
            <pc:sldMk cId="425422822" sldId="393"/>
            <ac:spMk id="503" creationId="{CF9E0516-BAB5-1243-27D9-AAD9CB992CDB}"/>
          </ac:spMkLst>
        </pc:spChg>
        <pc:spChg chg="add del mod modVis">
          <ac:chgData name="Tan, Roger" userId="f6f33758-bd69-4951-8148-181de3b92474" providerId="ADAL" clId="{A436842E-EA5C-4A6D-B51D-DDAE8BC6E9BD}" dt="2023-11-06T20:46:56.644" v="29376"/>
          <ac:spMkLst>
            <pc:docMk/>
            <pc:sldMk cId="425422822" sldId="393"/>
            <ac:spMk id="505" creationId="{486DE711-49D5-77AB-6E84-3EC2FE49ECAE}"/>
          </ac:spMkLst>
        </pc:spChg>
        <pc:spChg chg="add del mod modVis">
          <ac:chgData name="Tan, Roger" userId="f6f33758-bd69-4951-8148-181de3b92474" providerId="ADAL" clId="{A436842E-EA5C-4A6D-B51D-DDAE8BC6E9BD}" dt="2023-11-07T08:42:01.683" v="68459"/>
          <ac:spMkLst>
            <pc:docMk/>
            <pc:sldMk cId="425422822" sldId="393"/>
            <ac:spMk id="505" creationId="{78EC0AAF-48AD-2F02-F92B-414CC268638B}"/>
          </ac:spMkLst>
        </pc:spChg>
        <pc:spChg chg="add del mod modVis">
          <ac:chgData name="Tan, Roger" userId="f6f33758-bd69-4951-8148-181de3b92474" providerId="ADAL" clId="{A436842E-EA5C-4A6D-B51D-DDAE8BC6E9BD}" dt="2023-11-06T20:46:58.496" v="29492"/>
          <ac:spMkLst>
            <pc:docMk/>
            <pc:sldMk cId="425422822" sldId="393"/>
            <ac:spMk id="507" creationId="{D2BC3BEA-543B-C7CA-37A0-BEB7277C1D64}"/>
          </ac:spMkLst>
        </pc:spChg>
        <pc:spChg chg="add del mod modVis">
          <ac:chgData name="Tan, Roger" userId="f6f33758-bd69-4951-8148-181de3b92474" providerId="ADAL" clId="{A436842E-EA5C-4A6D-B51D-DDAE8BC6E9BD}" dt="2023-11-06T20:47:02.293" v="29548"/>
          <ac:spMkLst>
            <pc:docMk/>
            <pc:sldMk cId="425422822" sldId="393"/>
            <ac:spMk id="509" creationId="{9D717956-97BF-B3BD-0741-86F94826A589}"/>
          </ac:spMkLst>
        </pc:spChg>
        <pc:spChg chg="add del mod modVis">
          <ac:chgData name="Tan, Roger" userId="f6f33758-bd69-4951-8148-181de3b92474" providerId="ADAL" clId="{A436842E-EA5C-4A6D-B51D-DDAE8BC6E9BD}" dt="2023-11-06T20:47:05.523" v="29604"/>
          <ac:spMkLst>
            <pc:docMk/>
            <pc:sldMk cId="425422822" sldId="393"/>
            <ac:spMk id="510" creationId="{7142256F-63C3-57BD-7D2E-1F902475206A}"/>
          </ac:spMkLst>
        </pc:spChg>
        <pc:spChg chg="add del mod modVis">
          <ac:chgData name="Tan, Roger" userId="f6f33758-bd69-4951-8148-181de3b92474" providerId="ADAL" clId="{A436842E-EA5C-4A6D-B51D-DDAE8BC6E9BD}" dt="2023-11-07T08:44:34.521" v="68740"/>
          <ac:spMkLst>
            <pc:docMk/>
            <pc:sldMk cId="425422822" sldId="393"/>
            <ac:spMk id="510" creationId="{CB550100-66AB-9E54-9517-C2B822EA6AA2}"/>
          </ac:spMkLst>
        </pc:spChg>
        <pc:spChg chg="add del mod modVis">
          <ac:chgData name="Tan, Roger" userId="f6f33758-bd69-4951-8148-181de3b92474" providerId="ADAL" clId="{A436842E-EA5C-4A6D-B51D-DDAE8BC6E9BD}" dt="2023-11-06T20:47:18.292" v="29686"/>
          <ac:spMkLst>
            <pc:docMk/>
            <pc:sldMk cId="425422822" sldId="393"/>
            <ac:spMk id="511" creationId="{8FF01A53-9129-5CDC-9051-1D1053AACB69}"/>
          </ac:spMkLst>
        </pc:spChg>
        <pc:graphicFrameChg chg="add del mod replST">
          <ac:chgData name="Tan, Roger" userId="f6f33758-bd69-4951-8148-181de3b92474" providerId="ADAL" clId="{A436842E-EA5C-4A6D-B51D-DDAE8BC6E9BD}" dt="2023-11-07T08:37:16.190" v="63097"/>
          <ac:graphicFrameMkLst>
            <pc:docMk/>
            <pc:sldMk cId="425422822" sldId="393"/>
            <ac:graphicFrameMk id="2" creationId="{A4877463-2014-FA01-BD4E-D36A74355D0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2:17.382" v="23866"/>
          <ac:graphicFrameMkLst>
            <pc:docMk/>
            <pc:sldMk cId="425422822" sldId="393"/>
            <ac:graphicFrameMk id="4" creationId="{702A35C0-E066-E74B-A7A1-21FC368A0CCA}"/>
          </ac:graphicFrameMkLst>
        </pc:graphicFrameChg>
        <pc:graphicFrameChg chg="mod">
          <ac:chgData name="Tan, Roger" userId="f6f33758-bd69-4951-8148-181de3b92474" providerId="ADAL" clId="{A436842E-EA5C-4A6D-B51D-DDAE8BC6E9BD}" dt="2023-11-07T08:47:44.630" v="72237"/>
          <ac:graphicFrameMkLst>
            <pc:docMk/>
            <pc:sldMk cId="425422822" sldId="393"/>
            <ac:graphicFrameMk id="16" creationId="{B4FC88EE-B108-1D0C-322C-A0E9684DBFB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2:17.484" v="23996"/>
          <ac:graphicFrameMkLst>
            <pc:docMk/>
            <pc:sldMk cId="425422822" sldId="393"/>
            <ac:graphicFrameMk id="21" creationId="{107DA91F-6705-38B1-4C8F-832693E56F0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2:39.666" v="24124"/>
          <ac:graphicFrameMkLst>
            <pc:docMk/>
            <pc:sldMk cId="425422822" sldId="393"/>
            <ac:graphicFrameMk id="23" creationId="{7DFE58A0-C79C-B0CB-59BE-0F96849C54D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25.844" v="63272"/>
          <ac:graphicFrameMkLst>
            <pc:docMk/>
            <pc:sldMk cId="425422822" sldId="393"/>
            <ac:graphicFrameMk id="23" creationId="{8CC1D037-1BE3-0FE0-7C6E-FD2D1C77A64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37.837" v="63592"/>
          <ac:graphicFrameMkLst>
            <pc:docMk/>
            <pc:sldMk cId="425422822" sldId="393"/>
            <ac:graphicFrameMk id="25" creationId="{7513F941-D2AC-CFAD-AB2B-94D9255D990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2:52.283" v="24252"/>
          <ac:graphicFrameMkLst>
            <pc:docMk/>
            <pc:sldMk cId="425422822" sldId="393"/>
            <ac:graphicFrameMk id="25" creationId="{93E2609B-3F7F-F4D7-0139-84CC144332E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03.849" v="24380"/>
          <ac:graphicFrameMkLst>
            <pc:docMk/>
            <pc:sldMk cId="425422822" sldId="393"/>
            <ac:graphicFrameMk id="27" creationId="{7B3E6A1D-0F14-C35E-451D-A2FAE3EF3AF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02.036" v="64510"/>
          <ac:graphicFrameMkLst>
            <pc:docMk/>
            <pc:sldMk cId="425422822" sldId="393"/>
            <ac:graphicFrameMk id="27" creationId="{BE66CFAF-39B7-131F-9FF8-0938A3AACC5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11.512" v="24508"/>
          <ac:graphicFrameMkLst>
            <pc:docMk/>
            <pc:sldMk cId="425422822" sldId="393"/>
            <ac:graphicFrameMk id="30" creationId="{51B515C3-7C3F-77AC-7966-804A76B0AB3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41.359" v="63726"/>
          <ac:graphicFrameMkLst>
            <pc:docMk/>
            <pc:sldMk cId="425422822" sldId="393"/>
            <ac:graphicFrameMk id="30" creationId="{6E0D96DC-D5D0-C868-28D7-B7EEA928F74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20.696" v="24680"/>
          <ac:graphicFrameMkLst>
            <pc:docMk/>
            <pc:sldMk cId="425422822" sldId="393"/>
            <ac:graphicFrameMk id="33" creationId="{1C11E24A-AC61-5CAD-1B35-8D3C32FE11E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42.946" v="63860"/>
          <ac:graphicFrameMkLst>
            <pc:docMk/>
            <pc:sldMk cId="425422822" sldId="393"/>
            <ac:graphicFrameMk id="33" creationId="{68B95AE4-0126-2C0F-C223-038346080B1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44.192" v="63994"/>
          <ac:graphicFrameMkLst>
            <pc:docMk/>
            <pc:sldMk cId="425422822" sldId="393"/>
            <ac:graphicFrameMk id="36" creationId="{6484E6ED-14D6-AE05-51BA-DB7AA78DE55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22.457" v="24824"/>
          <ac:graphicFrameMkLst>
            <pc:docMk/>
            <pc:sldMk cId="425422822" sldId="393"/>
            <ac:graphicFrameMk id="36" creationId="{C91E8BF0-8903-1946-68D9-45F050CC25B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8:47.933" v="64205"/>
          <ac:graphicFrameMkLst>
            <pc:docMk/>
            <pc:sldMk cId="425422822" sldId="393"/>
            <ac:graphicFrameMk id="38" creationId="{608DD8F0-AF6E-FCBB-36CD-F92FA1BD481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24.041" v="24924"/>
          <ac:graphicFrameMkLst>
            <pc:docMk/>
            <pc:sldMk cId="425422822" sldId="393"/>
            <ac:graphicFrameMk id="39" creationId="{B203C4C7-CCA4-DB8B-45D6-FC909630D29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8:56.464" v="64347"/>
          <ac:graphicFrameMkLst>
            <pc:docMk/>
            <pc:sldMk cId="425422822" sldId="393"/>
            <ac:graphicFrameMk id="40" creationId="{97BBF07D-5052-70FF-C91C-4949A01C959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26.390" v="25026"/>
          <ac:graphicFrameMkLst>
            <pc:docMk/>
            <pc:sldMk cId="425422822" sldId="393"/>
            <ac:graphicFrameMk id="41" creationId="{23C0C83C-25B4-542E-2769-30FB73D79E2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12.679" v="64780"/>
          <ac:graphicFrameMkLst>
            <pc:docMk/>
            <pc:sldMk cId="425422822" sldId="393"/>
            <ac:graphicFrameMk id="42" creationId="{23E4C269-8F89-6F5F-881E-C9CB5E83651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33.390" v="25204"/>
          <ac:graphicFrameMkLst>
            <pc:docMk/>
            <pc:sldMk cId="425422822" sldId="393"/>
            <ac:graphicFrameMk id="43" creationId="{C5F4029D-DCD4-FDCF-1CAC-360AC650EAC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08.008" v="64653"/>
          <ac:graphicFrameMkLst>
            <pc:docMk/>
            <pc:sldMk cId="425422822" sldId="393"/>
            <ac:graphicFrameMk id="45" creationId="{502F13D9-AE39-3633-25F8-B6546DB8B42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48.939" v="25376"/>
          <ac:graphicFrameMkLst>
            <pc:docMk/>
            <pc:sldMk cId="425422822" sldId="393"/>
            <ac:graphicFrameMk id="47" creationId="{CAA49952-9607-E603-9861-904D926A6D2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22.591" v="65256"/>
          <ac:graphicFrameMkLst>
            <pc:docMk/>
            <pc:sldMk cId="425422822" sldId="393"/>
            <ac:graphicFrameMk id="50" creationId="{932343ED-E2F3-53B1-34BC-D3F16D4221D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3:57.207" v="25455"/>
          <ac:graphicFrameMkLst>
            <pc:docMk/>
            <pc:sldMk cId="425422822" sldId="393"/>
            <ac:graphicFrameMk id="51" creationId="{5159FC5A-F43A-E726-92DD-68EB516305A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14.917" v="64896"/>
          <ac:graphicFrameMkLst>
            <pc:docMk/>
            <pc:sldMk cId="425422822" sldId="393"/>
            <ac:graphicFrameMk id="52" creationId="{2050B62C-C95C-7CBE-8EC3-569BADC7C3F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03.207" v="25535"/>
          <ac:graphicFrameMkLst>
            <pc:docMk/>
            <pc:sldMk cId="425422822" sldId="393"/>
            <ac:graphicFrameMk id="53" creationId="{4C923912-A3C8-EC0A-E991-637A095DDC4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16.343" v="65012"/>
          <ac:graphicFrameMkLst>
            <pc:docMk/>
            <pc:sldMk cId="425422822" sldId="393"/>
            <ac:graphicFrameMk id="54" creationId="{3B45CD85-BA7D-A7B4-FE40-DB1EBD59176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38.157" v="25752"/>
          <ac:graphicFrameMkLst>
            <pc:docMk/>
            <pc:sldMk cId="425422822" sldId="393"/>
            <ac:graphicFrameMk id="55" creationId="{6A80FC92-6FF6-AB12-F1A8-54D921ED717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20.108" v="65150"/>
          <ac:graphicFrameMkLst>
            <pc:docMk/>
            <pc:sldMk cId="425422822" sldId="393"/>
            <ac:graphicFrameMk id="56" creationId="{C745FA18-CEA8-1BAB-2200-CBF099FF69B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38.953" v="25843"/>
          <ac:graphicFrameMkLst>
            <pc:docMk/>
            <pc:sldMk cId="425422822" sldId="393"/>
            <ac:graphicFrameMk id="58" creationId="{06040D22-B400-B9BB-D208-418652B767C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42.382" v="66188"/>
          <ac:graphicFrameMkLst>
            <pc:docMk/>
            <pc:sldMk cId="425422822" sldId="393"/>
            <ac:graphicFrameMk id="58" creationId="{08BE78F9-6729-7B88-2848-FF330DF14A7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27.121" v="65392"/>
          <ac:graphicFrameMkLst>
            <pc:docMk/>
            <pc:sldMk cId="425422822" sldId="393"/>
            <ac:graphicFrameMk id="60" creationId="{00CF1CC7-7052-CF8C-5FD8-41EFD9E2909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49.730" v="26356"/>
          <ac:graphicFrameMkLst>
            <pc:docMk/>
            <pc:sldMk cId="425422822" sldId="393"/>
            <ac:graphicFrameMk id="60" creationId="{0AECA85D-4B05-4244-C605-3313933BAE9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03.352" v="69435"/>
          <ac:graphicFrameMkLst>
            <pc:docMk/>
            <pc:sldMk cId="425422822" sldId="393"/>
            <ac:graphicFrameMk id="129" creationId="{603A1E74-CEBB-08BC-24BF-60C9F143D2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7:50.783" v="30545"/>
          <ac:graphicFrameMkLst>
            <pc:docMk/>
            <pc:sldMk cId="425422822" sldId="393"/>
            <ac:graphicFrameMk id="131" creationId="{0FA70564-E79A-EF4B-E097-ACC76171B4C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4:48.191" v="69087"/>
          <ac:graphicFrameMkLst>
            <pc:docMk/>
            <pc:sldMk cId="425422822" sldId="393"/>
            <ac:graphicFrameMk id="131" creationId="{C1FC324F-2242-D0CE-1D7C-A94551427A7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4:59.395" v="69205"/>
          <ac:graphicFrameMkLst>
            <pc:docMk/>
            <pc:sldMk cId="425422822" sldId="393"/>
            <ac:graphicFrameMk id="133" creationId="{3DC40E5A-F633-EC14-81E7-F4B11754D26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00.631" v="69319"/>
          <ac:graphicFrameMkLst>
            <pc:docMk/>
            <pc:sldMk cId="425422822" sldId="393"/>
            <ac:graphicFrameMk id="135" creationId="{00DC8C54-4ECA-91CE-8616-E67DA32E021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11.161" v="69529"/>
          <ac:graphicFrameMkLst>
            <pc:docMk/>
            <pc:sldMk cId="425422822" sldId="393"/>
            <ac:graphicFrameMk id="137" creationId="{D8A9B2BB-1B01-59AA-8052-46DDC61F6F5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12.826" v="69627"/>
          <ac:graphicFrameMkLst>
            <pc:docMk/>
            <pc:sldMk cId="425422822" sldId="393"/>
            <ac:graphicFrameMk id="139" creationId="{EE36C4E2-AE59-498D-0731-1C3E8D1C212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24.677" v="69920"/>
          <ac:graphicFrameMkLst>
            <pc:docMk/>
            <pc:sldMk cId="425422822" sldId="393"/>
            <ac:graphicFrameMk id="141" creationId="{F5E0FAED-4D1A-A205-5BD3-C5C7E45225F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7:51.729" v="30663"/>
          <ac:graphicFrameMkLst>
            <pc:docMk/>
            <pc:sldMk cId="425422822" sldId="393"/>
            <ac:graphicFrameMk id="143" creationId="{80522EDD-E63A-7615-9C39-25F1D8122B9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14.466" v="69722"/>
          <ac:graphicFrameMkLst>
            <pc:docMk/>
            <pc:sldMk cId="425422822" sldId="393"/>
            <ac:graphicFrameMk id="143" creationId="{AA44FC79-78D1-0F94-8FDC-DBEFF79590C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7:53.346" v="30753"/>
          <ac:graphicFrameMkLst>
            <pc:docMk/>
            <pc:sldMk cId="425422822" sldId="393"/>
            <ac:graphicFrameMk id="145" creationId="{3F1F4615-D238-8A12-FCC2-3F4FB34C1A0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17.665" v="69821"/>
          <ac:graphicFrameMkLst>
            <pc:docMk/>
            <pc:sldMk cId="425422822" sldId="393"/>
            <ac:graphicFrameMk id="145" creationId="{5540B444-04AD-05FC-2BE7-ECF359FEDD1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7:55.359" v="30843"/>
          <ac:graphicFrameMkLst>
            <pc:docMk/>
            <pc:sldMk cId="425422822" sldId="393"/>
            <ac:graphicFrameMk id="147" creationId="{238DFAF4-D7C1-D329-68AA-1F3DEE79C1B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30.534" v="70225"/>
          <ac:graphicFrameMkLst>
            <pc:docMk/>
            <pc:sldMk cId="425422822" sldId="393"/>
            <ac:graphicFrameMk id="147" creationId="{6A748D80-EE22-5B32-A4EF-53E703987A0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8:00.673" v="30936"/>
          <ac:graphicFrameMkLst>
            <pc:docMk/>
            <pc:sldMk cId="425422822" sldId="393"/>
            <ac:graphicFrameMk id="149" creationId="{9FF778C0-7B42-C975-DAA4-2BC7097DB8B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25.862" v="70019"/>
          <ac:graphicFrameMkLst>
            <pc:docMk/>
            <pc:sldMk cId="425422822" sldId="393"/>
            <ac:graphicFrameMk id="149" creationId="{AAB00BAF-ECA9-909E-9F17-170D4EF310E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5:27.477" v="70126"/>
          <ac:graphicFrameMkLst>
            <pc:docMk/>
            <pc:sldMk cId="425422822" sldId="393"/>
            <ac:graphicFrameMk id="151" creationId="{187CE038-72C4-F898-5736-6C3CDBA45BF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8:01.561" v="31027"/>
          <ac:graphicFrameMkLst>
            <pc:docMk/>
            <pc:sldMk cId="425422822" sldId="393"/>
            <ac:graphicFrameMk id="151" creationId="{816F51A2-72CA-A91E-A654-1FCE3663B0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14.659" v="34617"/>
          <ac:graphicFrameMkLst>
            <pc:docMk/>
            <pc:sldMk cId="425422822" sldId="393"/>
            <ac:graphicFrameMk id="153" creationId="{4F4B0BB6-A429-38C6-354F-4B71EA21BC7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33.208" v="71862"/>
          <ac:graphicFrameMkLst>
            <pc:docMk/>
            <pc:sldMk cId="425422822" sldId="393"/>
            <ac:graphicFrameMk id="153" creationId="{B2CC0836-EF02-4550-D902-9F68275BCBE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04.402" v="70331"/>
          <ac:graphicFrameMkLst>
            <pc:docMk/>
            <pc:sldMk cId="425422822" sldId="393"/>
            <ac:graphicFrameMk id="155" creationId="{427FE993-EFE3-B31E-3A8C-BDE1391C85E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18.869" v="34713"/>
          <ac:graphicFrameMkLst>
            <pc:docMk/>
            <pc:sldMk cId="425422822" sldId="393"/>
            <ac:graphicFrameMk id="155" creationId="{599BDD41-F637-2039-E8A1-734EA8C79AC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26.614" v="34801"/>
          <ac:graphicFrameMkLst>
            <pc:docMk/>
            <pc:sldMk cId="425422822" sldId="393"/>
            <ac:graphicFrameMk id="157" creationId="{40EFA97C-3845-9885-0518-4C93CCED5ED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06.847" v="70422"/>
          <ac:graphicFrameMkLst>
            <pc:docMk/>
            <pc:sldMk cId="425422822" sldId="393"/>
            <ac:graphicFrameMk id="157" creationId="{C0AC6B40-82C7-97BC-13D0-B3C9125D34C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7:33.783" v="63486"/>
          <ac:graphicFrameMkLst>
            <pc:docMk/>
            <pc:sldMk cId="425422822" sldId="393"/>
            <ac:graphicFrameMk id="159" creationId="{F8E82749-19D2-FA19-0712-306E0E19ABB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24.888" v="70584"/>
          <ac:graphicFrameMkLst>
            <pc:docMk/>
            <pc:sldMk cId="425422822" sldId="393"/>
            <ac:graphicFrameMk id="160" creationId="{318A1A08-DB4B-42DD-5A33-B1B0612503E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29.811" v="70711"/>
          <ac:graphicFrameMkLst>
            <pc:docMk/>
            <pc:sldMk cId="425422822" sldId="393"/>
            <ac:graphicFrameMk id="164" creationId="{051AD2B5-F6AB-B056-B652-6F7DF5CC135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33.280" v="70842"/>
          <ac:graphicFrameMkLst>
            <pc:docMk/>
            <pc:sldMk cId="425422822" sldId="393"/>
            <ac:graphicFrameMk id="166" creationId="{86877434-1DC0-0C0A-829D-F6B5AC351B7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52.749" v="70949"/>
          <ac:graphicFrameMkLst>
            <pc:docMk/>
            <pc:sldMk cId="425422822" sldId="393"/>
            <ac:graphicFrameMk id="168" creationId="{9891788C-308D-4ED5-F8C7-0E1372AAD0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6:55.534" v="71062"/>
          <ac:graphicFrameMkLst>
            <pc:docMk/>
            <pc:sldMk cId="425422822" sldId="393"/>
            <ac:graphicFrameMk id="170" creationId="{2584BFC2-7128-7E43-217D-83BB3078461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23.525" v="71572"/>
          <ac:graphicFrameMkLst>
            <pc:docMk/>
            <pc:sldMk cId="425422822" sldId="393"/>
            <ac:graphicFrameMk id="172" creationId="{FD4158CF-3908-A60C-A87A-E1A983C625B6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8:47:13.779" v="71431"/>
          <ac:graphicFrameMkLst>
            <pc:docMk/>
            <pc:sldMk cId="425422822" sldId="393"/>
            <ac:graphicFrameMk id="176" creationId="{ADDBBE03-E991-7D61-02F0-B88211D1D5C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28.237" v="71683"/>
          <ac:graphicFrameMkLst>
            <pc:docMk/>
            <pc:sldMk cId="425422822" sldId="393"/>
            <ac:graphicFrameMk id="178" creationId="{1104CC0D-D8B6-55C3-6CAE-1E1CD935C40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36.487" v="71975"/>
          <ac:graphicFrameMkLst>
            <pc:docMk/>
            <pc:sldMk cId="425422822" sldId="393"/>
            <ac:graphicFrameMk id="180" creationId="{2A3A4EA6-D9FF-6F7A-F2A8-CCE3E3AD9DE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41.480" v="72082"/>
          <ac:graphicFrameMkLst>
            <pc:docMk/>
            <pc:sldMk cId="425422822" sldId="393"/>
            <ac:graphicFrameMk id="182" creationId="{5A910787-3F5F-D9B7-CEFA-5012A909022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7:44.590" v="72193"/>
          <ac:graphicFrameMkLst>
            <pc:docMk/>
            <pc:sldMk cId="425422822" sldId="393"/>
            <ac:graphicFrameMk id="184" creationId="{4F303043-3184-C708-B8EA-1C04FA32BEB3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8:47:44.612" v="72201"/>
          <ac:graphicFrameMkLst>
            <pc:docMk/>
            <pc:sldMk cId="425422822" sldId="393"/>
            <ac:graphicFrameMk id="186" creationId="{67B376B0-76B4-6416-DA69-AC794B6520A1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8:47:44.616" v="72214"/>
          <ac:graphicFrameMkLst>
            <pc:docMk/>
            <pc:sldMk cId="425422822" sldId="393"/>
            <ac:graphicFrameMk id="188" creationId="{D03A4266-38B4-1F36-4CC9-D1C7268160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35.575" v="65546"/>
          <ac:graphicFrameMkLst>
            <pc:docMk/>
            <pc:sldMk cId="425422822" sldId="393"/>
            <ac:graphicFrameMk id="448" creationId="{08A3B760-4941-E46F-EF2B-D4E874334BD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54.890" v="66939"/>
          <ac:graphicFrameMkLst>
            <pc:docMk/>
            <pc:sldMk cId="425422822" sldId="393"/>
            <ac:graphicFrameMk id="452" creationId="{8726617B-69A7-F905-CFD3-A1A0ADBBD02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53.261" v="26521"/>
          <ac:graphicFrameMkLst>
            <pc:docMk/>
            <pc:sldMk cId="425422822" sldId="393"/>
            <ac:graphicFrameMk id="456" creationId="{BC363DC6-3B4D-3C8E-C2B3-CD003FEAB406}"/>
          </ac:graphicFrameMkLst>
        </pc:graphicFrameChg>
        <pc:graphicFrameChg chg="del">
          <ac:chgData name="Tan, Roger" userId="f6f33758-bd69-4951-8148-181de3b92474" providerId="ADAL" clId="{A436842E-EA5C-4A6D-B51D-DDAE8BC6E9BD}" dt="2023-11-06T20:41:56.372" v="22895"/>
          <ac:graphicFrameMkLst>
            <pc:docMk/>
            <pc:sldMk cId="425422822" sldId="393"/>
            <ac:graphicFrameMk id="458" creationId="{7017666A-9160-DEA3-3470-B7F95AA01552}"/>
          </ac:graphicFrameMkLst>
        </pc:graphicFrameChg>
        <pc:graphicFrameChg chg="del mod ord">
          <ac:chgData name="Tan, Roger" userId="f6f33758-bd69-4951-8148-181de3b92474" providerId="ADAL" clId="{A436842E-EA5C-4A6D-B51D-DDAE8BC6E9BD}" dt="2023-11-06T20:43:39.923" v="25307"/>
          <ac:graphicFrameMkLst>
            <pc:docMk/>
            <pc:sldMk cId="425422822" sldId="393"/>
            <ac:graphicFrameMk id="459" creationId="{8393F6AB-FD09-3A6F-88EA-F3B12C24E54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58.445" v="26647"/>
          <ac:graphicFrameMkLst>
            <pc:docMk/>
            <pc:sldMk cId="425422822" sldId="393"/>
            <ac:graphicFrameMk id="461" creationId="{DFD424C6-3D1F-6412-AE3F-B161BD22781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4:59.503" v="26751"/>
          <ac:graphicFrameMkLst>
            <pc:docMk/>
            <pc:sldMk cId="425422822" sldId="393"/>
            <ac:graphicFrameMk id="463" creationId="{F4FADAB0-86EE-3759-2715-7616E9850D6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09.901" v="26929"/>
          <ac:graphicFrameMkLst>
            <pc:docMk/>
            <pc:sldMk cId="425422822" sldId="393"/>
            <ac:graphicFrameMk id="465" creationId="{16CBC31E-0594-DEC0-72A2-E4EF668D56B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43.140" v="66313"/>
          <ac:graphicFrameMkLst>
            <pc:docMk/>
            <pc:sldMk cId="425422822" sldId="393"/>
            <ac:graphicFrameMk id="467" creationId="{89548916-2504-2022-8B49-470DEC2DAE0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14.825" v="27071"/>
          <ac:graphicFrameMkLst>
            <pc:docMk/>
            <pc:sldMk cId="425422822" sldId="393"/>
            <ac:graphicFrameMk id="467" creationId="{E7710737-E0FD-C9E9-C819-213057A7F4D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45.470" v="66451"/>
          <ac:graphicFrameMkLst>
            <pc:docMk/>
            <pc:sldMk cId="425422822" sldId="393"/>
            <ac:graphicFrameMk id="469" creationId="{781D696B-124E-2F7F-8C60-D1326959F77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18.400" v="27213"/>
          <ac:graphicFrameMkLst>
            <pc:docMk/>
            <pc:sldMk cId="425422822" sldId="393"/>
            <ac:graphicFrameMk id="469" creationId="{7FA58B89-0C58-671C-09CF-963389E8D01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47.030" v="66567"/>
          <ac:graphicFrameMkLst>
            <pc:docMk/>
            <pc:sldMk cId="425422822" sldId="393"/>
            <ac:graphicFrameMk id="471" creationId="{7EB910D9-B021-7196-A8FF-EF64A921D48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40.338" v="27386"/>
          <ac:graphicFrameMkLst>
            <pc:docMk/>
            <pc:sldMk cId="425422822" sldId="393"/>
            <ac:graphicFrameMk id="471" creationId="{F9FB595E-F5D3-FCC3-2C2E-E5A2DAB5AFB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50.078" v="66685"/>
          <ac:graphicFrameMkLst>
            <pc:docMk/>
            <pc:sldMk cId="425422822" sldId="393"/>
            <ac:graphicFrameMk id="473" creationId="{60875FDE-EDBB-B70A-39FF-04EB90FDBD4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54.154" v="27542"/>
          <ac:graphicFrameMkLst>
            <pc:docMk/>
            <pc:sldMk cId="425422822" sldId="393"/>
            <ac:graphicFrameMk id="473" creationId="{9BF48099-C81E-33C6-5410-72E51319C8A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52.425" v="66803"/>
          <ac:graphicFrameMkLst>
            <pc:docMk/>
            <pc:sldMk cId="425422822" sldId="393"/>
            <ac:graphicFrameMk id="476" creationId="{2C1DBAC8-5637-3A21-D20B-1D13EC803E7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5:59.639" v="27655"/>
          <ac:graphicFrameMkLst>
            <pc:docMk/>
            <pc:sldMk cId="425422822" sldId="393"/>
            <ac:graphicFrameMk id="476" creationId="{BB01BB80-C821-168D-B29A-42D9DFBDB21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01.580" v="27748"/>
          <ac:graphicFrameMkLst>
            <pc:docMk/>
            <pc:sldMk cId="425422822" sldId="393"/>
            <ac:graphicFrameMk id="478" creationId="{3D336F5A-B821-24F4-9D68-708F58FA8FA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56.870" v="67077"/>
          <ac:graphicFrameMkLst>
            <pc:docMk/>
            <pc:sldMk cId="425422822" sldId="393"/>
            <ac:graphicFrameMk id="478" creationId="{3E4FC908-17D1-B32F-3492-5E90686C446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46.171" v="67850"/>
          <ac:graphicFrameMkLst>
            <pc:docMk/>
            <pc:sldMk cId="425422822" sldId="393"/>
            <ac:graphicFrameMk id="480" creationId="{0A37BCAA-5929-5BB5-89F1-7F19D93BAE5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03.115" v="27844"/>
          <ac:graphicFrameMkLst>
            <pc:docMk/>
            <pc:sldMk cId="425422822" sldId="393"/>
            <ac:graphicFrameMk id="480" creationId="{BE146DC2-6232-8AF0-1FB0-61514531895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09.975" v="27942"/>
          <ac:graphicFrameMkLst>
            <pc:docMk/>
            <pc:sldMk cId="425422822" sldId="393"/>
            <ac:graphicFrameMk id="482" creationId="{1C3DDE41-867D-08D7-2CB9-2768F8FC1D2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39:59.563" v="67185"/>
          <ac:graphicFrameMkLst>
            <pc:docMk/>
            <pc:sldMk cId="425422822" sldId="393"/>
            <ac:graphicFrameMk id="482" creationId="{FD487B9E-B793-6472-6B77-A44478BA7DE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12.037" v="28038"/>
          <ac:graphicFrameMkLst>
            <pc:docMk/>
            <pc:sldMk cId="425422822" sldId="393"/>
            <ac:graphicFrameMk id="484" creationId="{3B1AC133-4099-E90A-221C-4434F1B10AA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0:57.301" v="67360"/>
          <ac:graphicFrameMkLst>
            <pc:docMk/>
            <pc:sldMk cId="425422822" sldId="393"/>
            <ac:graphicFrameMk id="484" creationId="{7AB76886-3732-25D0-606D-85F3A535C40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00.062" v="67531"/>
          <ac:graphicFrameMkLst>
            <pc:docMk/>
            <pc:sldMk cId="425422822" sldId="393"/>
            <ac:graphicFrameMk id="486" creationId="{07424FC7-AA0C-E658-DE44-F52D14C04E5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15.186" v="28133"/>
          <ac:graphicFrameMkLst>
            <pc:docMk/>
            <pc:sldMk cId="425422822" sldId="393"/>
            <ac:graphicFrameMk id="486" creationId="{656C77C7-84F6-F6C8-8C83-AD228FF0F28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08.581" v="67711"/>
          <ac:graphicFrameMkLst>
            <pc:docMk/>
            <pc:sldMk cId="425422822" sldId="393"/>
            <ac:graphicFrameMk id="488" creationId="{CE23D5C4-237B-3AF5-838F-B772E7B055C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21.126" v="28279"/>
          <ac:graphicFrameMkLst>
            <pc:docMk/>
            <pc:sldMk cId="425422822" sldId="393"/>
            <ac:graphicFrameMk id="488" creationId="{D4A56823-74AD-4E9E-C395-BBCD7D00D1A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55.849" v="68182"/>
          <ac:graphicFrameMkLst>
            <pc:docMk/>
            <pc:sldMk cId="425422822" sldId="393"/>
            <ac:graphicFrameMk id="490" creationId="{063A9743-A470-340F-6975-BEA0A3F31FE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23.333" v="28425"/>
          <ac:graphicFrameMkLst>
            <pc:docMk/>
            <pc:sldMk cId="425422822" sldId="393"/>
            <ac:graphicFrameMk id="490" creationId="{1EE302F2-8420-3A08-61A4-A3687C30ADB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25.395" v="28571"/>
          <ac:graphicFrameMkLst>
            <pc:docMk/>
            <pc:sldMk cId="425422822" sldId="393"/>
            <ac:graphicFrameMk id="492" creationId="{76D36CFC-518C-EC6A-B603-E4077FE3162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27.137" v="28689"/>
          <ac:graphicFrameMkLst>
            <pc:docMk/>
            <pc:sldMk cId="425422822" sldId="393"/>
            <ac:graphicFrameMk id="494" creationId="{5B2617B4-E04D-5AC4-B5EA-5EBFFA4D838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49.688" v="67960"/>
          <ac:graphicFrameMkLst>
            <pc:docMk/>
            <pc:sldMk cId="425422822" sldId="393"/>
            <ac:graphicFrameMk id="496" creationId="{1CEB3DDA-0F6B-ABD5-8045-6CDF89B78DB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28.563" v="28807"/>
          <ac:graphicFrameMkLst>
            <pc:docMk/>
            <pc:sldMk cId="425422822" sldId="393"/>
            <ac:graphicFrameMk id="496" creationId="{EE0B2D2C-228D-6144-7260-A5723DA707F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31.488" v="28925"/>
          <ac:graphicFrameMkLst>
            <pc:docMk/>
            <pc:sldMk cId="425422822" sldId="393"/>
            <ac:graphicFrameMk id="498" creationId="{E3DA1823-9C97-F538-9273-FC0B919E666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52.663" v="68071"/>
          <ac:graphicFrameMkLst>
            <pc:docMk/>
            <pc:sldMk cId="425422822" sldId="393"/>
            <ac:graphicFrameMk id="498" creationId="{FE7FACC4-4015-97DE-F2AD-A3B270BDB87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4:41.976" v="68965"/>
          <ac:graphicFrameMkLst>
            <pc:docMk/>
            <pc:sldMk cId="425422822" sldId="393"/>
            <ac:graphicFrameMk id="500" creationId="{894CD554-0A98-7458-F764-20BA061EB6E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33.845" v="29043"/>
          <ac:graphicFrameMkLst>
            <pc:docMk/>
            <pc:sldMk cId="425422822" sldId="393"/>
            <ac:graphicFrameMk id="500" creationId="{F7656982-3AE5-F70F-98F3-CE50F420D16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48.972" v="29191"/>
          <ac:graphicFrameMkLst>
            <pc:docMk/>
            <pc:sldMk cId="425422822" sldId="393"/>
            <ac:graphicFrameMk id="502" creationId="{6040B7F4-A43B-10E0-10EA-6954F0531B0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1:59.520" v="68294"/>
          <ac:graphicFrameMkLst>
            <pc:docMk/>
            <pc:sldMk cId="425422822" sldId="393"/>
            <ac:graphicFrameMk id="502" creationId="{69B43075-598B-B935-B30A-4704B3B82E7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2:01.646" v="68407"/>
          <ac:graphicFrameMkLst>
            <pc:docMk/>
            <pc:sldMk cId="425422822" sldId="393"/>
            <ac:graphicFrameMk id="504" creationId="{294B413C-1293-14B0-66AB-91FA8F0E3A7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56.614" v="29340"/>
          <ac:graphicFrameMkLst>
            <pc:docMk/>
            <pc:sldMk cId="425422822" sldId="393"/>
            <ac:graphicFrameMk id="504" creationId="{33D89AAB-513B-F346-F53D-ACE1CDE7800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6:58.471" v="29456"/>
          <ac:graphicFrameMkLst>
            <pc:docMk/>
            <pc:sldMk cId="425422822" sldId="393"/>
            <ac:graphicFrameMk id="506" creationId="{9732272E-44ED-C7D1-2814-E697A692130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4:34.462" v="68688"/>
          <ac:graphicFrameMkLst>
            <pc:docMk/>
            <pc:sldMk cId="425422822" sldId="393"/>
            <ac:graphicFrameMk id="506" creationId="{CE5DB2B1-A550-D9EC-D3F5-982A63F163C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47:44.270" v="29853"/>
          <ac:graphicFrameMkLst>
            <pc:docMk/>
            <pc:sldMk cId="425422822" sldId="393"/>
            <ac:graphicFrameMk id="508" creationId="{F5E53BC1-95CA-C4DA-3AE7-51318EEED9F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8:44:37.888" v="68823"/>
          <ac:graphicFrameMkLst>
            <pc:docMk/>
            <pc:sldMk cId="425422822" sldId="393"/>
            <ac:graphicFrameMk id="511" creationId="{08F0965C-8016-E258-6F3C-32FD06BBB354}"/>
          </ac:graphicFrameMkLst>
        </pc:graphicFrameChg>
        <pc:cxnChg chg="add del mod ord replST delST">
          <ac:chgData name="Tan, Roger" userId="f6f33758-bd69-4951-8148-181de3b92474" providerId="ADAL" clId="{A436842E-EA5C-4A6D-B51D-DDAE8BC6E9BD}" dt="2023-11-07T08:47:13.779" v="71431"/>
          <ac:cxnSpMkLst>
            <pc:docMk/>
            <pc:sldMk cId="425422822" sldId="393"/>
            <ac:cxnSpMk id="175" creationId="{5050ED8C-3663-5948-6A13-9D5174B4D3C4}"/>
          </ac:cxnSpMkLst>
        </pc:cxnChg>
        <pc:cxnChg chg="del">
          <ac:chgData name="Tan, Roger" userId="f6f33758-bd69-4951-8148-181de3b92474" providerId="ADAL" clId="{A436842E-EA5C-4A6D-B51D-DDAE8BC6E9BD}" dt="2023-11-06T20:41:43.390" v="22774" actId="478"/>
          <ac:cxnSpMkLst>
            <pc:docMk/>
            <pc:sldMk cId="425422822" sldId="393"/>
            <ac:cxnSpMk id="403" creationId="{F25A46CE-B229-E082-11DE-5793C03E25FA}"/>
          </ac:cxnSpMkLst>
        </pc:cxnChg>
        <pc:cxnChg chg="del">
          <ac:chgData name="Tan, Roger" userId="f6f33758-bd69-4951-8148-181de3b92474" providerId="ADAL" clId="{A436842E-EA5C-4A6D-B51D-DDAE8BC6E9BD}" dt="2023-11-06T20:41:47.411" v="22778" actId="478"/>
          <ac:cxnSpMkLst>
            <pc:docMk/>
            <pc:sldMk cId="425422822" sldId="393"/>
            <ac:cxnSpMk id="404" creationId="{B04AFFF8-849C-4891-97D0-06857B0F5949}"/>
          </ac:cxnSpMkLst>
        </pc:cxnChg>
        <pc:cxnChg chg="del">
          <ac:chgData name="Tan, Roger" userId="f6f33758-bd69-4951-8148-181de3b92474" providerId="ADAL" clId="{A436842E-EA5C-4A6D-B51D-DDAE8BC6E9BD}" dt="2023-11-06T20:41:44.393" v="22775" actId="478"/>
          <ac:cxnSpMkLst>
            <pc:docMk/>
            <pc:sldMk cId="425422822" sldId="393"/>
            <ac:cxnSpMk id="410" creationId="{9A0686CE-AB5D-DF5C-E5C9-D79264A66C7E}"/>
          </ac:cxnSpMkLst>
        </pc:cxnChg>
        <pc:cxnChg chg="del mod ord">
          <ac:chgData name="Tan, Roger" userId="f6f33758-bd69-4951-8148-181de3b92474" providerId="ADAL" clId="{A436842E-EA5C-4A6D-B51D-DDAE8BC6E9BD}" dt="2023-11-06T20:46:51.623" v="29232" actId="478"/>
          <ac:cxnSpMkLst>
            <pc:docMk/>
            <pc:sldMk cId="425422822" sldId="393"/>
            <ac:cxnSpMk id="448" creationId="{D7DD027F-7C28-E011-D334-954DDA1C5952}"/>
          </ac:cxnSpMkLst>
        </pc:cxnChg>
        <pc:cxnChg chg="del mod ord">
          <ac:chgData name="Tan, Roger" userId="f6f33758-bd69-4951-8148-181de3b92474" providerId="ADAL" clId="{A436842E-EA5C-4A6D-B51D-DDAE8BC6E9BD}" dt="2023-11-06T20:45:03.326" v="26798" actId="478"/>
          <ac:cxnSpMkLst>
            <pc:docMk/>
            <pc:sldMk cId="425422822" sldId="393"/>
            <ac:cxnSpMk id="452" creationId="{C735BA3D-4D54-6907-6492-677CEA42E86B}"/>
          </ac:cxnSpMkLst>
        </pc:cxnChg>
        <pc:cxnChg chg="add mod ord">
          <ac:chgData name="Tan, Roger" userId="f6f33758-bd69-4951-8148-181de3b92474" providerId="ADAL" clId="{A436842E-EA5C-4A6D-B51D-DDAE8BC6E9BD}" dt="2023-11-07T08:47:44.620" v="72227"/>
          <ac:cxnSpMkLst>
            <pc:docMk/>
            <pc:sldMk cId="425422822" sldId="393"/>
            <ac:cxnSpMk id="492" creationId="{C26A5459-6D56-1BF2-C2B2-4EAFEC459004}"/>
          </ac:cxnSpMkLst>
        </pc:cxnChg>
        <pc:cxnChg chg="add mod ord">
          <ac:chgData name="Tan, Roger" userId="f6f33758-bd69-4951-8148-181de3b92474" providerId="ADAL" clId="{A436842E-EA5C-4A6D-B51D-DDAE8BC6E9BD}" dt="2023-11-07T08:47:44.621" v="72231"/>
          <ac:cxnSpMkLst>
            <pc:docMk/>
            <pc:sldMk cId="425422822" sldId="393"/>
            <ac:cxnSpMk id="494" creationId="{C64A8DA9-1E37-61E4-FEF0-65ACACA0238F}"/>
          </ac:cxnSpMkLst>
        </pc:cxnChg>
      </pc:sldChg>
      <pc:sldChg chg="addSp delSp modSp add del mod ord modTransition delAnim modAnim modShow">
        <pc:chgData name="Tan, Roger" userId="f6f33758-bd69-4951-8148-181de3b92474" providerId="ADAL" clId="{A436842E-EA5C-4A6D-B51D-DDAE8BC6E9BD}" dt="2023-11-07T19:26:29.337" v="75863" actId="47"/>
        <pc:sldMkLst>
          <pc:docMk/>
          <pc:sldMk cId="3074322027" sldId="394"/>
        </pc:sldMkLst>
        <pc:spChg chg="del mod ord">
          <ac:chgData name="Tan, Roger" userId="f6f33758-bd69-4951-8148-181de3b92474" providerId="ADAL" clId="{A436842E-EA5C-4A6D-B51D-DDAE8BC6E9BD}" dt="2023-11-06T20:55:30.850" v="33532" actId="478"/>
          <ac:spMkLst>
            <pc:docMk/>
            <pc:sldMk cId="3074322027" sldId="394"/>
            <ac:spMk id="2" creationId="{5E3DE094-EAE6-C5A8-BAE0-2029ACB647BC}"/>
          </ac:spMkLst>
        </pc:spChg>
        <pc:spChg chg="add del mod modVis">
          <ac:chgData name="Tan, Roger" userId="f6f33758-bd69-4951-8148-181de3b92474" providerId="ADAL" clId="{A436842E-EA5C-4A6D-B51D-DDAE8BC6E9BD}" dt="2023-11-06T20:53:47.388" v="31772"/>
          <ac:spMkLst>
            <pc:docMk/>
            <pc:sldMk cId="3074322027" sldId="394"/>
            <ac:spMk id="3" creationId="{E4A5BB68-1F8E-38E8-A8BC-32E48C8F52D5}"/>
          </ac:spMkLst>
        </pc:spChg>
        <pc:spChg chg="add del mod modVis">
          <ac:chgData name="Tan, Roger" userId="f6f33758-bd69-4951-8148-181de3b92474" providerId="ADAL" clId="{A436842E-EA5C-4A6D-B51D-DDAE8BC6E9BD}" dt="2023-11-06T20:53:52.155" v="31864"/>
          <ac:spMkLst>
            <pc:docMk/>
            <pc:sldMk cId="3074322027" sldId="394"/>
            <ac:spMk id="6" creationId="{64AE8A86-6579-5E36-E0DC-F17D8054B6E2}"/>
          </ac:spMkLst>
        </pc:spChg>
        <pc:spChg chg="add del mod modVis">
          <ac:chgData name="Tan, Roger" userId="f6f33758-bd69-4951-8148-181de3b92474" providerId="ADAL" clId="{A436842E-EA5C-4A6D-B51D-DDAE8BC6E9BD}" dt="2023-11-06T20:54:01.467" v="31983"/>
          <ac:spMkLst>
            <pc:docMk/>
            <pc:sldMk cId="3074322027" sldId="394"/>
            <ac:spMk id="8" creationId="{A8420BC8-C8C1-45C4-D480-4230B3821B42}"/>
          </ac:spMkLst>
        </pc:spChg>
        <pc:spChg chg="add del mod modVis">
          <ac:chgData name="Tan, Roger" userId="f6f33758-bd69-4951-8148-181de3b92474" providerId="ADAL" clId="{A436842E-EA5C-4A6D-B51D-DDAE8BC6E9BD}" dt="2023-11-06T20:54:15.149" v="32087"/>
          <ac:spMkLst>
            <pc:docMk/>
            <pc:sldMk cId="3074322027" sldId="394"/>
            <ac:spMk id="10" creationId="{1ADEEB93-5803-7A7A-777D-8BC7F856D093}"/>
          </ac:spMkLst>
        </pc:spChg>
        <pc:spChg chg="add del mod modVis">
          <ac:chgData name="Tan, Roger" userId="f6f33758-bd69-4951-8148-181de3b92474" providerId="ADAL" clId="{A436842E-EA5C-4A6D-B51D-DDAE8BC6E9BD}" dt="2023-11-06T20:54:31.762" v="32173"/>
          <ac:spMkLst>
            <pc:docMk/>
            <pc:sldMk cId="3074322027" sldId="394"/>
            <ac:spMk id="12" creationId="{E926D7A3-B648-87FF-0A6C-9263F620E67C}"/>
          </ac:spMkLst>
        </pc:spChg>
        <pc:spChg chg="add mod replST">
          <ac:chgData name="Tan, Roger" userId="f6f33758-bd69-4951-8148-181de3b92474" providerId="ADAL" clId="{A436842E-EA5C-4A6D-B51D-DDAE8BC6E9BD}" dt="2023-11-06T21:00:15.222" v="37077"/>
          <ac:spMkLst>
            <pc:docMk/>
            <pc:sldMk cId="3074322027" sldId="394"/>
            <ac:spMk id="14" creationId="{80220E7C-D4A2-2307-6E78-7CEF3212317A}"/>
          </ac:spMkLst>
        </pc:spChg>
        <pc:spChg chg="add del mod modVis">
          <ac:chgData name="Tan, Roger" userId="f6f33758-bd69-4951-8148-181de3b92474" providerId="ADAL" clId="{A436842E-EA5C-4A6D-B51D-DDAE8BC6E9BD}" dt="2023-11-06T20:54:42.948" v="32305"/>
          <ac:spMkLst>
            <pc:docMk/>
            <pc:sldMk cId="3074322027" sldId="394"/>
            <ac:spMk id="15" creationId="{0249FEC8-519E-A10F-9A0E-5DA3EC82A84B}"/>
          </ac:spMkLst>
        </pc:spChg>
        <pc:spChg chg="add del mod modVis">
          <ac:chgData name="Tan, Roger" userId="f6f33758-bd69-4951-8148-181de3b92474" providerId="ADAL" clId="{A436842E-EA5C-4A6D-B51D-DDAE8BC6E9BD}" dt="2023-11-06T20:54:44.228" v="32397"/>
          <ac:spMkLst>
            <pc:docMk/>
            <pc:sldMk cId="3074322027" sldId="394"/>
            <ac:spMk id="18" creationId="{FBC94737-0EC8-FB01-4E91-635A27ADE1C1}"/>
          </ac:spMkLst>
        </pc:spChg>
        <pc:spChg chg="add del mod modVis">
          <ac:chgData name="Tan, Roger" userId="f6f33758-bd69-4951-8148-181de3b92474" providerId="ADAL" clId="{A436842E-EA5C-4A6D-B51D-DDAE8BC6E9BD}" dt="2023-11-06T20:54:47.309" v="32518"/>
          <ac:spMkLst>
            <pc:docMk/>
            <pc:sldMk cId="3074322027" sldId="394"/>
            <ac:spMk id="20" creationId="{3B37D850-E263-049B-3CBE-2A5E2614A806}"/>
          </ac:spMkLst>
        </pc:spChg>
        <pc:spChg chg="add del mod modVis">
          <ac:chgData name="Tan, Roger" userId="f6f33758-bd69-4951-8148-181de3b92474" providerId="ADAL" clId="{A436842E-EA5C-4A6D-B51D-DDAE8BC6E9BD}" dt="2023-11-06T20:54:48.797" v="32639"/>
          <ac:spMkLst>
            <pc:docMk/>
            <pc:sldMk cId="3074322027" sldId="394"/>
            <ac:spMk id="22" creationId="{35ADFB6A-FA06-664A-222A-0B73FAF8DAD6}"/>
          </ac:spMkLst>
        </pc:spChg>
        <pc:spChg chg="add del mod modVis">
          <ac:chgData name="Tan, Roger" userId="f6f33758-bd69-4951-8148-181de3b92474" providerId="ADAL" clId="{A436842E-EA5C-4A6D-B51D-DDAE8BC6E9BD}" dt="2023-11-06T20:54:59.867" v="32731"/>
          <ac:spMkLst>
            <pc:docMk/>
            <pc:sldMk cId="3074322027" sldId="394"/>
            <ac:spMk id="24" creationId="{8533950E-B1BA-D32F-DA11-2EAF61C7841B}"/>
          </ac:spMkLst>
        </pc:spChg>
        <pc:spChg chg="add del mod modVis">
          <ac:chgData name="Tan, Roger" userId="f6f33758-bd69-4951-8148-181de3b92474" providerId="ADAL" clId="{A436842E-EA5C-4A6D-B51D-DDAE8BC6E9BD}" dt="2023-11-06T20:55:02.575" v="32823"/>
          <ac:spMkLst>
            <pc:docMk/>
            <pc:sldMk cId="3074322027" sldId="394"/>
            <ac:spMk id="26" creationId="{0B80B936-B556-E811-C480-4DCEEB79B591}"/>
          </ac:spMkLst>
        </pc:spChg>
        <pc:spChg chg="del mod">
          <ac:chgData name="Tan, Roger" userId="f6f33758-bd69-4951-8148-181de3b92474" providerId="ADAL" clId="{A436842E-EA5C-4A6D-B51D-DDAE8BC6E9BD}" dt="2023-11-06T20:53:52.048" v="31775"/>
          <ac:spMkLst>
            <pc:docMk/>
            <pc:sldMk cId="3074322027" sldId="394"/>
            <ac:spMk id="28" creationId="{60923BF9-51E5-CBB4-DC09-A2285E468C34}"/>
          </ac:spMkLst>
        </pc:spChg>
        <pc:spChg chg="add del mod modVis">
          <ac:chgData name="Tan, Roger" userId="f6f33758-bd69-4951-8148-181de3b92474" providerId="ADAL" clId="{A436842E-EA5C-4A6D-B51D-DDAE8BC6E9BD}" dt="2023-11-06T20:55:06.338" v="32915"/>
          <ac:spMkLst>
            <pc:docMk/>
            <pc:sldMk cId="3074322027" sldId="394"/>
            <ac:spMk id="29" creationId="{ADED3C8F-4A8C-3EE6-4484-35E8E2E5AD2E}"/>
          </ac:spMkLst>
        </pc:spChg>
        <pc:spChg chg="del mod">
          <ac:chgData name="Tan, Roger" userId="f6f33758-bd69-4951-8148-181de3b92474" providerId="ADAL" clId="{A436842E-EA5C-4A6D-B51D-DDAE8BC6E9BD}" dt="2023-11-06T20:53:52.049" v="31776"/>
          <ac:spMkLst>
            <pc:docMk/>
            <pc:sldMk cId="3074322027" sldId="394"/>
            <ac:spMk id="31" creationId="{92A94E77-7A30-3C04-609D-BDCD0776E05F}"/>
          </ac:spMkLst>
        </pc:spChg>
        <pc:spChg chg="add del mod modVis">
          <ac:chgData name="Tan, Roger" userId="f6f33758-bd69-4951-8148-181de3b92474" providerId="ADAL" clId="{A436842E-EA5C-4A6D-B51D-DDAE8BC6E9BD}" dt="2023-11-06T20:55:08.375" v="33034"/>
          <ac:spMkLst>
            <pc:docMk/>
            <pc:sldMk cId="3074322027" sldId="394"/>
            <ac:spMk id="32" creationId="{FE8E962E-C4F3-AB6E-DF23-F8635B645675}"/>
          </ac:spMkLst>
        </pc:spChg>
        <pc:spChg chg="del mod">
          <ac:chgData name="Tan, Roger" userId="f6f33758-bd69-4951-8148-181de3b92474" providerId="ADAL" clId="{A436842E-EA5C-4A6D-B51D-DDAE8BC6E9BD}" dt="2023-11-06T20:53:52.050" v="31778"/>
          <ac:spMkLst>
            <pc:docMk/>
            <pc:sldMk cId="3074322027" sldId="394"/>
            <ac:spMk id="34" creationId="{26E6F0B1-EAB3-E15E-AC9C-D91DC72764D5}"/>
          </ac:spMkLst>
        </pc:spChg>
        <pc:spChg chg="add del mod modVis">
          <ac:chgData name="Tan, Roger" userId="f6f33758-bd69-4951-8148-181de3b92474" providerId="ADAL" clId="{A436842E-EA5C-4A6D-B51D-DDAE8BC6E9BD}" dt="2023-11-06T20:55:11.047" v="33153"/>
          <ac:spMkLst>
            <pc:docMk/>
            <pc:sldMk cId="3074322027" sldId="394"/>
            <ac:spMk id="35" creationId="{D897B08D-C746-75B8-A514-C0FC13FFBC54}"/>
          </ac:spMkLst>
        </pc:spChg>
        <pc:spChg chg="mod">
          <ac:chgData name="Tan, Roger" userId="f6f33758-bd69-4951-8148-181de3b92474" providerId="ADAL" clId="{A436842E-EA5C-4A6D-B51D-DDAE8BC6E9BD}" dt="2023-11-06T21:00:15.221" v="37076"/>
          <ac:spMkLst>
            <pc:docMk/>
            <pc:sldMk cId="3074322027" sldId="394"/>
            <ac:spMk id="37" creationId="{EBAD2C7F-073F-15F2-974B-902606AAC996}"/>
          </ac:spMkLst>
        </pc:spChg>
        <pc:spChg chg="add del mod modVis">
          <ac:chgData name="Tan, Roger" userId="f6f33758-bd69-4951-8148-181de3b92474" providerId="ADAL" clId="{A436842E-EA5C-4A6D-B51D-DDAE8BC6E9BD}" dt="2023-11-06T20:55:18.620" v="33299"/>
          <ac:spMkLst>
            <pc:docMk/>
            <pc:sldMk cId="3074322027" sldId="394"/>
            <ac:spMk id="38" creationId="{124C865E-20FB-8582-3749-EC5C75A969D2}"/>
          </ac:spMkLst>
        </pc:spChg>
        <pc:spChg chg="add del mod modVis">
          <ac:chgData name="Tan, Roger" userId="f6f33758-bd69-4951-8148-181de3b92474" providerId="ADAL" clId="{A436842E-EA5C-4A6D-B51D-DDAE8BC6E9BD}" dt="2023-11-06T20:55:22.534" v="33504"/>
          <ac:spMkLst>
            <pc:docMk/>
            <pc:sldMk cId="3074322027" sldId="394"/>
            <ac:spMk id="41" creationId="{0F6A3206-FC1C-6E6B-B74D-CC37032B8477}"/>
          </ac:spMkLst>
        </pc:spChg>
        <pc:spChg chg="add del mod modVis">
          <ac:chgData name="Tan, Roger" userId="f6f33758-bd69-4951-8148-181de3b92474" providerId="ADAL" clId="{A436842E-EA5C-4A6D-B51D-DDAE8BC6E9BD}" dt="2023-11-06T20:55:41.959" v="33661"/>
          <ac:spMkLst>
            <pc:docMk/>
            <pc:sldMk cId="3074322027" sldId="394"/>
            <ac:spMk id="43" creationId="{87EF4707-99B0-EF35-BCDB-2E67D390125C}"/>
          </ac:spMkLst>
        </pc:spChg>
        <pc:spChg chg="add del mod modVis">
          <ac:chgData name="Tan, Roger" userId="f6f33758-bd69-4951-8148-181de3b92474" providerId="ADAL" clId="{A436842E-EA5C-4A6D-B51D-DDAE8BC6E9BD}" dt="2023-11-06T20:55:44.438" v="33726"/>
          <ac:spMkLst>
            <pc:docMk/>
            <pc:sldMk cId="3074322027" sldId="394"/>
            <ac:spMk id="45" creationId="{6D72B352-B1DD-3066-6119-737E0B7E92E7}"/>
          </ac:spMkLst>
        </pc:spChg>
        <pc:spChg chg="add del mod modVis">
          <ac:chgData name="Tan, Roger" userId="f6f33758-bd69-4951-8148-181de3b92474" providerId="ADAL" clId="{A436842E-EA5C-4A6D-B51D-DDAE8BC6E9BD}" dt="2023-11-06T20:55:45.317" v="33789"/>
          <ac:spMkLst>
            <pc:docMk/>
            <pc:sldMk cId="3074322027" sldId="394"/>
            <ac:spMk id="47" creationId="{28EEDB61-A0FA-A765-093B-7576183B012B}"/>
          </ac:spMkLst>
        </pc:spChg>
        <pc:spChg chg="add del mod modVis">
          <ac:chgData name="Tan, Roger" userId="f6f33758-bd69-4951-8148-181de3b92474" providerId="ADAL" clId="{A436842E-EA5C-4A6D-B51D-DDAE8BC6E9BD}" dt="2023-11-06T20:55:47.321" v="33853"/>
          <ac:spMkLst>
            <pc:docMk/>
            <pc:sldMk cId="3074322027" sldId="394"/>
            <ac:spMk id="49" creationId="{5F367892-9009-9437-8223-D35386CA5A25}"/>
          </ac:spMkLst>
        </pc:spChg>
        <pc:spChg chg="add del mod modVis">
          <ac:chgData name="Tan, Roger" userId="f6f33758-bd69-4951-8148-181de3b92474" providerId="ADAL" clId="{A436842E-EA5C-4A6D-B51D-DDAE8BC6E9BD}" dt="2023-11-06T20:55:48.265" v="33917"/>
          <ac:spMkLst>
            <pc:docMk/>
            <pc:sldMk cId="3074322027" sldId="394"/>
            <ac:spMk id="51" creationId="{D6FC6F39-8107-125B-9428-5E61BD590B05}"/>
          </ac:spMkLst>
        </pc:spChg>
        <pc:spChg chg="add del mod modVis">
          <ac:chgData name="Tan, Roger" userId="f6f33758-bd69-4951-8148-181de3b92474" providerId="ADAL" clId="{A436842E-EA5C-4A6D-B51D-DDAE8BC6E9BD}" dt="2023-11-06T20:55:55.441" v="33977"/>
          <ac:spMkLst>
            <pc:docMk/>
            <pc:sldMk cId="3074322027" sldId="394"/>
            <ac:spMk id="53" creationId="{7CC14310-644D-5860-9F20-B355B4EE9652}"/>
          </ac:spMkLst>
        </pc:spChg>
        <pc:spChg chg="add del mod modVis">
          <ac:chgData name="Tan, Roger" userId="f6f33758-bd69-4951-8148-181de3b92474" providerId="ADAL" clId="{A436842E-EA5C-4A6D-B51D-DDAE8BC6E9BD}" dt="2023-11-06T20:55:59.072" v="34037"/>
          <ac:spMkLst>
            <pc:docMk/>
            <pc:sldMk cId="3074322027" sldId="394"/>
            <ac:spMk id="55" creationId="{72733807-4AD0-9180-CC29-8AFA88BE6F8A}"/>
          </ac:spMkLst>
        </pc:spChg>
        <pc:spChg chg="add del mod modVis">
          <ac:chgData name="Tan, Roger" userId="f6f33758-bd69-4951-8148-181de3b92474" providerId="ADAL" clId="{A436842E-EA5C-4A6D-B51D-DDAE8BC6E9BD}" dt="2023-11-06T20:56:00.553" v="34171"/>
          <ac:spMkLst>
            <pc:docMk/>
            <pc:sldMk cId="3074322027" sldId="394"/>
            <ac:spMk id="57" creationId="{8F302E77-162A-2A56-00B7-5A9E60D0A275}"/>
          </ac:spMkLst>
        </pc:spChg>
        <pc:spChg chg="add del mod replST">
          <ac:chgData name="Tan, Roger" userId="f6f33758-bd69-4951-8148-181de3b92474" providerId="ADAL" clId="{A436842E-EA5C-4A6D-B51D-DDAE8BC6E9BD}" dt="2023-11-06T20:56:01.955" v="34210"/>
          <ac:spMkLst>
            <pc:docMk/>
            <pc:sldMk cId="3074322027" sldId="394"/>
            <ac:spMk id="58" creationId="{89A5A00D-825C-FD60-209D-B4CFB7E1DBA5}"/>
          </ac:spMkLst>
        </pc:spChg>
        <pc:spChg chg="add del mod modVis">
          <ac:chgData name="Tan, Roger" userId="f6f33758-bd69-4951-8148-181de3b92474" providerId="ADAL" clId="{A436842E-EA5C-4A6D-B51D-DDAE8BC6E9BD}" dt="2023-11-06T20:56:01.978" v="34233"/>
          <ac:spMkLst>
            <pc:docMk/>
            <pc:sldMk cId="3074322027" sldId="394"/>
            <ac:spMk id="60" creationId="{DA558F82-7D7D-B2FC-B8CC-1C852BCAFA44}"/>
          </ac:spMkLst>
        </pc:spChg>
        <pc:spChg chg="add del mod modVis">
          <ac:chgData name="Tan, Roger" userId="f6f33758-bd69-4951-8148-181de3b92474" providerId="ADAL" clId="{A436842E-EA5C-4A6D-B51D-DDAE8BC6E9BD}" dt="2023-11-06T20:56:06.085" v="34435"/>
          <ac:spMkLst>
            <pc:docMk/>
            <pc:sldMk cId="3074322027" sldId="394"/>
            <ac:spMk id="62" creationId="{E22EE904-DEE6-074C-FB46-80ED35BC62E6}"/>
          </ac:spMkLst>
        </pc:spChg>
        <pc:spChg chg="add mod replST">
          <ac:chgData name="Tan, Roger" userId="f6f33758-bd69-4951-8148-181de3b92474" providerId="ADAL" clId="{A436842E-EA5C-4A6D-B51D-DDAE8BC6E9BD}" dt="2023-11-06T21:00:15.222" v="37078"/>
          <ac:spMkLst>
            <pc:docMk/>
            <pc:sldMk cId="3074322027" sldId="394"/>
            <ac:spMk id="63" creationId="{78E817DE-E8A3-99D5-610A-3F6D487BFD98}"/>
          </ac:spMkLst>
        </pc:spChg>
        <pc:spChg chg="del mod">
          <ac:chgData name="Tan, Roger" userId="f6f33758-bd69-4951-8148-181de3b92474" providerId="ADAL" clId="{A436842E-EA5C-4A6D-B51D-DDAE8BC6E9BD}" dt="2023-11-06T20:55:25.195" v="33524"/>
          <ac:spMkLst>
            <pc:docMk/>
            <pc:sldMk cId="3074322027" sldId="394"/>
            <ac:spMk id="161" creationId="{0A8FB5D8-6744-FC22-7E68-89398F14D02B}"/>
          </ac:spMkLst>
        </pc:spChg>
        <pc:spChg chg="del mod">
          <ac:chgData name="Tan, Roger" userId="f6f33758-bd69-4951-8148-181de3b92474" providerId="ADAL" clId="{A436842E-EA5C-4A6D-B51D-DDAE8BC6E9BD}" dt="2023-11-06T20:55:25.194" v="33522"/>
          <ac:spMkLst>
            <pc:docMk/>
            <pc:sldMk cId="3074322027" sldId="394"/>
            <ac:spMk id="162" creationId="{DB073147-8F00-EBEA-F4AA-25312FE302D9}"/>
          </ac:spMkLst>
        </pc:spChg>
        <pc:spChg chg="del mod">
          <ac:chgData name="Tan, Roger" userId="f6f33758-bd69-4951-8148-181de3b92474" providerId="ADAL" clId="{A436842E-EA5C-4A6D-B51D-DDAE8BC6E9BD}" dt="2023-11-06T20:55:25.192" v="33518"/>
          <ac:spMkLst>
            <pc:docMk/>
            <pc:sldMk cId="3074322027" sldId="394"/>
            <ac:spMk id="163" creationId="{53AB2AA0-33C8-C86C-1C47-0A9D5BCCCA41}"/>
          </ac:spMkLst>
        </pc:spChg>
        <pc:spChg chg="del mod">
          <ac:chgData name="Tan, Roger" userId="f6f33758-bd69-4951-8148-181de3b92474" providerId="ADAL" clId="{A436842E-EA5C-4A6D-B51D-DDAE8BC6E9BD}" dt="2023-11-06T20:55:25.191" v="33516"/>
          <ac:spMkLst>
            <pc:docMk/>
            <pc:sldMk cId="3074322027" sldId="394"/>
            <ac:spMk id="164" creationId="{B4492960-2F0B-78EE-7AC7-E3C3995B9808}"/>
          </ac:spMkLst>
        </pc:spChg>
        <pc:spChg chg="del mod">
          <ac:chgData name="Tan, Roger" userId="f6f33758-bd69-4951-8148-181de3b92474" providerId="ADAL" clId="{A436842E-EA5C-4A6D-B51D-DDAE8BC6E9BD}" dt="2023-11-06T20:55:25.195" v="33523"/>
          <ac:spMkLst>
            <pc:docMk/>
            <pc:sldMk cId="3074322027" sldId="394"/>
            <ac:spMk id="166" creationId="{1A1113B8-6752-6674-3C93-9B8AA3A09570}"/>
          </ac:spMkLst>
        </pc:spChg>
        <pc:spChg chg="del mod">
          <ac:chgData name="Tan, Roger" userId="f6f33758-bd69-4951-8148-181de3b92474" providerId="ADAL" clId="{A436842E-EA5C-4A6D-B51D-DDAE8BC6E9BD}" dt="2023-11-06T20:55:25.194" v="33521"/>
          <ac:spMkLst>
            <pc:docMk/>
            <pc:sldMk cId="3074322027" sldId="394"/>
            <ac:spMk id="167" creationId="{4218EC9E-E37E-DF04-D482-34DC04D22557}"/>
          </ac:spMkLst>
        </pc:spChg>
        <pc:spChg chg="del mod">
          <ac:chgData name="Tan, Roger" userId="f6f33758-bd69-4951-8148-181de3b92474" providerId="ADAL" clId="{A436842E-EA5C-4A6D-B51D-DDAE8BC6E9BD}" dt="2023-11-06T20:55:25.192" v="33517"/>
          <ac:spMkLst>
            <pc:docMk/>
            <pc:sldMk cId="3074322027" sldId="394"/>
            <ac:spMk id="168" creationId="{BBE5DE74-4E1F-A78E-6630-81B26E253890}"/>
          </ac:spMkLst>
        </pc:spChg>
        <pc:spChg chg="del mod">
          <ac:chgData name="Tan, Roger" userId="f6f33758-bd69-4951-8148-181de3b92474" providerId="ADAL" clId="{A436842E-EA5C-4A6D-B51D-DDAE8BC6E9BD}" dt="2023-11-06T20:55:25.191" v="33515"/>
          <ac:spMkLst>
            <pc:docMk/>
            <pc:sldMk cId="3074322027" sldId="394"/>
            <ac:spMk id="169" creationId="{493B8A6E-B251-F1FB-7DF8-DB0719247935}"/>
          </ac:spMkLst>
        </pc:spChg>
        <pc:spChg chg="del mod">
          <ac:chgData name="Tan, Roger" userId="f6f33758-bd69-4951-8148-181de3b92474" providerId="ADAL" clId="{A436842E-EA5C-4A6D-B51D-DDAE8BC6E9BD}" dt="2023-11-06T20:53:52.050" v="31777"/>
          <ac:spMkLst>
            <pc:docMk/>
            <pc:sldMk cId="3074322027" sldId="394"/>
            <ac:spMk id="205" creationId="{E5CEEBDA-EB0A-7B21-7F69-90CC1659879E}"/>
          </ac:spMkLst>
        </pc:spChg>
        <pc:spChg chg="del mod">
          <ac:chgData name="Tan, Roger" userId="f6f33758-bd69-4951-8148-181de3b92474" providerId="ADAL" clId="{A436842E-EA5C-4A6D-B51D-DDAE8BC6E9BD}" dt="2023-11-06T20:55:25.193" v="33520"/>
          <ac:spMkLst>
            <pc:docMk/>
            <pc:sldMk cId="3074322027" sldId="394"/>
            <ac:spMk id="209" creationId="{B1D486CF-B225-C706-0A74-339291291955}"/>
          </ac:spMkLst>
        </pc:spChg>
        <pc:spChg chg="del mod">
          <ac:chgData name="Tan, Roger" userId="f6f33758-bd69-4951-8148-181de3b92474" providerId="ADAL" clId="{A436842E-EA5C-4A6D-B51D-DDAE8BC6E9BD}" dt="2023-11-06T20:55:25.193" v="33519"/>
          <ac:spMkLst>
            <pc:docMk/>
            <pc:sldMk cId="3074322027" sldId="394"/>
            <ac:spMk id="210" creationId="{8BE9A6B1-268C-81ED-636F-FED860E11FE5}"/>
          </ac:spMkLst>
        </pc:spChg>
        <pc:spChg chg="mod ord">
          <ac:chgData name="Tan, Roger" userId="f6f33758-bd69-4951-8148-181de3b92474" providerId="ADAL" clId="{A436842E-EA5C-4A6D-B51D-DDAE8BC6E9BD}" dt="2023-11-06T21:00:31.202" v="37099"/>
          <ac:spMkLst>
            <pc:docMk/>
            <pc:sldMk cId="3074322027" sldId="394"/>
            <ac:spMk id="228" creationId="{D2D10EBA-82D0-AF9D-12E9-3F8D82B8B2F4}"/>
          </ac:spMkLst>
        </pc:spChg>
        <pc:spChg chg="mod">
          <ac:chgData name="Tan, Roger" userId="f6f33758-bd69-4951-8148-181de3b92474" providerId="ADAL" clId="{A436842E-EA5C-4A6D-B51D-DDAE8BC6E9BD}" dt="2023-11-06T21:00:15.221" v="37075"/>
          <ac:spMkLst>
            <pc:docMk/>
            <pc:sldMk cId="3074322027" sldId="394"/>
            <ac:spMk id="326" creationId="{6A98CF09-09E3-75F6-57DC-64E1E1678C47}"/>
          </ac:spMkLst>
        </pc:spChg>
        <pc:spChg chg="del mod ord">
          <ac:chgData name="Tan, Roger" userId="f6f33758-bd69-4951-8148-181de3b92474" providerId="ADAL" clId="{A436842E-EA5C-4A6D-B51D-DDAE8BC6E9BD}" dt="2023-11-06T20:55:25.188" v="33510"/>
          <ac:spMkLst>
            <pc:docMk/>
            <pc:sldMk cId="3074322027" sldId="394"/>
            <ac:spMk id="413" creationId="{B284629E-A277-50AA-F5B6-F339E5B5BAFC}"/>
          </ac:spMkLst>
        </pc:spChg>
        <pc:spChg chg="del mod ord">
          <ac:chgData name="Tan, Roger" userId="f6f33758-bd69-4951-8148-181de3b92474" providerId="ADAL" clId="{A436842E-EA5C-4A6D-B51D-DDAE8BC6E9BD}" dt="2023-11-06T20:55:25.189" v="33512"/>
          <ac:spMkLst>
            <pc:docMk/>
            <pc:sldMk cId="3074322027" sldId="394"/>
            <ac:spMk id="414" creationId="{18941C1B-4A0F-B3F9-2D57-5E8388C45260}"/>
          </ac:spMkLst>
        </pc:spChg>
        <pc:spChg chg="del mod ord">
          <ac:chgData name="Tan, Roger" userId="f6f33758-bd69-4951-8148-181de3b92474" providerId="ADAL" clId="{A436842E-EA5C-4A6D-B51D-DDAE8BC6E9BD}" dt="2023-11-06T20:56:45.823" v="34840" actId="478"/>
          <ac:spMkLst>
            <pc:docMk/>
            <pc:sldMk cId="3074322027" sldId="394"/>
            <ac:spMk id="445" creationId="{8EB04C8D-FDD6-9561-FE68-1FC384A0B609}"/>
          </ac:spMkLst>
        </pc:spChg>
        <pc:spChg chg="add mod replST">
          <ac:chgData name="Tan, Roger" userId="f6f33758-bd69-4951-8148-181de3b92474" providerId="ADAL" clId="{A436842E-EA5C-4A6D-B51D-DDAE8BC6E9BD}" dt="2023-11-06T21:00:15.222" v="37079"/>
          <ac:spMkLst>
            <pc:docMk/>
            <pc:sldMk cId="3074322027" sldId="394"/>
            <ac:spMk id="449" creationId="{6433B68B-068E-B991-F622-E4E710CD5475}"/>
          </ac:spMkLst>
        </pc:spChg>
        <pc:spChg chg="del mod ord">
          <ac:chgData name="Tan, Roger" userId="f6f33758-bd69-4951-8148-181de3b92474" providerId="ADAL" clId="{A436842E-EA5C-4A6D-B51D-DDAE8BC6E9BD}" dt="2023-11-06T20:55:16.976" v="33156" actId="478"/>
          <ac:spMkLst>
            <pc:docMk/>
            <pc:sldMk cId="3074322027" sldId="394"/>
            <ac:spMk id="451" creationId="{F2E4C5CA-6943-EF81-260A-3B13BF63C055}"/>
          </ac:spMkLst>
        </pc:spChg>
        <pc:spChg chg="add del mod modVis">
          <ac:chgData name="Tan, Roger" userId="f6f33758-bd69-4951-8148-181de3b92474" providerId="ADAL" clId="{A436842E-EA5C-4A6D-B51D-DDAE8BC6E9BD}" dt="2023-11-06T20:56:10.479" v="34501"/>
          <ac:spMkLst>
            <pc:docMk/>
            <pc:sldMk cId="3074322027" sldId="394"/>
            <ac:spMk id="453" creationId="{10C247D5-B4E7-3F9C-ECCA-DECFBAA7C40F}"/>
          </ac:spMkLst>
        </pc:spChg>
        <pc:spChg chg="add del mod modVis">
          <ac:chgData name="Tan, Roger" userId="f6f33758-bd69-4951-8148-181de3b92474" providerId="ADAL" clId="{A436842E-EA5C-4A6D-B51D-DDAE8BC6E9BD}" dt="2023-11-06T20:56:11.479" v="34565"/>
          <ac:spMkLst>
            <pc:docMk/>
            <pc:sldMk cId="3074322027" sldId="394"/>
            <ac:spMk id="455" creationId="{FB1F6668-E3EB-D971-2751-BE7B05340EAC}"/>
          </ac:spMkLst>
        </pc:spChg>
        <pc:spChg chg="add del mod ord">
          <ac:chgData name="Tan, Roger" userId="f6f33758-bd69-4951-8148-181de3b92474" providerId="ADAL" clId="{A436842E-EA5C-4A6D-B51D-DDAE8BC6E9BD}" dt="2023-11-07T08:48:49.899" v="72242" actId="478"/>
          <ac:spMkLst>
            <pc:docMk/>
            <pc:sldMk cId="3074322027" sldId="394"/>
            <ac:spMk id="458" creationId="{68ABE0D3-9778-A06B-253A-86897D323DBD}"/>
          </ac:spMkLst>
        </pc:spChg>
        <pc:spChg chg="add mod ord">
          <ac:chgData name="Tan, Roger" userId="f6f33758-bd69-4951-8148-181de3b92474" providerId="ADAL" clId="{A436842E-EA5C-4A6D-B51D-DDAE8BC6E9BD}" dt="2023-11-06T21:01:33.010" v="37119" actId="1076"/>
          <ac:spMkLst>
            <pc:docMk/>
            <pc:sldMk cId="3074322027" sldId="394"/>
            <ac:spMk id="460" creationId="{57E6C8A6-8CBD-90A2-95DC-6E252AC1B6D1}"/>
          </ac:spMkLst>
        </pc:spChg>
        <pc:spChg chg="add del mod modVis">
          <ac:chgData name="Tan, Roger" userId="f6f33758-bd69-4951-8148-181de3b92474" providerId="ADAL" clId="{A436842E-EA5C-4A6D-B51D-DDAE8BC6E9BD}" dt="2023-11-06T20:57:21.628" v="35049"/>
          <ac:spMkLst>
            <pc:docMk/>
            <pc:sldMk cId="3074322027" sldId="394"/>
            <ac:spMk id="461" creationId="{688F6638-3681-7551-59B1-B7881E389BAA}"/>
          </ac:spMkLst>
        </pc:spChg>
        <pc:spChg chg="add mod ord replST">
          <ac:chgData name="Tan, Roger" userId="f6f33758-bd69-4951-8148-181de3b92474" providerId="ADAL" clId="{A436842E-EA5C-4A6D-B51D-DDAE8BC6E9BD}" dt="2023-11-06T21:00:15.223" v="37081"/>
          <ac:spMkLst>
            <pc:docMk/>
            <pc:sldMk cId="3074322027" sldId="394"/>
            <ac:spMk id="462" creationId="{416E1270-87E7-D9DE-12F9-92FF0B5FC9EC}"/>
          </ac:spMkLst>
        </pc:spChg>
        <pc:spChg chg="add del mod modVis">
          <ac:chgData name="Tan, Roger" userId="f6f33758-bd69-4951-8148-181de3b92474" providerId="ADAL" clId="{A436842E-EA5C-4A6D-B51D-DDAE8BC6E9BD}" dt="2023-11-06T20:57:36.325" v="35183"/>
          <ac:spMkLst>
            <pc:docMk/>
            <pc:sldMk cId="3074322027" sldId="394"/>
            <ac:spMk id="467" creationId="{A9B7EF71-8391-EC50-9344-D1D98C93B97D}"/>
          </ac:spMkLst>
        </pc:spChg>
        <pc:spChg chg="add del mod modVis">
          <ac:chgData name="Tan, Roger" userId="f6f33758-bd69-4951-8148-181de3b92474" providerId="ADAL" clId="{A436842E-EA5C-4A6D-B51D-DDAE8BC6E9BD}" dt="2023-11-06T20:57:38.776" v="35289"/>
          <ac:spMkLst>
            <pc:docMk/>
            <pc:sldMk cId="3074322027" sldId="394"/>
            <ac:spMk id="469" creationId="{8E372DA5-34C1-B77E-2FF4-839C6AA59A4A}"/>
          </ac:spMkLst>
        </pc:spChg>
        <pc:spChg chg="add del mod modVis">
          <ac:chgData name="Tan, Roger" userId="f6f33758-bd69-4951-8148-181de3b92474" providerId="ADAL" clId="{A436842E-EA5C-4A6D-B51D-DDAE8BC6E9BD}" dt="2023-11-06T20:57:44.330" v="35404"/>
          <ac:spMkLst>
            <pc:docMk/>
            <pc:sldMk cId="3074322027" sldId="394"/>
            <ac:spMk id="471" creationId="{920C13AF-2308-2320-F0CC-1986FF36092C}"/>
          </ac:spMkLst>
        </pc:spChg>
        <pc:spChg chg="add del mod modVis">
          <ac:chgData name="Tan, Roger" userId="f6f33758-bd69-4951-8148-181de3b92474" providerId="ADAL" clId="{A436842E-EA5C-4A6D-B51D-DDAE8BC6E9BD}" dt="2023-11-06T20:57:50.308" v="35514"/>
          <ac:spMkLst>
            <pc:docMk/>
            <pc:sldMk cId="3074322027" sldId="394"/>
            <ac:spMk id="473" creationId="{C1BDB1F6-FC34-E121-79AA-CB13F8D98386}"/>
          </ac:spMkLst>
        </pc:spChg>
        <pc:spChg chg="add del mod modVis">
          <ac:chgData name="Tan, Roger" userId="f6f33758-bd69-4951-8148-181de3b92474" providerId="ADAL" clId="{A436842E-EA5C-4A6D-B51D-DDAE8BC6E9BD}" dt="2023-11-06T20:58:06.745" v="35624"/>
          <ac:spMkLst>
            <pc:docMk/>
            <pc:sldMk cId="3074322027" sldId="394"/>
            <ac:spMk id="475" creationId="{AB0D7F23-9EC2-62C0-EC84-73B81491EB38}"/>
          </ac:spMkLst>
        </pc:spChg>
        <pc:spChg chg="add del mod modVis">
          <ac:chgData name="Tan, Roger" userId="f6f33758-bd69-4951-8148-181de3b92474" providerId="ADAL" clId="{A436842E-EA5C-4A6D-B51D-DDAE8BC6E9BD}" dt="2023-11-06T20:58:11.226" v="35725"/>
          <ac:spMkLst>
            <pc:docMk/>
            <pc:sldMk cId="3074322027" sldId="394"/>
            <ac:spMk id="477" creationId="{3D014233-2FDE-6EE3-787A-93E00DBBE28A}"/>
          </ac:spMkLst>
        </pc:spChg>
        <pc:spChg chg="add del mod modVis">
          <ac:chgData name="Tan, Roger" userId="f6f33758-bd69-4951-8148-181de3b92474" providerId="ADAL" clId="{A436842E-EA5C-4A6D-B51D-DDAE8BC6E9BD}" dt="2023-11-06T20:58:12.276" v="35825"/>
          <ac:spMkLst>
            <pc:docMk/>
            <pc:sldMk cId="3074322027" sldId="394"/>
            <ac:spMk id="479" creationId="{1AE2429F-5161-6C33-4C36-C09D85ADF54D}"/>
          </ac:spMkLst>
        </pc:spChg>
        <pc:spChg chg="add del mod modVis">
          <ac:chgData name="Tan, Roger" userId="f6f33758-bd69-4951-8148-181de3b92474" providerId="ADAL" clId="{A436842E-EA5C-4A6D-B51D-DDAE8BC6E9BD}" dt="2023-11-06T20:58:15.799" v="35923"/>
          <ac:spMkLst>
            <pc:docMk/>
            <pc:sldMk cId="3074322027" sldId="394"/>
            <ac:spMk id="481" creationId="{43355A19-3D14-E68B-B361-5760D5EF30EA}"/>
          </ac:spMkLst>
        </pc:spChg>
        <pc:spChg chg="add del mod modVis">
          <ac:chgData name="Tan, Roger" userId="f6f33758-bd69-4951-8148-181de3b92474" providerId="ADAL" clId="{A436842E-EA5C-4A6D-B51D-DDAE8BC6E9BD}" dt="2023-11-06T20:58:23.584" v="36002"/>
          <ac:spMkLst>
            <pc:docMk/>
            <pc:sldMk cId="3074322027" sldId="394"/>
            <ac:spMk id="483" creationId="{B3300863-E4CC-C36E-62F1-61535C88997A}"/>
          </ac:spMkLst>
        </pc:spChg>
        <pc:spChg chg="add del mod modVis">
          <ac:chgData name="Tan, Roger" userId="f6f33758-bd69-4951-8148-181de3b92474" providerId="ADAL" clId="{A436842E-EA5C-4A6D-B51D-DDAE8BC6E9BD}" dt="2023-11-06T20:58:27.970" v="36079"/>
          <ac:spMkLst>
            <pc:docMk/>
            <pc:sldMk cId="3074322027" sldId="394"/>
            <ac:spMk id="485" creationId="{AA1D70C9-70F1-2C72-F861-7A52A9085B5C}"/>
          </ac:spMkLst>
        </pc:spChg>
        <pc:spChg chg="add del mod modVis">
          <ac:chgData name="Tan, Roger" userId="f6f33758-bd69-4951-8148-181de3b92474" providerId="ADAL" clId="{A436842E-EA5C-4A6D-B51D-DDAE8BC6E9BD}" dt="2023-11-06T20:58:30.997" v="36164"/>
          <ac:spMkLst>
            <pc:docMk/>
            <pc:sldMk cId="3074322027" sldId="394"/>
            <ac:spMk id="487" creationId="{BAC114DC-9176-1753-66B7-461E57FA622A}"/>
          </ac:spMkLst>
        </pc:spChg>
        <pc:spChg chg="add del mod modVis">
          <ac:chgData name="Tan, Roger" userId="f6f33758-bd69-4951-8148-181de3b92474" providerId="ADAL" clId="{A436842E-EA5C-4A6D-B51D-DDAE8BC6E9BD}" dt="2023-11-06T20:58:37.950" v="36287"/>
          <ac:spMkLst>
            <pc:docMk/>
            <pc:sldMk cId="3074322027" sldId="394"/>
            <ac:spMk id="489" creationId="{36AC4AB2-E98C-F62B-51A2-1101BDA016F0}"/>
          </ac:spMkLst>
        </pc:spChg>
        <pc:spChg chg="add del mod modVis">
          <ac:chgData name="Tan, Roger" userId="f6f33758-bd69-4951-8148-181de3b92474" providerId="ADAL" clId="{A436842E-EA5C-4A6D-B51D-DDAE8BC6E9BD}" dt="2023-11-06T20:58:39.362" v="36416"/>
          <ac:spMkLst>
            <pc:docMk/>
            <pc:sldMk cId="3074322027" sldId="394"/>
            <ac:spMk id="491" creationId="{042DFCEB-D19B-0ECB-1387-6B77BF159905}"/>
          </ac:spMkLst>
        </pc:spChg>
        <pc:spChg chg="add del mod modVis">
          <ac:chgData name="Tan, Roger" userId="f6f33758-bd69-4951-8148-181de3b92474" providerId="ADAL" clId="{A436842E-EA5C-4A6D-B51D-DDAE8BC6E9BD}" dt="2023-11-06T20:58:41.444" v="36543"/>
          <ac:spMkLst>
            <pc:docMk/>
            <pc:sldMk cId="3074322027" sldId="394"/>
            <ac:spMk id="493" creationId="{970E3BD3-F635-5D65-1859-43B8DDD93801}"/>
          </ac:spMkLst>
        </pc:spChg>
        <pc:spChg chg="add del mod modVis">
          <ac:chgData name="Tan, Roger" userId="f6f33758-bd69-4951-8148-181de3b92474" providerId="ADAL" clId="{A436842E-EA5C-4A6D-B51D-DDAE8BC6E9BD}" dt="2023-11-06T20:58:45.349" v="36618"/>
          <ac:spMkLst>
            <pc:docMk/>
            <pc:sldMk cId="3074322027" sldId="394"/>
            <ac:spMk id="495" creationId="{B87FD953-0BC0-1AFA-4A21-23D2A5AEA271}"/>
          </ac:spMkLst>
        </pc:spChg>
        <pc:spChg chg="add del mod modVis">
          <ac:chgData name="Tan, Roger" userId="f6f33758-bd69-4951-8148-181de3b92474" providerId="ADAL" clId="{A436842E-EA5C-4A6D-B51D-DDAE8BC6E9BD}" dt="2023-11-06T20:58:46.790" v="36693"/>
          <ac:spMkLst>
            <pc:docMk/>
            <pc:sldMk cId="3074322027" sldId="394"/>
            <ac:spMk id="497" creationId="{D058B8D5-6670-85E5-F974-061089A01502}"/>
          </ac:spMkLst>
        </pc:spChg>
        <pc:spChg chg="add del mod modVis">
          <ac:chgData name="Tan, Roger" userId="f6f33758-bd69-4951-8148-181de3b92474" providerId="ADAL" clId="{A436842E-EA5C-4A6D-B51D-DDAE8BC6E9BD}" dt="2023-11-06T20:58:50.202" v="36816"/>
          <ac:spMkLst>
            <pc:docMk/>
            <pc:sldMk cId="3074322027" sldId="394"/>
            <ac:spMk id="499" creationId="{45887AEE-FDD3-7010-5217-AEF370C28D7A}"/>
          </ac:spMkLst>
        </pc:spChg>
        <pc:spChg chg="add del mod modVis">
          <ac:chgData name="Tan, Roger" userId="f6f33758-bd69-4951-8148-181de3b92474" providerId="ADAL" clId="{A436842E-EA5C-4A6D-B51D-DDAE8BC6E9BD}" dt="2023-11-06T21:00:15.226" v="37095"/>
          <ac:spMkLst>
            <pc:docMk/>
            <pc:sldMk cId="3074322027" sldId="394"/>
            <ac:spMk id="502" creationId="{42DFE446-6940-52DC-727E-209A8FBE112A}"/>
          </ac:spMkLst>
        </pc:spChg>
        <pc:graphicFrameChg chg="del">
          <ac:chgData name="Tan, Roger" userId="f6f33758-bd69-4951-8148-181de3b92474" providerId="ADAL" clId="{A436842E-EA5C-4A6D-B51D-DDAE8BC6E9BD}" dt="2023-11-06T20:53:47.355" v="31718"/>
          <ac:graphicFrameMkLst>
            <pc:docMk/>
            <pc:sldMk cId="3074322027" sldId="394"/>
            <ac:graphicFrameMk id="4" creationId="{D3ACFE7E-1277-0C12-297D-96BA58E76A3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3:52.122" v="31816"/>
          <ac:graphicFrameMkLst>
            <pc:docMk/>
            <pc:sldMk cId="3074322027" sldId="394"/>
            <ac:graphicFrameMk id="5" creationId="{6DC55BF4-2336-3574-0D14-91FF2C884D1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01.431" v="31924"/>
          <ac:graphicFrameMkLst>
            <pc:docMk/>
            <pc:sldMk cId="3074322027" sldId="394"/>
            <ac:graphicFrameMk id="7" creationId="{1D89D859-7F0D-5F71-5213-243E5E42C85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15.111" v="32029"/>
          <ac:graphicFrameMkLst>
            <pc:docMk/>
            <pc:sldMk cId="3074322027" sldId="394"/>
            <ac:graphicFrameMk id="9" creationId="{886FACE0-8436-12C7-434B-F361FCD11C0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31.727" v="32125"/>
          <ac:graphicFrameMkLst>
            <pc:docMk/>
            <pc:sldMk cId="3074322027" sldId="394"/>
            <ac:graphicFrameMk id="11" creationId="{7D9EC2C6-561B-61D1-743D-3B43CFEA104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42.911" v="32246"/>
          <ac:graphicFrameMkLst>
            <pc:docMk/>
            <pc:sldMk cId="3074322027" sldId="394"/>
            <ac:graphicFrameMk id="13" creationId="{519C7F83-DC02-4D71-0211-4D09A948695B}"/>
          </ac:graphicFrameMkLst>
        </pc:graphicFrameChg>
        <pc:graphicFrameChg chg="mod">
          <ac:chgData name="Tan, Roger" userId="f6f33758-bd69-4951-8148-181de3b92474" providerId="ADAL" clId="{A436842E-EA5C-4A6D-B51D-DDAE8BC6E9BD}" dt="2023-11-06T21:01:30.141" v="37118"/>
          <ac:graphicFrameMkLst>
            <pc:docMk/>
            <pc:sldMk cId="3074322027" sldId="394"/>
            <ac:graphicFrameMk id="16" creationId="{B4FC88EE-B108-1D0C-322C-A0E9684DBFB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44.199" v="32348"/>
          <ac:graphicFrameMkLst>
            <pc:docMk/>
            <pc:sldMk cId="3074322027" sldId="394"/>
            <ac:graphicFrameMk id="17" creationId="{F77740FC-E11C-F66F-F592-3E35CB696C1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47.267" v="32458"/>
          <ac:graphicFrameMkLst>
            <pc:docMk/>
            <pc:sldMk cId="3074322027" sldId="394"/>
            <ac:graphicFrameMk id="19" creationId="{86947392-8554-57EB-F74D-05FD140BAE4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48.749" v="32579"/>
          <ac:graphicFrameMkLst>
            <pc:docMk/>
            <pc:sldMk cId="3074322027" sldId="394"/>
            <ac:graphicFrameMk id="21" creationId="{A3B76557-C663-076B-1BB8-6BB60201EE7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4:59.841" v="32682"/>
          <ac:graphicFrameMkLst>
            <pc:docMk/>
            <pc:sldMk cId="3074322027" sldId="394"/>
            <ac:graphicFrameMk id="23" creationId="{FE3F4C39-79A9-8BDE-A8D7-0516E3A5438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02.532" v="32774"/>
          <ac:graphicFrameMkLst>
            <pc:docMk/>
            <pc:sldMk cId="3074322027" sldId="394"/>
            <ac:graphicFrameMk id="25" creationId="{509EBA58-2D45-9F81-C608-8EDC280F324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06.308" v="32866"/>
          <ac:graphicFrameMkLst>
            <pc:docMk/>
            <pc:sldMk cId="3074322027" sldId="394"/>
            <ac:graphicFrameMk id="27" creationId="{6BA968A3-2616-3793-2CBA-1EFA152122B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08.334" v="32975"/>
          <ac:graphicFrameMkLst>
            <pc:docMk/>
            <pc:sldMk cId="3074322027" sldId="394"/>
            <ac:graphicFrameMk id="30" creationId="{E5018279-8516-DD67-CF9C-24D97E775AA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11.009" v="33094"/>
          <ac:graphicFrameMkLst>
            <pc:docMk/>
            <pc:sldMk cId="3074322027" sldId="394"/>
            <ac:graphicFrameMk id="33" creationId="{25AC5F3E-B167-67CF-D55F-8B1E8BE909D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41.930" v="33638"/>
          <ac:graphicFrameMkLst>
            <pc:docMk/>
            <pc:sldMk cId="3074322027" sldId="394"/>
            <ac:graphicFrameMk id="36" creationId="{22408AEA-A32A-03F9-DF14-50B10AD2BD4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19.865" v="33313"/>
          <ac:graphicFrameMkLst>
            <pc:docMk/>
            <pc:sldMk cId="3074322027" sldId="394"/>
            <ac:graphicFrameMk id="39" creationId="{18139926-E25A-7ACF-5145-FC4E04439AF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25.197" v="33526"/>
          <ac:graphicFrameMkLst>
            <pc:docMk/>
            <pc:sldMk cId="3074322027" sldId="394"/>
            <ac:graphicFrameMk id="40" creationId="{DA727D44-132C-F739-E310-83AF74063250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6T20:55:22.534" v="33504"/>
          <ac:graphicFrameMkLst>
            <pc:docMk/>
            <pc:sldMk cId="3074322027" sldId="394"/>
            <ac:graphicFrameMk id="42" creationId="{3CEA47D8-ACA7-BB81-E44F-0A83E9EF1A4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44.419" v="33705"/>
          <ac:graphicFrameMkLst>
            <pc:docMk/>
            <pc:sldMk cId="3074322027" sldId="394"/>
            <ac:graphicFrameMk id="44" creationId="{F1DD20C3-9E76-7893-BBD0-70F427D5C8D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45.287" v="33768"/>
          <ac:graphicFrameMkLst>
            <pc:docMk/>
            <pc:sldMk cId="3074322027" sldId="394"/>
            <ac:graphicFrameMk id="46" creationId="{2C4F65E8-EC53-D026-838D-402738ECF3C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47.288" v="33832"/>
          <ac:graphicFrameMkLst>
            <pc:docMk/>
            <pc:sldMk cId="3074322027" sldId="394"/>
            <ac:graphicFrameMk id="48" creationId="{577A9DB0-D490-5B58-0BDC-2B323F4F12E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48.245" v="33896"/>
          <ac:graphicFrameMkLst>
            <pc:docMk/>
            <pc:sldMk cId="3074322027" sldId="394"/>
            <ac:graphicFrameMk id="50" creationId="{B3F0885A-C0ED-59BC-EA85-22052B04EF0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55.421" v="33956"/>
          <ac:graphicFrameMkLst>
            <pc:docMk/>
            <pc:sldMk cId="3074322027" sldId="394"/>
            <ac:graphicFrameMk id="52" creationId="{7E60372B-0EFC-628A-E08D-2833A23EAE0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5:59.048" v="34016"/>
          <ac:graphicFrameMkLst>
            <pc:docMk/>
            <pc:sldMk cId="3074322027" sldId="394"/>
            <ac:graphicFrameMk id="54" creationId="{2199004D-98B8-E04E-50FE-63E49D587B3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00.526" v="34139"/>
          <ac:graphicFrameMkLst>
            <pc:docMk/>
            <pc:sldMk cId="3074322027" sldId="394"/>
            <ac:graphicFrameMk id="56" creationId="{CD0E1CC2-6A01-2FAE-E586-76E719A2B8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01.957" v="34212"/>
          <ac:graphicFrameMkLst>
            <pc:docMk/>
            <pc:sldMk cId="3074322027" sldId="394"/>
            <ac:graphicFrameMk id="59" creationId="{83E937A4-507B-FE12-AC13-7A4FA313F77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06.056" v="34402"/>
          <ac:graphicFrameMkLst>
            <pc:docMk/>
            <pc:sldMk cId="3074322027" sldId="394"/>
            <ac:graphicFrameMk id="61" creationId="{1F83C344-267C-EBAD-82EC-916874A07FE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10.460" v="34478"/>
          <ac:graphicFrameMkLst>
            <pc:docMk/>
            <pc:sldMk cId="3074322027" sldId="394"/>
            <ac:graphicFrameMk id="450" creationId="{B8D9F38E-0652-6DEA-77C4-AD821D295B9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6:11.443" v="34542"/>
          <ac:graphicFrameMkLst>
            <pc:docMk/>
            <pc:sldMk cId="3074322027" sldId="394"/>
            <ac:graphicFrameMk id="454" creationId="{314BB9D9-777F-A265-F774-F5E715A683D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7:21.589" v="35005"/>
          <ac:graphicFrameMkLst>
            <pc:docMk/>
            <pc:sldMk cId="3074322027" sldId="394"/>
            <ac:graphicFrameMk id="456" creationId="{54BBA28D-81DB-9E09-4774-E2AC89BB73D1}"/>
          </ac:graphicFrameMkLst>
        </pc:graphicFrameChg>
        <pc:graphicFrameChg chg="add del mod ord">
          <ac:chgData name="Tan, Roger" userId="f6f33758-bd69-4951-8148-181de3b92474" providerId="ADAL" clId="{A436842E-EA5C-4A6D-B51D-DDAE8BC6E9BD}" dt="2023-11-07T08:48:49.899" v="72242" actId="478"/>
          <ac:graphicFrameMkLst>
            <pc:docMk/>
            <pc:sldMk cId="3074322027" sldId="394"/>
            <ac:graphicFrameMk id="457" creationId="{7FA0D028-E1CC-E28F-70A7-2BDF184ACDBA}"/>
          </ac:graphicFrameMkLst>
        </pc:graphicFrameChg>
        <pc:graphicFrameChg chg="del mod ord">
          <ac:chgData name="Tan, Roger" userId="f6f33758-bd69-4951-8148-181de3b92474" providerId="ADAL" clId="{A436842E-EA5C-4A6D-B51D-DDAE8BC6E9BD}" dt="2023-11-06T20:55:18.583" v="33254"/>
          <ac:graphicFrameMkLst>
            <pc:docMk/>
            <pc:sldMk cId="3074322027" sldId="394"/>
            <ac:graphicFrameMk id="459" creationId="{8393F6AB-FD09-3A6F-88EA-F3B12C24E54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7:36.279" v="35139"/>
          <ac:graphicFrameMkLst>
            <pc:docMk/>
            <pc:sldMk cId="3074322027" sldId="394"/>
            <ac:graphicFrameMk id="466" creationId="{C71D4E70-7C50-A9A9-096A-15048C48454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7:38.741" v="35246"/>
          <ac:graphicFrameMkLst>
            <pc:docMk/>
            <pc:sldMk cId="3074322027" sldId="394"/>
            <ac:graphicFrameMk id="468" creationId="{4122D09C-734F-6CB3-E2FD-1BD1EF6EB2F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7:44.295" v="35361"/>
          <ac:graphicFrameMkLst>
            <pc:docMk/>
            <pc:sldMk cId="3074322027" sldId="394"/>
            <ac:graphicFrameMk id="470" creationId="{7E21396A-ACCA-7ED4-F0B6-01668651EFC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7:50.250" v="35471"/>
          <ac:graphicFrameMkLst>
            <pc:docMk/>
            <pc:sldMk cId="3074322027" sldId="394"/>
            <ac:graphicFrameMk id="472" creationId="{73F2F2E1-1156-EB95-E152-7552ACAC95B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06.698" v="35581"/>
          <ac:graphicFrameMkLst>
            <pc:docMk/>
            <pc:sldMk cId="3074322027" sldId="394"/>
            <ac:graphicFrameMk id="474" creationId="{43E2A25F-D760-2462-0DF4-77FBFC7E40C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11.195" v="35682"/>
          <ac:graphicFrameMkLst>
            <pc:docMk/>
            <pc:sldMk cId="3074322027" sldId="394"/>
            <ac:graphicFrameMk id="476" creationId="{F014D34D-C3EC-163E-6494-46D55092A72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12.238" v="35782"/>
          <ac:graphicFrameMkLst>
            <pc:docMk/>
            <pc:sldMk cId="3074322027" sldId="394"/>
            <ac:graphicFrameMk id="478" creationId="{E74804B5-F12A-4479-D438-2780C4C908E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15.744" v="35879"/>
          <ac:graphicFrameMkLst>
            <pc:docMk/>
            <pc:sldMk cId="3074322027" sldId="394"/>
            <ac:graphicFrameMk id="480" creationId="{C8DB49B5-49C5-924C-05B2-B40D74BBC92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23.543" v="35969"/>
          <ac:graphicFrameMkLst>
            <pc:docMk/>
            <pc:sldMk cId="3074322027" sldId="394"/>
            <ac:graphicFrameMk id="482" creationId="{E15DA429-7B56-7226-0930-7ACA69355AE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27.928" v="36046"/>
          <ac:graphicFrameMkLst>
            <pc:docMk/>
            <pc:sldMk cId="3074322027" sldId="394"/>
            <ac:graphicFrameMk id="484" creationId="{216C55FC-8CF7-07AA-3264-F44A0CD1A09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30.969" v="36131"/>
          <ac:graphicFrameMkLst>
            <pc:docMk/>
            <pc:sldMk cId="3074322027" sldId="394"/>
            <ac:graphicFrameMk id="486" creationId="{3E75D99F-8263-7759-6DDF-79B3FC75828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37.915" v="36243"/>
          <ac:graphicFrameMkLst>
            <pc:docMk/>
            <pc:sldMk cId="3074322027" sldId="394"/>
            <ac:graphicFrameMk id="488" creationId="{2478163E-6F15-7B32-A2D0-973A35766E8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39.327" v="36372"/>
          <ac:graphicFrameMkLst>
            <pc:docMk/>
            <pc:sldMk cId="3074322027" sldId="394"/>
            <ac:graphicFrameMk id="490" creationId="{5BA80F5E-29D5-8845-33F2-A4FD524537B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41.408" v="36499"/>
          <ac:graphicFrameMkLst>
            <pc:docMk/>
            <pc:sldMk cId="3074322027" sldId="394"/>
            <ac:graphicFrameMk id="492" creationId="{96F1FB06-F39B-8B82-2931-740DD96329D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45.324" v="36585"/>
          <ac:graphicFrameMkLst>
            <pc:docMk/>
            <pc:sldMk cId="3074322027" sldId="394"/>
            <ac:graphicFrameMk id="494" creationId="{CF967CC7-CF74-198C-9DCF-364633606ED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46.745" v="36660"/>
          <ac:graphicFrameMkLst>
            <pc:docMk/>
            <pc:sldMk cId="3074322027" sldId="394"/>
            <ac:graphicFrameMk id="496" creationId="{2C1B3B52-16F0-CD83-1AED-C643314CB2E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0:58:50.160" v="36772"/>
          <ac:graphicFrameMkLst>
            <pc:docMk/>
            <pc:sldMk cId="3074322027" sldId="394"/>
            <ac:graphicFrameMk id="498" creationId="{7273426B-C31C-89FE-ADBD-AF407FC2777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6T21:00:15.193" v="37042"/>
          <ac:graphicFrameMkLst>
            <pc:docMk/>
            <pc:sldMk cId="3074322027" sldId="394"/>
            <ac:graphicFrameMk id="500" creationId="{2F45CEA9-77EF-E7F1-AC2D-EF6848C99F79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6T21:00:15.220" v="37068"/>
          <ac:graphicFrameMkLst>
            <pc:docMk/>
            <pc:sldMk cId="3074322027" sldId="394"/>
            <ac:graphicFrameMk id="503" creationId="{BF4A8B59-5E9C-B95C-090B-D2506B3D2198}"/>
          </ac:graphicFrameMkLst>
        </pc:graphicFrameChg>
        <pc:cxnChg chg="del mod ord">
          <ac:chgData name="Tan, Roger" userId="f6f33758-bd69-4951-8148-181de3b92474" providerId="ADAL" clId="{A436842E-EA5C-4A6D-B51D-DDAE8BC6E9BD}" dt="2023-11-06T20:55:17.967" v="33157" actId="478"/>
          <ac:cxnSpMkLst>
            <pc:docMk/>
            <pc:sldMk cId="3074322027" sldId="394"/>
            <ac:cxnSpMk id="403" creationId="{F25A46CE-B229-E082-11DE-5793C03E25FA}"/>
          </ac:cxnSpMkLst>
        </pc:cxnChg>
        <pc:cxnChg chg="del mod ord">
          <ac:chgData name="Tan, Roger" userId="f6f33758-bd69-4951-8148-181de3b92474" providerId="ADAL" clId="{A436842E-EA5C-4A6D-B51D-DDAE8BC6E9BD}" dt="2023-11-06T20:55:25.185" v="33508"/>
          <ac:cxnSpMkLst>
            <pc:docMk/>
            <pc:sldMk cId="3074322027" sldId="394"/>
            <ac:cxnSpMk id="404" creationId="{B04AFFF8-849C-4891-97D0-06857B0F5949}"/>
          </ac:cxnSpMkLst>
        </pc:cxnChg>
        <pc:cxnChg chg="del mod ord">
          <ac:chgData name="Tan, Roger" userId="f6f33758-bd69-4951-8148-181de3b92474" providerId="ADAL" clId="{A436842E-EA5C-4A6D-B51D-DDAE8BC6E9BD}" dt="2023-11-06T20:55:25.190" v="33514"/>
          <ac:cxnSpMkLst>
            <pc:docMk/>
            <pc:sldMk cId="3074322027" sldId="394"/>
            <ac:cxnSpMk id="410" creationId="{9A0686CE-AB5D-DF5C-E5C9-D79264A66C7E}"/>
          </ac:cxnSpMkLst>
        </pc:cxnChg>
        <pc:cxnChg chg="del mod ord">
          <ac:chgData name="Tan, Roger" userId="f6f33758-bd69-4951-8148-181de3b92474" providerId="ADAL" clId="{A436842E-EA5C-4A6D-B51D-DDAE8BC6E9BD}" dt="2023-11-06T20:56:47.136" v="34841" actId="478"/>
          <ac:cxnSpMkLst>
            <pc:docMk/>
            <pc:sldMk cId="3074322027" sldId="394"/>
            <ac:cxnSpMk id="448" creationId="{D7DD027F-7C28-E011-D334-954DDA1C5952}"/>
          </ac:cxnSpMkLst>
        </pc:cxnChg>
        <pc:cxnChg chg="del mod ord">
          <ac:chgData name="Tan, Roger" userId="f6f33758-bd69-4951-8148-181de3b92474" providerId="ADAL" clId="{A436842E-EA5C-4A6D-B51D-DDAE8BC6E9BD}" dt="2023-11-06T20:55:28.745" v="33531" actId="478"/>
          <ac:cxnSpMkLst>
            <pc:docMk/>
            <pc:sldMk cId="3074322027" sldId="394"/>
            <ac:cxnSpMk id="452" creationId="{C735BA3D-4D54-6907-6492-677CEA42E86B}"/>
          </ac:cxnSpMkLst>
        </pc:cxnChg>
        <pc:cxnChg chg="add mod ord replST">
          <ac:chgData name="Tan, Roger" userId="f6f33758-bd69-4951-8148-181de3b92474" providerId="ADAL" clId="{A436842E-EA5C-4A6D-B51D-DDAE8BC6E9BD}" dt="2023-11-06T21:00:15.220" v="37070"/>
          <ac:cxnSpMkLst>
            <pc:docMk/>
            <pc:sldMk cId="3074322027" sldId="394"/>
            <ac:cxnSpMk id="463" creationId="{0813B2AF-406C-8C15-39F4-1778BFEC0CE5}"/>
          </ac:cxnSpMkLst>
        </pc:cxnChg>
        <pc:cxnChg chg="add mod ord replST">
          <ac:chgData name="Tan, Roger" userId="f6f33758-bd69-4951-8148-181de3b92474" providerId="ADAL" clId="{A436842E-EA5C-4A6D-B51D-DDAE8BC6E9BD}" dt="2023-11-06T21:00:15.220" v="37072"/>
          <ac:cxnSpMkLst>
            <pc:docMk/>
            <pc:sldMk cId="3074322027" sldId="394"/>
            <ac:cxnSpMk id="464" creationId="{A6484DC8-1443-8BBF-839C-D502A0CD9EDD}"/>
          </ac:cxnSpMkLst>
        </pc:cxnChg>
        <pc:cxnChg chg="add mod ord replST">
          <ac:chgData name="Tan, Roger" userId="f6f33758-bd69-4951-8148-181de3b92474" providerId="ADAL" clId="{A436842E-EA5C-4A6D-B51D-DDAE8BC6E9BD}" dt="2023-11-06T21:00:15.221" v="37074"/>
          <ac:cxnSpMkLst>
            <pc:docMk/>
            <pc:sldMk cId="3074322027" sldId="394"/>
            <ac:cxnSpMk id="465" creationId="{8C20F147-9B06-314E-BC85-168694696500}"/>
          </ac:cxnSpMkLst>
        </pc:cxnChg>
        <pc:cxnChg chg="add mod ord">
          <ac:chgData name="Tan, Roger" userId="f6f33758-bd69-4951-8148-181de3b92474" providerId="ADAL" clId="{A436842E-EA5C-4A6D-B51D-DDAE8BC6E9BD}" dt="2023-11-06T21:01:33.010" v="37119" actId="1076"/>
          <ac:cxnSpMkLst>
            <pc:docMk/>
            <pc:sldMk cId="3074322027" sldId="394"/>
            <ac:cxnSpMk id="501" creationId="{E17D51BD-48C6-0D65-46D6-90F18646A154}"/>
          </ac:cxnSpMkLst>
        </pc:cxnChg>
      </pc:sldChg>
      <pc:sldChg chg="add del mod ord modTransition modShow">
        <pc:chgData name="Tan, Roger" userId="f6f33758-bd69-4951-8148-181de3b92474" providerId="ADAL" clId="{A436842E-EA5C-4A6D-B51D-DDAE8BC6E9BD}" dt="2023-11-07T17:24:31.838" v="74381" actId="2696"/>
        <pc:sldMkLst>
          <pc:docMk/>
          <pc:sldMk cId="159869005" sldId="395"/>
        </pc:sldMkLst>
      </pc:sldChg>
      <pc:sldChg chg="addSp delSp modSp add del mod modTransition modShow">
        <pc:chgData name="Tan, Roger" userId="f6f33758-bd69-4951-8148-181de3b92474" providerId="ADAL" clId="{A436842E-EA5C-4A6D-B51D-DDAE8BC6E9BD}" dt="2023-11-07T17:25:16.537" v="74391" actId="2696"/>
        <pc:sldMkLst>
          <pc:docMk/>
          <pc:sldMk cId="2635008197" sldId="400"/>
        </pc:sldMkLst>
        <pc:spChg chg="del">
          <ac:chgData name="Tan, Roger" userId="f6f33758-bd69-4951-8148-181de3b92474" providerId="ADAL" clId="{A436842E-EA5C-4A6D-B51D-DDAE8BC6E9BD}" dt="2023-11-07T03:55:33.598" v="42806"/>
          <ac:spMkLst>
            <pc:docMk/>
            <pc:sldMk cId="2635008197" sldId="400"/>
            <ac:spMk id="3" creationId="{BCCE04C1-AFB8-D80F-A6BD-1D6526F8192A}"/>
          </ac:spMkLst>
        </pc:spChg>
        <pc:spChg chg="add mod replST">
          <ac:chgData name="Tan, Roger" userId="f6f33758-bd69-4951-8148-181de3b92474" providerId="ADAL" clId="{A436842E-EA5C-4A6D-B51D-DDAE8BC6E9BD}" dt="2023-11-07T04:57:31.425" v="55580"/>
          <ac:spMkLst>
            <pc:docMk/>
            <pc:sldMk cId="2635008197" sldId="400"/>
            <ac:spMk id="5" creationId="{D33BDF50-70E4-3EF1-BDD1-01791F80ACAE}"/>
          </ac:spMkLst>
        </pc:spChg>
        <pc:spChg chg="add mod replST">
          <ac:chgData name="Tan, Roger" userId="f6f33758-bd69-4951-8148-181de3b92474" providerId="ADAL" clId="{A436842E-EA5C-4A6D-B51D-DDAE8BC6E9BD}" dt="2023-11-07T04:57:31.425" v="55581"/>
          <ac:spMkLst>
            <pc:docMk/>
            <pc:sldMk cId="2635008197" sldId="400"/>
            <ac:spMk id="6" creationId="{CF558C95-C450-45F4-8D91-AA1B99F301E0}"/>
          </ac:spMkLst>
        </pc:spChg>
        <pc:spChg chg="del">
          <ac:chgData name="Tan, Roger" userId="f6f33758-bd69-4951-8148-181de3b92474" providerId="ADAL" clId="{A436842E-EA5C-4A6D-B51D-DDAE8BC6E9BD}" dt="2023-11-07T03:55:33.596" v="42800"/>
          <ac:spMkLst>
            <pc:docMk/>
            <pc:sldMk cId="2635008197" sldId="400"/>
            <ac:spMk id="7" creationId="{FD57B10E-CC39-FBD8-ED21-8FC54F068094}"/>
          </ac:spMkLst>
        </pc:spChg>
        <pc:spChg chg="add del mod replST">
          <ac:chgData name="Tan, Roger" userId="f6f33758-bd69-4951-8148-181de3b92474" providerId="ADAL" clId="{A436842E-EA5C-4A6D-B51D-DDAE8BC6E9BD}" dt="2023-11-07T04:15:59.766" v="43982"/>
          <ac:spMkLst>
            <pc:docMk/>
            <pc:sldMk cId="2635008197" sldId="400"/>
            <ac:spMk id="8" creationId="{759BE298-6A59-23DD-1FEC-B5CB3D90C85C}"/>
          </ac:spMkLst>
        </pc:spChg>
        <pc:spChg chg="add del mod replST">
          <ac:chgData name="Tan, Roger" userId="f6f33758-bd69-4951-8148-181de3b92474" providerId="ADAL" clId="{A436842E-EA5C-4A6D-B51D-DDAE8BC6E9BD}" dt="2023-11-07T04:15:59.767" v="43984"/>
          <ac:spMkLst>
            <pc:docMk/>
            <pc:sldMk cId="2635008197" sldId="400"/>
            <ac:spMk id="10" creationId="{62FFA8F2-47CF-6D34-2874-86BD1AB0FB85}"/>
          </ac:spMkLst>
        </pc:spChg>
        <pc:spChg chg="del">
          <ac:chgData name="Tan, Roger" userId="f6f33758-bd69-4951-8148-181de3b92474" providerId="ADAL" clId="{A436842E-EA5C-4A6D-B51D-DDAE8BC6E9BD}" dt="2023-11-07T03:55:33.599" v="42807"/>
          <ac:spMkLst>
            <pc:docMk/>
            <pc:sldMk cId="2635008197" sldId="400"/>
            <ac:spMk id="11" creationId="{8FEB5D0F-C82C-4021-FB65-A03CCAA7733D}"/>
          </ac:spMkLst>
        </pc:spChg>
        <pc:spChg chg="add del mod replST">
          <ac:chgData name="Tan, Roger" userId="f6f33758-bd69-4951-8148-181de3b92474" providerId="ADAL" clId="{A436842E-EA5C-4A6D-B51D-DDAE8BC6E9BD}" dt="2023-11-07T04:15:59.767" v="43986"/>
          <ac:spMkLst>
            <pc:docMk/>
            <pc:sldMk cId="2635008197" sldId="400"/>
            <ac:spMk id="12" creationId="{88B88EEB-6534-67C6-3C0E-FC5BD76F825C}"/>
          </ac:spMkLst>
        </pc:spChg>
        <pc:spChg chg="del">
          <ac:chgData name="Tan, Roger" userId="f6f33758-bd69-4951-8148-181de3b92474" providerId="ADAL" clId="{A436842E-EA5C-4A6D-B51D-DDAE8BC6E9BD}" dt="2023-11-07T03:55:33.594" v="42792"/>
          <ac:spMkLst>
            <pc:docMk/>
            <pc:sldMk cId="2635008197" sldId="400"/>
            <ac:spMk id="13" creationId="{1A1806CD-1E2D-8ECE-E0E5-331946386C4C}"/>
          </ac:spMkLst>
        </pc:spChg>
        <pc:spChg chg="del">
          <ac:chgData name="Tan, Roger" userId="f6f33758-bd69-4951-8148-181de3b92474" providerId="ADAL" clId="{A436842E-EA5C-4A6D-B51D-DDAE8BC6E9BD}" dt="2023-11-07T03:55:33.598" v="42805"/>
          <ac:spMkLst>
            <pc:docMk/>
            <pc:sldMk cId="2635008197" sldId="400"/>
            <ac:spMk id="14" creationId="{AE0A0DB4-DB0F-B9AE-B440-21D96E2C5A1C}"/>
          </ac:spMkLst>
        </pc:spChg>
        <pc:spChg chg="del">
          <ac:chgData name="Tan, Roger" userId="f6f33758-bd69-4951-8148-181de3b92474" providerId="ADAL" clId="{A436842E-EA5C-4A6D-B51D-DDAE8BC6E9BD}" dt="2023-11-07T03:55:33.596" v="42798"/>
          <ac:spMkLst>
            <pc:docMk/>
            <pc:sldMk cId="2635008197" sldId="400"/>
            <ac:spMk id="15" creationId="{864DE7C5-A441-C40A-B870-DF0F026F80BA}"/>
          </ac:spMkLst>
        </pc:spChg>
        <pc:spChg chg="del">
          <ac:chgData name="Tan, Roger" userId="f6f33758-bd69-4951-8148-181de3b92474" providerId="ADAL" clId="{A436842E-EA5C-4A6D-B51D-DDAE8BC6E9BD}" dt="2023-11-07T03:55:33.597" v="42803"/>
          <ac:spMkLst>
            <pc:docMk/>
            <pc:sldMk cId="2635008197" sldId="400"/>
            <ac:spMk id="16" creationId="{57234463-0767-AC78-CD70-5C73A74A36A4}"/>
          </ac:spMkLst>
        </pc:spChg>
        <pc:spChg chg="del">
          <ac:chgData name="Tan, Roger" userId="f6f33758-bd69-4951-8148-181de3b92474" providerId="ADAL" clId="{A436842E-EA5C-4A6D-B51D-DDAE8BC6E9BD}" dt="2023-11-07T03:55:33.597" v="42801"/>
          <ac:spMkLst>
            <pc:docMk/>
            <pc:sldMk cId="2635008197" sldId="400"/>
            <ac:spMk id="17" creationId="{6A0ECE27-CD8C-AEF1-ED8C-4EF7BB7752E0}"/>
          </ac:spMkLst>
        </pc:spChg>
        <pc:spChg chg="add del mod replST">
          <ac:chgData name="Tan, Roger" userId="f6f33758-bd69-4951-8148-181de3b92474" providerId="ADAL" clId="{A436842E-EA5C-4A6D-B51D-DDAE8BC6E9BD}" dt="2023-11-07T04:15:59.768" v="43988"/>
          <ac:spMkLst>
            <pc:docMk/>
            <pc:sldMk cId="2635008197" sldId="400"/>
            <ac:spMk id="19" creationId="{815C43CA-9810-D6FB-4F97-3CD1F0DD5422}"/>
          </ac:spMkLst>
        </pc:spChg>
        <pc:spChg chg="del">
          <ac:chgData name="Tan, Roger" userId="f6f33758-bd69-4951-8148-181de3b92474" providerId="ADAL" clId="{A436842E-EA5C-4A6D-B51D-DDAE8BC6E9BD}" dt="2023-11-07T03:55:32.180" v="42789" actId="478"/>
          <ac:spMkLst>
            <pc:docMk/>
            <pc:sldMk cId="2635008197" sldId="400"/>
            <ac:spMk id="20" creationId="{97B0F3CC-DDDD-90F7-A365-2131F7268760}"/>
          </ac:spMkLst>
        </pc:spChg>
        <pc:spChg chg="add del mod replST">
          <ac:chgData name="Tan, Roger" userId="f6f33758-bd69-4951-8148-181de3b92474" providerId="ADAL" clId="{A436842E-EA5C-4A6D-B51D-DDAE8BC6E9BD}" dt="2023-11-07T04:15:59.769" v="43990"/>
          <ac:spMkLst>
            <pc:docMk/>
            <pc:sldMk cId="2635008197" sldId="400"/>
            <ac:spMk id="21" creationId="{5FA374A5-3DFB-708A-AE45-BDE4D5106B91}"/>
          </ac:spMkLst>
        </pc:spChg>
        <pc:spChg chg="del">
          <ac:chgData name="Tan, Roger" userId="f6f33758-bd69-4951-8148-181de3b92474" providerId="ADAL" clId="{A436842E-EA5C-4A6D-B51D-DDAE8BC6E9BD}" dt="2023-11-07T03:55:33.598" v="42804"/>
          <ac:spMkLst>
            <pc:docMk/>
            <pc:sldMk cId="2635008197" sldId="400"/>
            <ac:spMk id="22" creationId="{8533C479-7A7F-C0CF-D53F-B45F329380DF}"/>
          </ac:spMkLst>
        </pc:spChg>
        <pc:spChg chg="del">
          <ac:chgData name="Tan, Roger" userId="f6f33758-bd69-4951-8148-181de3b92474" providerId="ADAL" clId="{A436842E-EA5C-4A6D-B51D-DDAE8BC6E9BD}" dt="2023-11-07T03:55:33.595" v="42796"/>
          <ac:spMkLst>
            <pc:docMk/>
            <pc:sldMk cId="2635008197" sldId="400"/>
            <ac:spMk id="23" creationId="{56CDF04B-260D-688D-BF1E-A0A01AFAE4B4}"/>
          </ac:spMkLst>
        </pc:spChg>
        <pc:spChg chg="del">
          <ac:chgData name="Tan, Roger" userId="f6f33758-bd69-4951-8148-181de3b92474" providerId="ADAL" clId="{A436842E-EA5C-4A6D-B51D-DDAE8BC6E9BD}" dt="2023-11-07T03:55:32.180" v="42789" actId="478"/>
          <ac:spMkLst>
            <pc:docMk/>
            <pc:sldMk cId="2635008197" sldId="400"/>
            <ac:spMk id="24" creationId="{0D484F98-3F16-9B69-01F6-0027969EB090}"/>
          </ac:spMkLst>
        </pc:spChg>
        <pc:spChg chg="del">
          <ac:chgData name="Tan, Roger" userId="f6f33758-bd69-4951-8148-181de3b92474" providerId="ADAL" clId="{A436842E-EA5C-4A6D-B51D-DDAE8BC6E9BD}" dt="2023-11-07T03:55:33.597" v="42802"/>
          <ac:spMkLst>
            <pc:docMk/>
            <pc:sldMk cId="2635008197" sldId="400"/>
            <ac:spMk id="25" creationId="{986A2692-6CDB-3146-324D-1918A119B02F}"/>
          </ac:spMkLst>
        </pc:spChg>
        <pc:spChg chg="add mod replST">
          <ac:chgData name="Tan, Roger" userId="f6f33758-bd69-4951-8148-181de3b92474" providerId="ADAL" clId="{A436842E-EA5C-4A6D-B51D-DDAE8BC6E9BD}" dt="2023-11-07T04:57:31.425" v="55583"/>
          <ac:spMkLst>
            <pc:docMk/>
            <pc:sldMk cId="2635008197" sldId="400"/>
            <ac:spMk id="26" creationId="{1193A4EC-C9AE-5CAE-8729-199406ECC611}"/>
          </ac:spMkLst>
        </pc:spChg>
        <pc:spChg chg="add mod replST">
          <ac:chgData name="Tan, Roger" userId="f6f33758-bd69-4951-8148-181de3b92474" providerId="ADAL" clId="{A436842E-EA5C-4A6D-B51D-DDAE8BC6E9BD}" dt="2023-11-07T04:57:31.426" v="55584"/>
          <ac:spMkLst>
            <pc:docMk/>
            <pc:sldMk cId="2635008197" sldId="400"/>
            <ac:spMk id="27" creationId="{E4E23FDB-23B3-19E9-A486-48D52322E902}"/>
          </ac:spMkLst>
        </pc:spChg>
        <pc:spChg chg="del">
          <ac:chgData name="Tan, Roger" userId="f6f33758-bd69-4951-8148-181de3b92474" providerId="ADAL" clId="{A436842E-EA5C-4A6D-B51D-DDAE8BC6E9BD}" dt="2023-11-07T03:55:33.594" v="42794"/>
          <ac:spMkLst>
            <pc:docMk/>
            <pc:sldMk cId="2635008197" sldId="400"/>
            <ac:spMk id="28" creationId="{644EB977-6DD9-9303-70E5-25785A840F45}"/>
          </ac:spMkLst>
        </pc:spChg>
        <pc:spChg chg="add mod replST">
          <ac:chgData name="Tan, Roger" userId="f6f33758-bd69-4951-8148-181de3b92474" providerId="ADAL" clId="{A436842E-EA5C-4A6D-B51D-DDAE8BC6E9BD}" dt="2023-11-07T04:57:31.426" v="55585"/>
          <ac:spMkLst>
            <pc:docMk/>
            <pc:sldMk cId="2635008197" sldId="400"/>
            <ac:spMk id="29" creationId="{16A3F246-B709-219A-B7A4-032B12DDD497}"/>
          </ac:spMkLst>
        </pc:spChg>
        <pc:spChg chg="add mod replST">
          <ac:chgData name="Tan, Roger" userId="f6f33758-bd69-4951-8148-181de3b92474" providerId="ADAL" clId="{A436842E-EA5C-4A6D-B51D-DDAE8BC6E9BD}" dt="2023-11-07T04:57:31.426" v="55586"/>
          <ac:spMkLst>
            <pc:docMk/>
            <pc:sldMk cId="2635008197" sldId="400"/>
            <ac:spMk id="30" creationId="{92020AA2-5627-7518-E876-ABBFB6FD22DB}"/>
          </ac:spMkLst>
        </pc:spChg>
        <pc:spChg chg="add del mod replST">
          <ac:chgData name="Tan, Roger" userId="f6f33758-bd69-4951-8148-181de3b92474" providerId="ADAL" clId="{A436842E-EA5C-4A6D-B51D-DDAE8BC6E9BD}" dt="2023-11-07T04:15:59.765" v="43981"/>
          <ac:spMkLst>
            <pc:docMk/>
            <pc:sldMk cId="2635008197" sldId="400"/>
            <ac:spMk id="31" creationId="{571D2F7D-EA6E-68C5-E53F-89D45FCA7CA3}"/>
          </ac:spMkLst>
        </pc:spChg>
        <pc:spChg chg="add del mod replST">
          <ac:chgData name="Tan, Roger" userId="f6f33758-bd69-4951-8148-181de3b92474" providerId="ADAL" clId="{A436842E-EA5C-4A6D-B51D-DDAE8BC6E9BD}" dt="2023-11-07T04:15:59.766" v="43983"/>
          <ac:spMkLst>
            <pc:docMk/>
            <pc:sldMk cId="2635008197" sldId="400"/>
            <ac:spMk id="32" creationId="{D1652E07-610E-2C59-3650-09F6A9EE8ACE}"/>
          </ac:spMkLst>
        </pc:spChg>
        <pc:spChg chg="add del mod replST">
          <ac:chgData name="Tan, Roger" userId="f6f33758-bd69-4951-8148-181de3b92474" providerId="ADAL" clId="{A436842E-EA5C-4A6D-B51D-DDAE8BC6E9BD}" dt="2023-11-07T04:15:59.767" v="43985"/>
          <ac:spMkLst>
            <pc:docMk/>
            <pc:sldMk cId="2635008197" sldId="400"/>
            <ac:spMk id="33" creationId="{2570DA67-B334-DF9B-C53B-7139C15F4EB4}"/>
          </ac:spMkLst>
        </pc:spChg>
        <pc:spChg chg="add del mod replST">
          <ac:chgData name="Tan, Roger" userId="f6f33758-bd69-4951-8148-181de3b92474" providerId="ADAL" clId="{A436842E-EA5C-4A6D-B51D-DDAE8BC6E9BD}" dt="2023-11-07T04:15:59.768" v="43987"/>
          <ac:spMkLst>
            <pc:docMk/>
            <pc:sldMk cId="2635008197" sldId="400"/>
            <ac:spMk id="34" creationId="{5AAC198C-C3C9-01A4-854A-E78C767F9174}"/>
          </ac:spMkLst>
        </pc:spChg>
        <pc:spChg chg="add del mod replST">
          <ac:chgData name="Tan, Roger" userId="f6f33758-bd69-4951-8148-181de3b92474" providerId="ADAL" clId="{A436842E-EA5C-4A6D-B51D-DDAE8BC6E9BD}" dt="2023-11-07T04:15:59.768" v="43989"/>
          <ac:spMkLst>
            <pc:docMk/>
            <pc:sldMk cId="2635008197" sldId="400"/>
            <ac:spMk id="35" creationId="{59F2C90C-D814-C912-6971-014A12025E69}"/>
          </ac:spMkLst>
        </pc:spChg>
        <pc:spChg chg="add mod replST">
          <ac:chgData name="Tan, Roger" userId="f6f33758-bd69-4951-8148-181de3b92474" providerId="ADAL" clId="{A436842E-EA5C-4A6D-B51D-DDAE8BC6E9BD}" dt="2023-11-07T04:57:31.425" v="55582"/>
          <ac:spMkLst>
            <pc:docMk/>
            <pc:sldMk cId="2635008197" sldId="400"/>
            <ac:spMk id="36" creationId="{9884A715-27D1-F886-F6A8-F8DBE902E929}"/>
          </ac:spMkLst>
        </pc:spChg>
        <pc:spChg chg="add del mod modVis">
          <ac:chgData name="Tan, Roger" userId="f6f33758-bd69-4951-8148-181de3b92474" providerId="ADAL" clId="{A436842E-EA5C-4A6D-B51D-DDAE8BC6E9BD}" dt="2023-11-07T04:15:20.579" v="43233"/>
          <ac:spMkLst>
            <pc:docMk/>
            <pc:sldMk cId="2635008197" sldId="400"/>
            <ac:spMk id="37" creationId="{D3C06E11-B5B8-A5C6-44C0-8A66E211BCF5}"/>
          </ac:spMkLst>
        </pc:spChg>
        <pc:spChg chg="add del mod modVis">
          <ac:chgData name="Tan, Roger" userId="f6f33758-bd69-4951-8148-181de3b92474" providerId="ADAL" clId="{A436842E-EA5C-4A6D-B51D-DDAE8BC6E9BD}" dt="2023-11-07T04:15:35.033" v="43373"/>
          <ac:spMkLst>
            <pc:docMk/>
            <pc:sldMk cId="2635008197" sldId="400"/>
            <ac:spMk id="40" creationId="{FD3177C4-6057-C011-98ED-56014F153BE8}"/>
          </ac:spMkLst>
        </pc:spChg>
        <pc:spChg chg="add del mod modVis">
          <ac:chgData name="Tan, Roger" userId="f6f33758-bd69-4951-8148-181de3b92474" providerId="ADAL" clId="{A436842E-EA5C-4A6D-B51D-DDAE8BC6E9BD}" dt="2023-11-07T04:15:40.694" v="43468"/>
          <ac:spMkLst>
            <pc:docMk/>
            <pc:sldMk cId="2635008197" sldId="400"/>
            <ac:spMk id="42" creationId="{CCC68ED4-3385-57D8-2A43-1A46188FA149}"/>
          </ac:spMkLst>
        </pc:spChg>
        <pc:spChg chg="add del mod modVis">
          <ac:chgData name="Tan, Roger" userId="f6f33758-bd69-4951-8148-181de3b92474" providerId="ADAL" clId="{A436842E-EA5C-4A6D-B51D-DDAE8BC6E9BD}" dt="2023-11-07T04:15:49.239" v="43566"/>
          <ac:spMkLst>
            <pc:docMk/>
            <pc:sldMk cId="2635008197" sldId="400"/>
            <ac:spMk id="44" creationId="{2F377A54-9E91-9B33-C9F6-606DACD5340C}"/>
          </ac:spMkLst>
        </pc:spChg>
        <pc:spChg chg="add del mod modVis">
          <ac:chgData name="Tan, Roger" userId="f6f33758-bd69-4951-8148-181de3b92474" providerId="ADAL" clId="{A436842E-EA5C-4A6D-B51D-DDAE8BC6E9BD}" dt="2023-11-07T04:15:50.750" v="43666"/>
          <ac:spMkLst>
            <pc:docMk/>
            <pc:sldMk cId="2635008197" sldId="400"/>
            <ac:spMk id="46" creationId="{3B0C1CED-BCA0-FF0D-D628-4C06BBAD8721}"/>
          </ac:spMkLst>
        </pc:spChg>
        <pc:spChg chg="add del mod modVis">
          <ac:chgData name="Tan, Roger" userId="f6f33758-bd69-4951-8148-181de3b92474" providerId="ADAL" clId="{A436842E-EA5C-4A6D-B51D-DDAE8BC6E9BD}" dt="2023-11-07T04:15:55.824" v="43782"/>
          <ac:spMkLst>
            <pc:docMk/>
            <pc:sldMk cId="2635008197" sldId="400"/>
            <ac:spMk id="48" creationId="{8466EF81-627A-6F3A-D008-763795FCA678}"/>
          </ac:spMkLst>
        </pc:spChg>
        <pc:spChg chg="add del mod modVis">
          <ac:chgData name="Tan, Roger" userId="f6f33758-bd69-4951-8148-181de3b92474" providerId="ADAL" clId="{A436842E-EA5C-4A6D-B51D-DDAE8BC6E9BD}" dt="2023-11-07T04:15:58.140" v="43978"/>
          <ac:spMkLst>
            <pc:docMk/>
            <pc:sldMk cId="2635008197" sldId="400"/>
            <ac:spMk id="50" creationId="{8E6C61A0-95E7-C80F-D1B0-3AEB03BE1F28}"/>
          </ac:spMkLst>
        </pc:spChg>
        <pc:spChg chg="add del mod ord replST">
          <ac:chgData name="Tan, Roger" userId="f6f33758-bd69-4951-8148-181de3b92474" providerId="ADAL" clId="{A436842E-EA5C-4A6D-B51D-DDAE8BC6E9BD}" dt="2023-11-07T04:16:16.151" v="44168"/>
          <ac:spMkLst>
            <pc:docMk/>
            <pc:sldMk cId="2635008197" sldId="400"/>
            <ac:spMk id="51" creationId="{D042673A-906F-7B47-6550-46BCFC046413}"/>
          </ac:spMkLst>
        </pc:spChg>
        <pc:spChg chg="add del mod modVis">
          <ac:chgData name="Tan, Roger" userId="f6f33758-bd69-4951-8148-181de3b92474" providerId="ADAL" clId="{A436842E-EA5C-4A6D-B51D-DDAE8BC6E9BD}" dt="2023-11-07T04:16:16.173" v="44199"/>
          <ac:spMkLst>
            <pc:docMk/>
            <pc:sldMk cId="2635008197" sldId="400"/>
            <ac:spMk id="55" creationId="{E78D79D1-7664-7421-B1A1-0D5DE54E743D}"/>
          </ac:spMkLst>
        </pc:spChg>
        <pc:spChg chg="add del mod modVis">
          <ac:chgData name="Tan, Roger" userId="f6f33758-bd69-4951-8148-181de3b92474" providerId="ADAL" clId="{A436842E-EA5C-4A6D-B51D-DDAE8BC6E9BD}" dt="2023-11-07T04:35:53.580" v="44493"/>
          <ac:spMkLst>
            <pc:docMk/>
            <pc:sldMk cId="2635008197" sldId="400"/>
            <ac:spMk id="58" creationId="{5C76D234-5152-113B-E2EF-7CA8D5CA4D82}"/>
          </ac:spMkLst>
        </pc:spChg>
        <pc:spChg chg="add del mod replST">
          <ac:chgData name="Tan, Roger" userId="f6f33758-bd69-4951-8148-181de3b92474" providerId="ADAL" clId="{A436842E-EA5C-4A6D-B51D-DDAE8BC6E9BD}" dt="2023-11-07T04:38:37.105" v="45041"/>
          <ac:spMkLst>
            <pc:docMk/>
            <pc:sldMk cId="2635008197" sldId="400"/>
            <ac:spMk id="59" creationId="{DCD1A349-E773-C894-04E4-401FB104AEB2}"/>
          </ac:spMkLst>
        </pc:spChg>
        <pc:spChg chg="add del mod replST">
          <ac:chgData name="Tan, Roger" userId="f6f33758-bd69-4951-8148-181de3b92474" providerId="ADAL" clId="{A436842E-EA5C-4A6D-B51D-DDAE8BC6E9BD}" dt="2023-11-07T04:38:37.104" v="45040"/>
          <ac:spMkLst>
            <pc:docMk/>
            <pc:sldMk cId="2635008197" sldId="400"/>
            <ac:spMk id="60" creationId="{B1C8882F-0343-1880-BA8C-7CD2A9E72B7C}"/>
          </ac:spMkLst>
        </pc:spChg>
        <pc:spChg chg="del">
          <ac:chgData name="Tan, Roger" userId="f6f33758-bd69-4951-8148-181de3b92474" providerId="ADAL" clId="{A436842E-EA5C-4A6D-B51D-DDAE8BC6E9BD}" dt="2023-11-07T03:55:33.596" v="42799"/>
          <ac:spMkLst>
            <pc:docMk/>
            <pc:sldMk cId="2635008197" sldId="400"/>
            <ac:spMk id="61" creationId="{19336C84-2804-70F5-6388-DAE91C9C0AA5}"/>
          </ac:spMkLst>
        </pc:spChg>
        <pc:spChg chg="add del mod replST">
          <ac:chgData name="Tan, Roger" userId="f6f33758-bd69-4951-8148-181de3b92474" providerId="ADAL" clId="{A436842E-EA5C-4A6D-B51D-DDAE8BC6E9BD}" dt="2023-11-07T04:38:37.104" v="45039"/>
          <ac:spMkLst>
            <pc:docMk/>
            <pc:sldMk cId="2635008197" sldId="400"/>
            <ac:spMk id="62" creationId="{3545768D-EBCA-08CF-1407-B425B8B4CBAC}"/>
          </ac:spMkLst>
        </pc:spChg>
        <pc:spChg chg="add del mod modVis">
          <ac:chgData name="Tan, Roger" userId="f6f33758-bd69-4951-8148-181de3b92474" providerId="ADAL" clId="{A436842E-EA5C-4A6D-B51D-DDAE8BC6E9BD}" dt="2023-11-07T04:36:11.828" v="44595"/>
          <ac:spMkLst>
            <pc:docMk/>
            <pc:sldMk cId="2635008197" sldId="400"/>
            <ac:spMk id="449" creationId="{C897B2AC-FAA0-B42D-D290-4B91F4E8B485}"/>
          </ac:spMkLst>
        </pc:spChg>
        <pc:spChg chg="del">
          <ac:chgData name="Tan, Roger" userId="f6f33758-bd69-4951-8148-181de3b92474" providerId="ADAL" clId="{A436842E-EA5C-4A6D-B51D-DDAE8BC6E9BD}" dt="2023-11-07T03:55:33.595" v="42797"/>
          <ac:spMkLst>
            <pc:docMk/>
            <pc:sldMk cId="2635008197" sldId="400"/>
            <ac:spMk id="450" creationId="{9477389E-720B-A235-3445-09E2B7D30A84}"/>
          </ac:spMkLst>
        </pc:spChg>
        <pc:spChg chg="add del mod modVis">
          <ac:chgData name="Tan, Roger" userId="f6f33758-bd69-4951-8148-181de3b92474" providerId="ADAL" clId="{A436842E-EA5C-4A6D-B51D-DDAE8BC6E9BD}" dt="2023-11-07T04:36:14.015" v="44662"/>
          <ac:spMkLst>
            <pc:docMk/>
            <pc:sldMk cId="2635008197" sldId="400"/>
            <ac:spMk id="452" creationId="{73D04BBC-E21C-DED5-8C69-0EBF9AD4D418}"/>
          </ac:spMkLst>
        </pc:spChg>
        <pc:spChg chg="add del mod modVis">
          <ac:chgData name="Tan, Roger" userId="f6f33758-bd69-4951-8148-181de3b92474" providerId="ADAL" clId="{A436842E-EA5C-4A6D-B51D-DDAE8BC6E9BD}" dt="2023-11-07T04:36:18.033" v="44729"/>
          <ac:spMkLst>
            <pc:docMk/>
            <pc:sldMk cId="2635008197" sldId="400"/>
            <ac:spMk id="454" creationId="{1BCC47AE-AC32-3C60-72C6-726E93E611F2}"/>
          </ac:spMkLst>
        </pc:spChg>
        <pc:spChg chg="del">
          <ac:chgData name="Tan, Roger" userId="f6f33758-bd69-4951-8148-181de3b92474" providerId="ADAL" clId="{A436842E-EA5C-4A6D-B51D-DDAE8BC6E9BD}" dt="2023-11-07T03:55:33.595" v="42795"/>
          <ac:spMkLst>
            <pc:docMk/>
            <pc:sldMk cId="2635008197" sldId="400"/>
            <ac:spMk id="455" creationId="{49C39E21-F656-572C-929A-10998B623D96}"/>
          </ac:spMkLst>
        </pc:spChg>
        <pc:spChg chg="add del mod modVis">
          <ac:chgData name="Tan, Roger" userId="f6f33758-bd69-4951-8148-181de3b92474" providerId="ADAL" clId="{A436842E-EA5C-4A6D-B51D-DDAE8BC6E9BD}" dt="2023-11-07T04:36:22.700" v="44798"/>
          <ac:spMkLst>
            <pc:docMk/>
            <pc:sldMk cId="2635008197" sldId="400"/>
            <ac:spMk id="457" creationId="{9F39201C-C802-806D-4205-2AEB9C0FC898}"/>
          </ac:spMkLst>
        </pc:spChg>
        <pc:spChg chg="add del mod modVis">
          <ac:chgData name="Tan, Roger" userId="f6f33758-bd69-4951-8148-181de3b92474" providerId="ADAL" clId="{A436842E-EA5C-4A6D-B51D-DDAE8BC6E9BD}" dt="2023-11-07T04:36:32.269" v="44867"/>
          <ac:spMkLst>
            <pc:docMk/>
            <pc:sldMk cId="2635008197" sldId="400"/>
            <ac:spMk id="459" creationId="{43A309D4-8DAD-143A-33EA-315AE901582E}"/>
          </ac:spMkLst>
        </pc:spChg>
        <pc:spChg chg="del">
          <ac:chgData name="Tan, Roger" userId="f6f33758-bd69-4951-8148-181de3b92474" providerId="ADAL" clId="{A436842E-EA5C-4A6D-B51D-DDAE8BC6E9BD}" dt="2023-11-07T03:55:33.594" v="42793"/>
          <ac:spMkLst>
            <pc:docMk/>
            <pc:sldMk cId="2635008197" sldId="400"/>
            <ac:spMk id="460" creationId="{D2AFF2CB-7F0E-41E0-702B-FE9A0906CB9F}"/>
          </ac:spMkLst>
        </pc:spChg>
        <pc:spChg chg="add del mod replST">
          <ac:chgData name="Tan, Roger" userId="f6f33758-bd69-4951-8148-181de3b92474" providerId="ADAL" clId="{A436842E-EA5C-4A6D-B51D-DDAE8BC6E9BD}" dt="2023-11-07T04:38:37.097" v="45038"/>
          <ac:spMkLst>
            <pc:docMk/>
            <pc:sldMk cId="2635008197" sldId="400"/>
            <ac:spMk id="462" creationId="{75B3AF5D-6DEB-BB64-8AA8-5E2E015341F6}"/>
          </ac:spMkLst>
        </pc:spChg>
        <pc:spChg chg="add del mod modVis">
          <ac:chgData name="Tan, Roger" userId="f6f33758-bd69-4951-8148-181de3b92474" providerId="ADAL" clId="{A436842E-EA5C-4A6D-B51D-DDAE8BC6E9BD}" dt="2023-11-07T04:37:09.053" v="44962"/>
          <ac:spMkLst>
            <pc:docMk/>
            <pc:sldMk cId="2635008197" sldId="400"/>
            <ac:spMk id="463" creationId="{88A11EAF-A759-39CD-0D5E-3C2D25DF81B4}"/>
          </ac:spMkLst>
        </pc:spChg>
        <pc:spChg chg="add del mod modVis">
          <ac:chgData name="Tan, Roger" userId="f6f33758-bd69-4951-8148-181de3b92474" providerId="ADAL" clId="{A436842E-EA5C-4A6D-B51D-DDAE8BC6E9BD}" dt="2023-11-07T04:37:18.171" v="45035"/>
          <ac:spMkLst>
            <pc:docMk/>
            <pc:sldMk cId="2635008197" sldId="400"/>
            <ac:spMk id="465" creationId="{003FD37A-0B7E-7501-7B7C-B9888A7AA8A9}"/>
          </ac:spMkLst>
        </pc:spChg>
        <pc:spChg chg="add del mod replST">
          <ac:chgData name="Tan, Roger" userId="f6f33758-bd69-4951-8148-181de3b92474" providerId="ADAL" clId="{A436842E-EA5C-4A6D-B51D-DDAE8BC6E9BD}" dt="2023-11-07T04:39:48.491" v="45332"/>
          <ac:spMkLst>
            <pc:docMk/>
            <pc:sldMk cId="2635008197" sldId="400"/>
            <ac:spMk id="467" creationId="{24AFA9E7-050E-5FAB-BB49-303166FF9875}"/>
          </ac:spMkLst>
        </pc:spChg>
        <pc:spChg chg="add del mod modVis">
          <ac:chgData name="Tan, Roger" userId="f6f33758-bd69-4951-8148-181de3b92474" providerId="ADAL" clId="{A436842E-EA5C-4A6D-B51D-DDAE8BC6E9BD}" dt="2023-11-07T04:39:03.967" v="45323"/>
          <ac:spMkLst>
            <pc:docMk/>
            <pc:sldMk cId="2635008197" sldId="400"/>
            <ac:spMk id="468" creationId="{A2604EB3-406D-CB71-B393-C802BB82DC25}"/>
          </ac:spMkLst>
        </pc:spChg>
        <pc:spChg chg="add del mod replST">
          <ac:chgData name="Tan, Roger" userId="f6f33758-bd69-4951-8148-181de3b92474" providerId="ADAL" clId="{A436842E-EA5C-4A6D-B51D-DDAE8BC6E9BD}" dt="2023-11-07T04:39:48.490" v="45331"/>
          <ac:spMkLst>
            <pc:docMk/>
            <pc:sldMk cId="2635008197" sldId="400"/>
            <ac:spMk id="469" creationId="{01146ACF-2EB0-50B1-F57E-6ACA409EB25B}"/>
          </ac:spMkLst>
        </pc:spChg>
        <pc:spChg chg="add del mod replST">
          <ac:chgData name="Tan, Roger" userId="f6f33758-bd69-4951-8148-181de3b92474" providerId="ADAL" clId="{A436842E-EA5C-4A6D-B51D-DDAE8BC6E9BD}" dt="2023-11-07T04:39:48.489" v="45328"/>
          <ac:spMkLst>
            <pc:docMk/>
            <pc:sldMk cId="2635008197" sldId="400"/>
            <ac:spMk id="470" creationId="{6012289C-6599-2078-152C-02F460ABFD1F}"/>
          </ac:spMkLst>
        </pc:spChg>
        <pc:spChg chg="add del mod replST">
          <ac:chgData name="Tan, Roger" userId="f6f33758-bd69-4951-8148-181de3b92474" providerId="ADAL" clId="{A436842E-EA5C-4A6D-B51D-DDAE8BC6E9BD}" dt="2023-11-07T04:45:57.385" v="46945"/>
          <ac:spMkLst>
            <pc:docMk/>
            <pc:sldMk cId="2635008197" sldId="400"/>
            <ac:spMk id="474" creationId="{191BEE24-EDBA-0A06-319C-70E647FEC395}"/>
          </ac:spMkLst>
        </pc:spChg>
        <pc:spChg chg="add del mod modVis">
          <ac:chgData name="Tan, Roger" userId="f6f33758-bd69-4951-8148-181de3b92474" providerId="ADAL" clId="{A436842E-EA5C-4A6D-B51D-DDAE8BC6E9BD}" dt="2023-11-07T04:40:39.090" v="45724"/>
          <ac:spMkLst>
            <pc:docMk/>
            <pc:sldMk cId="2635008197" sldId="400"/>
            <ac:spMk id="475" creationId="{D2555CE8-0E59-AB1F-4F5B-830C365FF0CA}"/>
          </ac:spMkLst>
        </pc:spChg>
        <pc:spChg chg="add del mod replST">
          <ac:chgData name="Tan, Roger" userId="f6f33758-bd69-4951-8148-181de3b92474" providerId="ADAL" clId="{A436842E-EA5C-4A6D-B51D-DDAE8BC6E9BD}" dt="2023-11-07T04:45:57.385" v="46943"/>
          <ac:spMkLst>
            <pc:docMk/>
            <pc:sldMk cId="2635008197" sldId="400"/>
            <ac:spMk id="476" creationId="{7C9CC83B-EE5F-3393-2FAB-C44829FF994D}"/>
          </ac:spMkLst>
        </pc:spChg>
        <pc:spChg chg="add del mod replST">
          <ac:chgData name="Tan, Roger" userId="f6f33758-bd69-4951-8148-181de3b92474" providerId="ADAL" clId="{A436842E-EA5C-4A6D-B51D-DDAE8BC6E9BD}" dt="2023-11-07T04:45:57.384" v="46941"/>
          <ac:spMkLst>
            <pc:docMk/>
            <pc:sldMk cId="2635008197" sldId="400"/>
            <ac:spMk id="477" creationId="{55741DEA-CE6E-96DD-E47B-69FDE41E806C}"/>
          </ac:spMkLst>
        </pc:spChg>
        <pc:spChg chg="add del mod replST">
          <ac:chgData name="Tan, Roger" userId="f6f33758-bd69-4951-8148-181de3b92474" providerId="ADAL" clId="{A436842E-EA5C-4A6D-B51D-DDAE8BC6E9BD}" dt="2023-11-07T04:40:44.845" v="45765"/>
          <ac:spMkLst>
            <pc:docMk/>
            <pc:sldMk cId="2635008197" sldId="400"/>
            <ac:spMk id="478" creationId="{F592528A-DD37-D8FB-9CA8-E3F9A3654BE4}"/>
          </ac:spMkLst>
        </pc:spChg>
        <pc:spChg chg="add del mod replST">
          <ac:chgData name="Tan, Roger" userId="f6f33758-bd69-4951-8148-181de3b92474" providerId="ADAL" clId="{A436842E-EA5C-4A6D-B51D-DDAE8BC6E9BD}" dt="2023-11-07T04:40:44.846" v="45767"/>
          <ac:spMkLst>
            <pc:docMk/>
            <pc:sldMk cId="2635008197" sldId="400"/>
            <ac:spMk id="479" creationId="{43A70DA0-9A88-E105-40F7-974BAB3436D4}"/>
          </ac:spMkLst>
        </pc:spChg>
        <pc:spChg chg="add del mod replST">
          <ac:chgData name="Tan, Roger" userId="f6f33758-bd69-4951-8148-181de3b92474" providerId="ADAL" clId="{A436842E-EA5C-4A6D-B51D-DDAE8BC6E9BD}" dt="2023-11-07T04:45:57.385" v="46944"/>
          <ac:spMkLst>
            <pc:docMk/>
            <pc:sldMk cId="2635008197" sldId="400"/>
            <ac:spMk id="481" creationId="{8422ED55-7C9E-2152-0D45-F6EA1AB48F3A}"/>
          </ac:spMkLst>
        </pc:spChg>
        <pc:spChg chg="add del mod replST">
          <ac:chgData name="Tan, Roger" userId="f6f33758-bd69-4951-8148-181de3b92474" providerId="ADAL" clId="{A436842E-EA5C-4A6D-B51D-DDAE8BC6E9BD}" dt="2023-11-07T04:45:57.384" v="46942"/>
          <ac:spMkLst>
            <pc:docMk/>
            <pc:sldMk cId="2635008197" sldId="400"/>
            <ac:spMk id="482" creationId="{97B574C7-3694-3D08-9832-898D1B1913DE}"/>
          </ac:spMkLst>
        </pc:spChg>
        <pc:spChg chg="del">
          <ac:chgData name="Tan, Roger" userId="f6f33758-bd69-4951-8148-181de3b92474" providerId="ADAL" clId="{A436842E-EA5C-4A6D-B51D-DDAE8BC6E9BD}" dt="2023-11-07T03:55:33.599" v="42808"/>
          <ac:spMkLst>
            <pc:docMk/>
            <pc:sldMk cId="2635008197" sldId="400"/>
            <ac:spMk id="483" creationId="{8869231B-6CD8-9E4B-03CD-CA94D4E0793D}"/>
          </ac:spMkLst>
        </pc:spChg>
        <pc:spChg chg="add del mod modVis">
          <ac:chgData name="Tan, Roger" userId="f6f33758-bd69-4951-8148-181de3b92474" providerId="ADAL" clId="{A436842E-EA5C-4A6D-B51D-DDAE8BC6E9BD}" dt="2023-11-07T04:40:44.872" v="45801"/>
          <ac:spMkLst>
            <pc:docMk/>
            <pc:sldMk cId="2635008197" sldId="400"/>
            <ac:spMk id="484" creationId="{01C0AFED-57E8-ECEF-2B19-1B3434BABCF1}"/>
          </ac:spMkLst>
        </pc:spChg>
        <pc:spChg chg="mod ord">
          <ac:chgData name="Tan, Roger" userId="f6f33758-bd69-4951-8148-181de3b92474" providerId="ADAL" clId="{A436842E-EA5C-4A6D-B51D-DDAE8BC6E9BD}" dt="2023-11-07T04:57:31.423" v="55575"/>
          <ac:spMkLst>
            <pc:docMk/>
            <pc:sldMk cId="2635008197" sldId="400"/>
            <ac:spMk id="485" creationId="{9919C743-B9CA-D2D5-767A-F02BFF6150B4}"/>
          </ac:spMkLst>
        </pc:spChg>
        <pc:spChg chg="add del mod replST">
          <ac:chgData name="Tan, Roger" userId="f6f33758-bd69-4951-8148-181de3b92474" providerId="ADAL" clId="{A436842E-EA5C-4A6D-B51D-DDAE8BC6E9BD}" dt="2023-11-07T04:45:57.384" v="46940"/>
          <ac:spMkLst>
            <pc:docMk/>
            <pc:sldMk cId="2635008197" sldId="400"/>
            <ac:spMk id="487" creationId="{BDDC733C-0F97-FDD3-7A1E-8A915F1E5A3A}"/>
          </ac:spMkLst>
        </pc:spChg>
        <pc:spChg chg="add del mod modVis">
          <ac:chgData name="Tan, Roger" userId="f6f33758-bd69-4951-8148-181de3b92474" providerId="ADAL" clId="{A436842E-EA5C-4A6D-B51D-DDAE8BC6E9BD}" dt="2023-11-07T04:41:20.243" v="45879"/>
          <ac:spMkLst>
            <pc:docMk/>
            <pc:sldMk cId="2635008197" sldId="400"/>
            <ac:spMk id="489" creationId="{1451BA99-F7D1-3C70-AFC9-5903454F5776}"/>
          </ac:spMkLst>
        </pc:spChg>
        <pc:spChg chg="add del mod replST">
          <ac:chgData name="Tan, Roger" userId="f6f33758-bd69-4951-8148-181de3b92474" providerId="ADAL" clId="{A436842E-EA5C-4A6D-B51D-DDAE8BC6E9BD}" dt="2023-11-07T04:45:57.383" v="46939"/>
          <ac:spMkLst>
            <pc:docMk/>
            <pc:sldMk cId="2635008197" sldId="400"/>
            <ac:spMk id="491" creationId="{33770B66-4D48-0AFB-0770-9B2056EECF85}"/>
          </ac:spMkLst>
        </pc:spChg>
        <pc:spChg chg="add del mod modVis">
          <ac:chgData name="Tan, Roger" userId="f6f33758-bd69-4951-8148-181de3b92474" providerId="ADAL" clId="{A436842E-EA5C-4A6D-B51D-DDAE8BC6E9BD}" dt="2023-11-07T04:41:23.318" v="45959"/>
          <ac:spMkLst>
            <pc:docMk/>
            <pc:sldMk cId="2635008197" sldId="400"/>
            <ac:spMk id="492" creationId="{365D6CB0-BD7E-BA75-65C3-6F92F6347DEA}"/>
          </ac:spMkLst>
        </pc:spChg>
        <pc:spChg chg="add del mod replST">
          <ac:chgData name="Tan, Roger" userId="f6f33758-bd69-4951-8148-181de3b92474" providerId="ADAL" clId="{A436842E-EA5C-4A6D-B51D-DDAE8BC6E9BD}" dt="2023-11-07T04:45:57.377" v="46938"/>
          <ac:spMkLst>
            <pc:docMk/>
            <pc:sldMk cId="2635008197" sldId="400"/>
            <ac:spMk id="494" creationId="{AD30DA8C-331E-7551-C142-86A3F5C6E30A}"/>
          </ac:spMkLst>
        </pc:spChg>
        <pc:spChg chg="add del mod modVis">
          <ac:chgData name="Tan, Roger" userId="f6f33758-bd69-4951-8148-181de3b92474" providerId="ADAL" clId="{A436842E-EA5C-4A6D-B51D-DDAE8BC6E9BD}" dt="2023-11-07T04:41:25.344" v="46051"/>
          <ac:spMkLst>
            <pc:docMk/>
            <pc:sldMk cId="2635008197" sldId="400"/>
            <ac:spMk id="495" creationId="{14395196-1E0C-FA66-061E-16382DAE118A}"/>
          </ac:spMkLst>
        </pc:spChg>
        <pc:spChg chg="add del mod modVis">
          <ac:chgData name="Tan, Roger" userId="f6f33758-bd69-4951-8148-181de3b92474" providerId="ADAL" clId="{A436842E-EA5C-4A6D-B51D-DDAE8BC6E9BD}" dt="2023-11-07T04:41:30.921" v="46128"/>
          <ac:spMkLst>
            <pc:docMk/>
            <pc:sldMk cId="2635008197" sldId="400"/>
            <ac:spMk id="497" creationId="{0B488E5B-BA7F-4388-A1C5-909DB1759BAA}"/>
          </ac:spMkLst>
        </pc:spChg>
        <pc:spChg chg="add del mod modVis">
          <ac:chgData name="Tan, Roger" userId="f6f33758-bd69-4951-8148-181de3b92474" providerId="ADAL" clId="{A436842E-EA5C-4A6D-B51D-DDAE8BC6E9BD}" dt="2023-11-07T04:41:37.460" v="46191"/>
          <ac:spMkLst>
            <pc:docMk/>
            <pc:sldMk cId="2635008197" sldId="400"/>
            <ac:spMk id="499" creationId="{82D69C59-D68B-75EB-E80A-05003FA16416}"/>
          </ac:spMkLst>
        </pc:spChg>
        <pc:spChg chg="add del mod modVis">
          <ac:chgData name="Tan, Roger" userId="f6f33758-bd69-4951-8148-181de3b92474" providerId="ADAL" clId="{A436842E-EA5C-4A6D-B51D-DDAE8BC6E9BD}" dt="2023-11-07T04:41:46.424" v="46264"/>
          <ac:spMkLst>
            <pc:docMk/>
            <pc:sldMk cId="2635008197" sldId="400"/>
            <ac:spMk id="501" creationId="{9EFCCA88-F23F-A4A4-71F2-A7B5B3070B99}"/>
          </ac:spMkLst>
        </pc:spChg>
        <pc:spChg chg="add del mod modVis">
          <ac:chgData name="Tan, Roger" userId="f6f33758-bd69-4951-8148-181de3b92474" providerId="ADAL" clId="{A436842E-EA5C-4A6D-B51D-DDAE8BC6E9BD}" dt="2023-11-07T04:42:07.403" v="46368"/>
          <ac:spMkLst>
            <pc:docMk/>
            <pc:sldMk cId="2635008197" sldId="400"/>
            <ac:spMk id="504" creationId="{0FD7C8F1-8A88-AD92-EB78-065143C99ADA}"/>
          </ac:spMkLst>
        </pc:spChg>
        <pc:spChg chg="add del mod modVis">
          <ac:chgData name="Tan, Roger" userId="f6f33758-bd69-4951-8148-181de3b92474" providerId="ADAL" clId="{A436842E-EA5C-4A6D-B51D-DDAE8BC6E9BD}" dt="2023-11-07T04:42:12.581" v="46431"/>
          <ac:spMkLst>
            <pc:docMk/>
            <pc:sldMk cId="2635008197" sldId="400"/>
            <ac:spMk id="506" creationId="{EC3B3439-1D96-C6B6-52B8-D310C512BB19}"/>
          </ac:spMkLst>
        </pc:spChg>
        <pc:spChg chg="add del mod modVis">
          <ac:chgData name="Tan, Roger" userId="f6f33758-bd69-4951-8148-181de3b92474" providerId="ADAL" clId="{A436842E-EA5C-4A6D-B51D-DDAE8BC6E9BD}" dt="2023-11-07T04:42:16.629" v="46494"/>
          <ac:spMkLst>
            <pc:docMk/>
            <pc:sldMk cId="2635008197" sldId="400"/>
            <ac:spMk id="508" creationId="{0F505B08-E309-76C0-8110-1426DB9CA2FF}"/>
          </ac:spMkLst>
        </pc:spChg>
        <pc:spChg chg="add del mod modVis">
          <ac:chgData name="Tan, Roger" userId="f6f33758-bd69-4951-8148-181de3b92474" providerId="ADAL" clId="{A436842E-EA5C-4A6D-B51D-DDAE8BC6E9BD}" dt="2023-11-07T04:42:19.948" v="46557"/>
          <ac:spMkLst>
            <pc:docMk/>
            <pc:sldMk cId="2635008197" sldId="400"/>
            <ac:spMk id="510" creationId="{80C2D9B4-8EE9-4371-FF46-6E1A2DED02A8}"/>
          </ac:spMkLst>
        </pc:spChg>
        <pc:spChg chg="add del mod modVis">
          <ac:chgData name="Tan, Roger" userId="f6f33758-bd69-4951-8148-181de3b92474" providerId="ADAL" clId="{A436842E-EA5C-4A6D-B51D-DDAE8BC6E9BD}" dt="2023-11-07T04:42:31.916" v="46620"/>
          <ac:spMkLst>
            <pc:docMk/>
            <pc:sldMk cId="2635008197" sldId="400"/>
            <ac:spMk id="512" creationId="{3D9D811B-8B2D-5734-01CF-AA7D1ABF6FD2}"/>
          </ac:spMkLst>
        </pc:spChg>
        <pc:spChg chg="add del mod modVis">
          <ac:chgData name="Tan, Roger" userId="f6f33758-bd69-4951-8148-181de3b92474" providerId="ADAL" clId="{A436842E-EA5C-4A6D-B51D-DDAE8BC6E9BD}" dt="2023-11-07T04:42:34.634" v="46683"/>
          <ac:spMkLst>
            <pc:docMk/>
            <pc:sldMk cId="2635008197" sldId="400"/>
            <ac:spMk id="514" creationId="{5897E97F-888F-DB98-DDE7-AD6013EF6C66}"/>
          </ac:spMkLst>
        </pc:spChg>
        <pc:spChg chg="add del mod modVis">
          <ac:chgData name="Tan, Roger" userId="f6f33758-bd69-4951-8148-181de3b92474" providerId="ADAL" clId="{A436842E-EA5C-4A6D-B51D-DDAE8BC6E9BD}" dt="2023-11-07T04:42:37.436" v="46746"/>
          <ac:spMkLst>
            <pc:docMk/>
            <pc:sldMk cId="2635008197" sldId="400"/>
            <ac:spMk id="516" creationId="{44C4237C-0E63-D1C7-A5FB-3FB7F81E98EE}"/>
          </ac:spMkLst>
        </pc:spChg>
        <pc:spChg chg="add del mod modVis">
          <ac:chgData name="Tan, Roger" userId="f6f33758-bd69-4951-8148-181de3b92474" providerId="ADAL" clId="{A436842E-EA5C-4A6D-B51D-DDAE8BC6E9BD}" dt="2023-11-07T04:42:44.437" v="46809"/>
          <ac:spMkLst>
            <pc:docMk/>
            <pc:sldMk cId="2635008197" sldId="400"/>
            <ac:spMk id="518" creationId="{05B62587-2B74-7912-54BC-AF30ABA9DD20}"/>
          </ac:spMkLst>
        </pc:spChg>
        <pc:spChg chg="add del mod modVis">
          <ac:chgData name="Tan, Roger" userId="f6f33758-bd69-4951-8148-181de3b92474" providerId="ADAL" clId="{A436842E-EA5C-4A6D-B51D-DDAE8BC6E9BD}" dt="2023-11-07T04:42:46.615" v="46872"/>
          <ac:spMkLst>
            <pc:docMk/>
            <pc:sldMk cId="2635008197" sldId="400"/>
            <ac:spMk id="520" creationId="{3D17863C-356A-DDAC-C376-C44C18538C2E}"/>
          </ac:spMkLst>
        </pc:spChg>
        <pc:spChg chg="add del mod modVis">
          <ac:chgData name="Tan, Roger" userId="f6f33758-bd69-4951-8148-181de3b92474" providerId="ADAL" clId="{A436842E-EA5C-4A6D-B51D-DDAE8BC6E9BD}" dt="2023-11-07T04:42:48.163" v="46935"/>
          <ac:spMkLst>
            <pc:docMk/>
            <pc:sldMk cId="2635008197" sldId="400"/>
            <ac:spMk id="522" creationId="{96A73A3B-F851-9F44-C3C4-3AEFCAA8386D}"/>
          </ac:spMkLst>
        </pc:spChg>
        <pc:spChg chg="add del mod modVis">
          <ac:chgData name="Tan, Roger" userId="f6f33758-bd69-4951-8148-181de3b92474" providerId="ADAL" clId="{A436842E-EA5C-4A6D-B51D-DDAE8BC6E9BD}" dt="2023-11-07T04:46:03.975" v="47175"/>
          <ac:spMkLst>
            <pc:docMk/>
            <pc:sldMk cId="2635008197" sldId="400"/>
            <ac:spMk id="524" creationId="{C30BC29C-CF4E-2B7E-6D51-F08507C83838}"/>
          </ac:spMkLst>
        </pc:spChg>
        <pc:spChg chg="add del mod replST">
          <ac:chgData name="Tan, Roger" userId="f6f33758-bd69-4951-8148-181de3b92474" providerId="ADAL" clId="{A436842E-EA5C-4A6D-B51D-DDAE8BC6E9BD}" dt="2023-11-07T04:49:27.858" v="49593"/>
          <ac:spMkLst>
            <pc:docMk/>
            <pc:sldMk cId="2635008197" sldId="400"/>
            <ac:spMk id="525" creationId="{71AC0400-DDE4-D7D8-B2F2-1670222E2A1A}"/>
          </ac:spMkLst>
        </pc:spChg>
        <pc:spChg chg="add del mod replST">
          <ac:chgData name="Tan, Roger" userId="f6f33758-bd69-4951-8148-181de3b92474" providerId="ADAL" clId="{A436842E-EA5C-4A6D-B51D-DDAE8BC6E9BD}" dt="2023-11-07T04:49:27.858" v="49592"/>
          <ac:spMkLst>
            <pc:docMk/>
            <pc:sldMk cId="2635008197" sldId="400"/>
            <ac:spMk id="526" creationId="{3A45454C-A6E6-9677-9CC4-4649BD01321C}"/>
          </ac:spMkLst>
        </pc:spChg>
        <pc:spChg chg="add del mod replST">
          <ac:chgData name="Tan, Roger" userId="f6f33758-bd69-4951-8148-181de3b92474" providerId="ADAL" clId="{A436842E-EA5C-4A6D-B51D-DDAE8BC6E9BD}" dt="2023-11-07T04:49:27.857" v="49591"/>
          <ac:spMkLst>
            <pc:docMk/>
            <pc:sldMk cId="2635008197" sldId="400"/>
            <ac:spMk id="527" creationId="{C18701E1-42B2-B8F5-E163-219313BB81B4}"/>
          </ac:spMkLst>
        </pc:spChg>
        <pc:spChg chg="add del mod modVis">
          <ac:chgData name="Tan, Roger" userId="f6f33758-bd69-4951-8148-181de3b92474" providerId="ADAL" clId="{A436842E-EA5C-4A6D-B51D-DDAE8BC6E9BD}" dt="2023-11-07T04:46:09.466" v="47244"/>
          <ac:spMkLst>
            <pc:docMk/>
            <pc:sldMk cId="2635008197" sldId="400"/>
            <ac:spMk id="529" creationId="{E230C85D-5ED0-10B1-6F1E-0BBC81F0831D}"/>
          </ac:spMkLst>
        </pc:spChg>
        <pc:spChg chg="add del mod modVis">
          <ac:chgData name="Tan, Roger" userId="f6f33758-bd69-4951-8148-181de3b92474" providerId="ADAL" clId="{A436842E-EA5C-4A6D-B51D-DDAE8BC6E9BD}" dt="2023-11-07T04:46:12.874" v="47311"/>
          <ac:spMkLst>
            <pc:docMk/>
            <pc:sldMk cId="2635008197" sldId="400"/>
            <ac:spMk id="531" creationId="{7F07A34E-169E-5D9E-11BF-3A486AD198C7}"/>
          </ac:spMkLst>
        </pc:spChg>
        <pc:spChg chg="add del mod modVis">
          <ac:chgData name="Tan, Roger" userId="f6f33758-bd69-4951-8148-181de3b92474" providerId="ADAL" clId="{A436842E-EA5C-4A6D-B51D-DDAE8BC6E9BD}" dt="2023-11-07T04:46:17.775" v="47380"/>
          <ac:spMkLst>
            <pc:docMk/>
            <pc:sldMk cId="2635008197" sldId="400"/>
            <ac:spMk id="533" creationId="{C28AEE6E-AB3F-F2F8-69C7-7B4DDB82E5FB}"/>
          </ac:spMkLst>
        </pc:spChg>
        <pc:spChg chg="add del mod modVis">
          <ac:chgData name="Tan, Roger" userId="f6f33758-bd69-4951-8148-181de3b92474" providerId="ADAL" clId="{A436842E-EA5C-4A6D-B51D-DDAE8BC6E9BD}" dt="2023-11-07T04:46:20.699" v="47447"/>
          <ac:spMkLst>
            <pc:docMk/>
            <pc:sldMk cId="2635008197" sldId="400"/>
            <ac:spMk id="535" creationId="{50E54260-9C59-C519-A44F-B80DDA77E67F}"/>
          </ac:spMkLst>
        </pc:spChg>
        <pc:spChg chg="add del mod modVis">
          <ac:chgData name="Tan, Roger" userId="f6f33758-bd69-4951-8148-181de3b92474" providerId="ADAL" clId="{A436842E-EA5C-4A6D-B51D-DDAE8BC6E9BD}" dt="2023-11-07T04:46:22.969" v="47516"/>
          <ac:spMkLst>
            <pc:docMk/>
            <pc:sldMk cId="2635008197" sldId="400"/>
            <ac:spMk id="537" creationId="{5595726A-8C00-9768-0DC0-93B54B7F1319}"/>
          </ac:spMkLst>
        </pc:spChg>
        <pc:spChg chg="add del mod modVis">
          <ac:chgData name="Tan, Roger" userId="f6f33758-bd69-4951-8148-181de3b92474" providerId="ADAL" clId="{A436842E-EA5C-4A6D-B51D-DDAE8BC6E9BD}" dt="2023-11-07T04:46:25.642" v="47583"/>
          <ac:spMkLst>
            <pc:docMk/>
            <pc:sldMk cId="2635008197" sldId="400"/>
            <ac:spMk id="539" creationId="{05B843AF-91FC-0FBC-E5EF-767419413B3E}"/>
          </ac:spMkLst>
        </pc:spChg>
        <pc:spChg chg="add del mod replST">
          <ac:chgData name="Tan, Roger" userId="f6f33758-bd69-4951-8148-181de3b92474" providerId="ADAL" clId="{A436842E-EA5C-4A6D-B51D-DDAE8BC6E9BD}" dt="2023-11-07T04:48:03.766" v="49051"/>
          <ac:spMkLst>
            <pc:docMk/>
            <pc:sldMk cId="2635008197" sldId="400"/>
            <ac:spMk id="541" creationId="{F9741129-EE2D-D751-7891-F075C241A85B}"/>
          </ac:spMkLst>
        </pc:spChg>
        <pc:spChg chg="add del mod modVis">
          <ac:chgData name="Tan, Roger" userId="f6f33758-bd69-4951-8148-181de3b92474" providerId="ADAL" clId="{A436842E-EA5C-4A6D-B51D-DDAE8BC6E9BD}" dt="2023-11-07T04:46:31.528" v="47678"/>
          <ac:spMkLst>
            <pc:docMk/>
            <pc:sldMk cId="2635008197" sldId="400"/>
            <ac:spMk id="542" creationId="{F90ED717-C445-A49F-0225-899D8E445CEA}"/>
          </ac:spMkLst>
        </pc:spChg>
        <pc:spChg chg="add del mod replST">
          <ac:chgData name="Tan, Roger" userId="f6f33758-bd69-4951-8148-181de3b92474" providerId="ADAL" clId="{A436842E-EA5C-4A6D-B51D-DDAE8BC6E9BD}" dt="2023-11-07T04:46:50.112" v="48042"/>
          <ac:spMkLst>
            <pc:docMk/>
            <pc:sldMk cId="2635008197" sldId="400"/>
            <ac:spMk id="544" creationId="{2A836288-518B-0227-6646-01F9BA1B1ECE}"/>
          </ac:spMkLst>
        </pc:spChg>
        <pc:spChg chg="add del mod replST">
          <ac:chgData name="Tan, Roger" userId="f6f33758-bd69-4951-8148-181de3b92474" providerId="ADAL" clId="{A436842E-EA5C-4A6D-B51D-DDAE8BC6E9BD}" dt="2023-11-07T04:46:46.470" v="47999"/>
          <ac:spMkLst>
            <pc:docMk/>
            <pc:sldMk cId="2635008197" sldId="400"/>
            <ac:spMk id="545" creationId="{BABB3A63-E492-566F-7DE5-C9639353BB38}"/>
          </ac:spMkLst>
        </pc:spChg>
        <pc:spChg chg="add del mod replST">
          <ac:chgData name="Tan, Roger" userId="f6f33758-bd69-4951-8148-181de3b92474" providerId="ADAL" clId="{A436842E-EA5C-4A6D-B51D-DDAE8BC6E9BD}" dt="2023-11-07T04:46:46.471" v="48001"/>
          <ac:spMkLst>
            <pc:docMk/>
            <pc:sldMk cId="2635008197" sldId="400"/>
            <ac:spMk id="546" creationId="{28CF64A7-21CF-4524-3A64-97684B6E51BB}"/>
          </ac:spMkLst>
        </pc:spChg>
        <pc:spChg chg="add del mod replST">
          <ac:chgData name="Tan, Roger" userId="f6f33758-bd69-4951-8148-181de3b92474" providerId="ADAL" clId="{A436842E-EA5C-4A6D-B51D-DDAE8BC6E9BD}" dt="2023-11-07T04:46:46.473" v="48003"/>
          <ac:spMkLst>
            <pc:docMk/>
            <pc:sldMk cId="2635008197" sldId="400"/>
            <ac:spMk id="547" creationId="{92067D31-BAF3-07CC-F6DB-E4EAA84B1EA3}"/>
          </ac:spMkLst>
        </pc:spChg>
        <pc:spChg chg="add del mod modVis">
          <ac:chgData name="Tan, Roger" userId="f6f33758-bd69-4951-8148-181de3b92474" providerId="ADAL" clId="{A436842E-EA5C-4A6D-B51D-DDAE8BC6E9BD}" dt="2023-11-07T04:46:41.372" v="47985"/>
          <ac:spMkLst>
            <pc:docMk/>
            <pc:sldMk cId="2635008197" sldId="400"/>
            <ac:spMk id="548" creationId="{B31FE1AE-E0BE-FB47-8948-FA8C10E29AC6}"/>
          </ac:spMkLst>
        </pc:spChg>
        <pc:spChg chg="add del mod ord replST">
          <ac:chgData name="Tan, Roger" userId="f6f33758-bd69-4951-8148-181de3b92474" providerId="ADAL" clId="{A436842E-EA5C-4A6D-B51D-DDAE8BC6E9BD}" dt="2023-11-07T04:46:50.130" v="48057"/>
          <ac:spMkLst>
            <pc:docMk/>
            <pc:sldMk cId="2635008197" sldId="400"/>
            <ac:spMk id="549" creationId="{46F539DF-138B-401F-D632-876D6767CAE6}"/>
          </ac:spMkLst>
        </pc:spChg>
        <pc:spChg chg="add del mod ord replST">
          <ac:chgData name="Tan, Roger" userId="f6f33758-bd69-4951-8148-181de3b92474" providerId="ADAL" clId="{A436842E-EA5C-4A6D-B51D-DDAE8BC6E9BD}" dt="2023-11-07T04:46:50.132" v="48063"/>
          <ac:spMkLst>
            <pc:docMk/>
            <pc:sldMk cId="2635008197" sldId="400"/>
            <ac:spMk id="550" creationId="{75F120B6-0EB1-5D3A-5EAB-049F68C8C4D0}"/>
          </ac:spMkLst>
        </pc:spChg>
        <pc:spChg chg="add del mod replST">
          <ac:chgData name="Tan, Roger" userId="f6f33758-bd69-4951-8148-181de3b92474" providerId="ADAL" clId="{A436842E-EA5C-4A6D-B51D-DDAE8BC6E9BD}" dt="2023-11-07T04:49:27.856" v="49590"/>
          <ac:spMkLst>
            <pc:docMk/>
            <pc:sldMk cId="2635008197" sldId="400"/>
            <ac:spMk id="554" creationId="{30FEED88-0B1D-411B-7A59-E0948FBF5DBC}"/>
          </ac:spMkLst>
        </pc:spChg>
        <pc:spChg chg="add del mod modVis">
          <ac:chgData name="Tan, Roger" userId="f6f33758-bd69-4951-8148-181de3b92474" providerId="ADAL" clId="{A436842E-EA5C-4A6D-B51D-DDAE8BC6E9BD}" dt="2023-11-07T04:46:59.973" v="48201"/>
          <ac:spMkLst>
            <pc:docMk/>
            <pc:sldMk cId="2635008197" sldId="400"/>
            <ac:spMk id="555" creationId="{5FEE275D-F35A-53F3-D378-E32B2F24737E}"/>
          </ac:spMkLst>
        </pc:spChg>
        <pc:spChg chg="add del mod modVis">
          <ac:chgData name="Tan, Roger" userId="f6f33758-bd69-4951-8148-181de3b92474" providerId="ADAL" clId="{A436842E-EA5C-4A6D-B51D-DDAE8BC6E9BD}" dt="2023-11-07T04:47:27.502" v="48405"/>
          <ac:spMkLst>
            <pc:docMk/>
            <pc:sldMk cId="2635008197" sldId="400"/>
            <ac:spMk id="559" creationId="{2CDCA5D8-7DC1-3194-9C69-78682D5A5E0D}"/>
          </ac:spMkLst>
        </pc:spChg>
        <pc:spChg chg="add del mod modVis">
          <ac:chgData name="Tan, Roger" userId="f6f33758-bd69-4951-8148-181de3b92474" providerId="ADAL" clId="{A436842E-EA5C-4A6D-B51D-DDAE8BC6E9BD}" dt="2023-11-07T04:47:43.788" v="48594"/>
          <ac:spMkLst>
            <pc:docMk/>
            <pc:sldMk cId="2635008197" sldId="400"/>
            <ac:spMk id="563" creationId="{E47B9827-CB51-432A-7780-C3CBC15C0916}"/>
          </ac:spMkLst>
        </pc:spChg>
        <pc:spChg chg="add del mod replST">
          <ac:chgData name="Tan, Roger" userId="f6f33758-bd69-4951-8148-181de3b92474" providerId="ADAL" clId="{A436842E-EA5C-4A6D-B51D-DDAE8BC6E9BD}" dt="2023-11-07T04:47:52.121" v="48913"/>
          <ac:spMkLst>
            <pc:docMk/>
            <pc:sldMk cId="2635008197" sldId="400"/>
            <ac:spMk id="565" creationId="{53EEED01-FC76-63DD-9322-76D5454B7066}"/>
          </ac:spMkLst>
        </pc:spChg>
        <pc:spChg chg="add del mod replST">
          <ac:chgData name="Tan, Roger" userId="f6f33758-bd69-4951-8148-181de3b92474" providerId="ADAL" clId="{A436842E-EA5C-4A6D-B51D-DDAE8BC6E9BD}" dt="2023-11-07T04:47:52.122" v="48916"/>
          <ac:spMkLst>
            <pc:docMk/>
            <pc:sldMk cId="2635008197" sldId="400"/>
            <ac:spMk id="566" creationId="{8151272A-E1DA-753F-A16E-EC225574BF49}"/>
          </ac:spMkLst>
        </pc:spChg>
        <pc:spChg chg="add del mod replST">
          <ac:chgData name="Tan, Roger" userId="f6f33758-bd69-4951-8148-181de3b92474" providerId="ADAL" clId="{A436842E-EA5C-4A6D-B51D-DDAE8BC6E9BD}" dt="2023-11-07T04:47:52.123" v="48921"/>
          <ac:spMkLst>
            <pc:docMk/>
            <pc:sldMk cId="2635008197" sldId="400"/>
            <ac:spMk id="567" creationId="{9C5B4B01-B9C9-C67A-8F43-BE7362346802}"/>
          </ac:spMkLst>
        </pc:spChg>
        <pc:spChg chg="add del mod replST">
          <ac:chgData name="Tan, Roger" userId="f6f33758-bd69-4951-8148-181de3b92474" providerId="ADAL" clId="{A436842E-EA5C-4A6D-B51D-DDAE8BC6E9BD}" dt="2023-11-07T04:47:52.124" v="48926"/>
          <ac:spMkLst>
            <pc:docMk/>
            <pc:sldMk cId="2635008197" sldId="400"/>
            <ac:spMk id="568" creationId="{9EB7A95E-3924-D0F9-4BE0-24DF0B27D9A1}"/>
          </ac:spMkLst>
        </pc:spChg>
        <pc:spChg chg="add del mod modVis">
          <ac:chgData name="Tan, Roger" userId="f6f33758-bd69-4951-8148-181de3b92474" providerId="ADAL" clId="{A436842E-EA5C-4A6D-B51D-DDAE8BC6E9BD}" dt="2023-11-07T04:47:45.553" v="48906"/>
          <ac:spMkLst>
            <pc:docMk/>
            <pc:sldMk cId="2635008197" sldId="400"/>
            <ac:spMk id="569" creationId="{A49E45AE-AEAD-D919-EF15-38A15643EE98}"/>
          </ac:spMkLst>
        </pc:spChg>
        <pc:spChg chg="add del mod modVis">
          <ac:chgData name="Tan, Roger" userId="f6f33758-bd69-4951-8148-181de3b92474" providerId="ADAL" clId="{A436842E-EA5C-4A6D-B51D-DDAE8BC6E9BD}" dt="2023-11-07T04:47:58.660" v="49048"/>
          <ac:spMkLst>
            <pc:docMk/>
            <pc:sldMk cId="2635008197" sldId="400"/>
            <ac:spMk id="581" creationId="{53D20CE3-B4C8-2911-CEB6-E80418147EE9}"/>
          </ac:spMkLst>
        </pc:spChg>
        <pc:spChg chg="add del mod replST">
          <ac:chgData name="Tan, Roger" userId="f6f33758-bd69-4951-8148-181de3b92474" providerId="ADAL" clId="{A436842E-EA5C-4A6D-B51D-DDAE8BC6E9BD}" dt="2023-11-07T04:49:27.858" v="49594"/>
          <ac:spMkLst>
            <pc:docMk/>
            <pc:sldMk cId="2635008197" sldId="400"/>
            <ac:spMk id="583" creationId="{EC809B25-A075-579F-CEDC-E15D62AABDC4}"/>
          </ac:spMkLst>
        </pc:spChg>
        <pc:spChg chg="add del mod modVis">
          <ac:chgData name="Tan, Roger" userId="f6f33758-bd69-4951-8148-181de3b92474" providerId="ADAL" clId="{A436842E-EA5C-4A6D-B51D-DDAE8BC6E9BD}" dt="2023-11-07T04:48:03.846" v="49151"/>
          <ac:spMkLst>
            <pc:docMk/>
            <pc:sldMk cId="2635008197" sldId="400"/>
            <ac:spMk id="584" creationId="{2B356033-DFD2-F0E6-5F39-E105C47413EB}"/>
          </ac:spMkLst>
        </pc:spChg>
        <pc:spChg chg="add del mod modVis">
          <ac:chgData name="Tan, Roger" userId="f6f33758-bd69-4951-8148-181de3b92474" providerId="ADAL" clId="{A436842E-EA5C-4A6D-B51D-DDAE8BC6E9BD}" dt="2023-11-07T04:48:13.098" v="49230"/>
          <ac:spMkLst>
            <pc:docMk/>
            <pc:sldMk cId="2635008197" sldId="400"/>
            <ac:spMk id="586" creationId="{0DBE96B4-5FFF-A78C-577E-95A1F1F348D1}"/>
          </ac:spMkLst>
        </pc:spChg>
        <pc:spChg chg="add del mod replST">
          <ac:chgData name="Tan, Roger" userId="f6f33758-bd69-4951-8148-181de3b92474" providerId="ADAL" clId="{A436842E-EA5C-4A6D-B51D-DDAE8BC6E9BD}" dt="2023-11-07T04:49:26.494" v="49582"/>
          <ac:spMkLst>
            <pc:docMk/>
            <pc:sldMk cId="2635008197" sldId="400"/>
            <ac:spMk id="592" creationId="{D39F931A-7CAB-B5CF-6D99-B35F841AAE65}"/>
          </ac:spMkLst>
        </pc:spChg>
        <pc:spChg chg="add del mod replST">
          <ac:chgData name="Tan, Roger" userId="f6f33758-bd69-4951-8148-181de3b92474" providerId="ADAL" clId="{A436842E-EA5C-4A6D-B51D-DDAE8BC6E9BD}" dt="2023-11-07T04:49:26.494" v="49581"/>
          <ac:spMkLst>
            <pc:docMk/>
            <pc:sldMk cId="2635008197" sldId="400"/>
            <ac:spMk id="593" creationId="{B9569CD6-2A60-3467-BE7F-6ECFDE981000}"/>
          </ac:spMkLst>
        </pc:spChg>
        <pc:spChg chg="add del mod replST">
          <ac:chgData name="Tan, Roger" userId="f6f33758-bd69-4951-8148-181de3b92474" providerId="ADAL" clId="{A436842E-EA5C-4A6D-B51D-DDAE8BC6E9BD}" dt="2023-11-07T04:49:26.494" v="49580"/>
          <ac:spMkLst>
            <pc:docMk/>
            <pc:sldMk cId="2635008197" sldId="400"/>
            <ac:spMk id="594" creationId="{9269DE8C-5AE4-313A-9ACE-B0C104AF266C}"/>
          </ac:spMkLst>
        </pc:spChg>
        <pc:spChg chg="add del mod replST">
          <ac:chgData name="Tan, Roger" userId="f6f33758-bd69-4951-8148-181de3b92474" providerId="ADAL" clId="{A436842E-EA5C-4A6D-B51D-DDAE8BC6E9BD}" dt="2023-11-07T04:49:26.487" v="49579"/>
          <ac:spMkLst>
            <pc:docMk/>
            <pc:sldMk cId="2635008197" sldId="400"/>
            <ac:spMk id="595" creationId="{1717CB1C-E73B-184D-3A72-02BD4E75E8C2}"/>
          </ac:spMkLst>
        </pc:spChg>
        <pc:spChg chg="add del mod replST">
          <ac:chgData name="Tan, Roger" userId="f6f33758-bd69-4951-8148-181de3b92474" providerId="ADAL" clId="{A436842E-EA5C-4A6D-B51D-DDAE8BC6E9BD}" dt="2023-11-07T04:49:26.495" v="49583"/>
          <ac:spMkLst>
            <pc:docMk/>
            <pc:sldMk cId="2635008197" sldId="400"/>
            <ac:spMk id="596" creationId="{6216CE6A-0B9C-89B0-8EF8-6CE1FDE2979A}"/>
          </ac:spMkLst>
        </pc:spChg>
        <pc:spChg chg="add del mod modVis">
          <ac:chgData name="Tan, Roger" userId="f6f33758-bd69-4951-8148-181de3b92474" providerId="ADAL" clId="{A436842E-EA5C-4A6D-B51D-DDAE8BC6E9BD}" dt="2023-11-07T04:48:51.590" v="49576"/>
          <ac:spMkLst>
            <pc:docMk/>
            <pc:sldMk cId="2635008197" sldId="400"/>
            <ac:spMk id="597" creationId="{8CAFCC41-2F9A-5CDF-9A4F-E26F3A5DB20A}"/>
          </ac:spMkLst>
        </pc:spChg>
        <pc:spChg chg="add mod replST">
          <ac:chgData name="Tan, Roger" userId="f6f33758-bd69-4951-8148-181de3b92474" providerId="ADAL" clId="{A436842E-EA5C-4A6D-B51D-DDAE8BC6E9BD}" dt="2023-11-07T04:57:31.435" v="55609"/>
          <ac:spMkLst>
            <pc:docMk/>
            <pc:sldMk cId="2635008197" sldId="400"/>
            <ac:spMk id="599" creationId="{0651F198-2E9D-5183-D812-79FB97D1BDC0}"/>
          </ac:spMkLst>
        </pc:spChg>
        <pc:spChg chg="add del mod modVis">
          <ac:chgData name="Tan, Roger" userId="f6f33758-bd69-4951-8148-181de3b92474" providerId="ADAL" clId="{A436842E-EA5C-4A6D-B51D-DDAE8BC6E9BD}" dt="2023-11-07T04:49:37.041" v="49986"/>
          <ac:spMkLst>
            <pc:docMk/>
            <pc:sldMk cId="2635008197" sldId="400"/>
            <ac:spMk id="600" creationId="{92B14C1E-BCB8-554E-DA2F-8B9946963B65}"/>
          </ac:spMkLst>
        </pc:spChg>
        <pc:spChg chg="add mod replST">
          <ac:chgData name="Tan, Roger" userId="f6f33758-bd69-4951-8148-181de3b92474" providerId="ADAL" clId="{A436842E-EA5C-4A6D-B51D-DDAE8BC6E9BD}" dt="2023-11-07T04:57:31.436" v="55610"/>
          <ac:spMkLst>
            <pc:docMk/>
            <pc:sldMk cId="2635008197" sldId="400"/>
            <ac:spMk id="601" creationId="{7404FB4D-ED35-01AA-4CF0-D8B9A6271D4D}"/>
          </ac:spMkLst>
        </pc:spChg>
        <pc:spChg chg="add mod replST">
          <ac:chgData name="Tan, Roger" userId="f6f33758-bd69-4951-8148-181de3b92474" providerId="ADAL" clId="{A436842E-EA5C-4A6D-B51D-DDAE8BC6E9BD}" dt="2023-11-07T04:57:31.428" v="55589"/>
          <ac:spMkLst>
            <pc:docMk/>
            <pc:sldMk cId="2635008197" sldId="400"/>
            <ac:spMk id="602" creationId="{D51A2EEA-18B7-F289-73C6-206BD1AE37A2}"/>
          </ac:spMkLst>
        </pc:spChg>
        <pc:spChg chg="add del mod replST">
          <ac:chgData name="Tan, Roger" userId="f6f33758-bd69-4951-8148-181de3b92474" providerId="ADAL" clId="{A436842E-EA5C-4A6D-B51D-DDAE8BC6E9BD}" dt="2023-11-07T04:49:40.435" v="50027"/>
          <ac:spMkLst>
            <pc:docMk/>
            <pc:sldMk cId="2635008197" sldId="400"/>
            <ac:spMk id="603" creationId="{7BAEB018-3E1D-81DC-F94E-153173A354E2}"/>
          </ac:spMkLst>
        </pc:spChg>
        <pc:spChg chg="add del mod replST">
          <ac:chgData name="Tan, Roger" userId="f6f33758-bd69-4951-8148-181de3b92474" providerId="ADAL" clId="{A436842E-EA5C-4A6D-B51D-DDAE8BC6E9BD}" dt="2023-11-07T04:49:40.437" v="50029"/>
          <ac:spMkLst>
            <pc:docMk/>
            <pc:sldMk cId="2635008197" sldId="400"/>
            <ac:spMk id="604" creationId="{45E67C66-D174-7F93-F529-BBEEEA44411D}"/>
          </ac:spMkLst>
        </pc:spChg>
        <pc:spChg chg="add mod ord replST">
          <ac:chgData name="Tan, Roger" userId="f6f33758-bd69-4951-8148-181de3b92474" providerId="ADAL" clId="{A436842E-EA5C-4A6D-B51D-DDAE8BC6E9BD}" dt="2023-11-07T04:57:31.434" v="55606"/>
          <ac:spMkLst>
            <pc:docMk/>
            <pc:sldMk cId="2635008197" sldId="400"/>
            <ac:spMk id="606" creationId="{274F937E-9C53-854B-BADE-0DFFE749E0EA}"/>
          </ac:spMkLst>
        </pc:spChg>
        <pc:spChg chg="add mod ord replST">
          <ac:chgData name="Tan, Roger" userId="f6f33758-bd69-4951-8148-181de3b92474" providerId="ADAL" clId="{A436842E-EA5C-4A6D-B51D-DDAE8BC6E9BD}" dt="2023-11-07T04:57:31.435" v="55608"/>
          <ac:spMkLst>
            <pc:docMk/>
            <pc:sldMk cId="2635008197" sldId="400"/>
            <ac:spMk id="607" creationId="{679D1BFA-FCC7-ECFC-A943-A87E4B47CE44}"/>
          </ac:spMkLst>
        </pc:spChg>
        <pc:spChg chg="add del mod modVis">
          <ac:chgData name="Tan, Roger" userId="f6f33758-bd69-4951-8148-181de3b92474" providerId="ADAL" clId="{A436842E-EA5C-4A6D-B51D-DDAE8BC6E9BD}" dt="2023-11-07T04:49:40.464" v="50063"/>
          <ac:spMkLst>
            <pc:docMk/>
            <pc:sldMk cId="2635008197" sldId="400"/>
            <ac:spMk id="608" creationId="{3F569CB3-915C-594B-D906-1E4BF6CF9070}"/>
          </ac:spMkLst>
        </pc:spChg>
        <pc:spChg chg="add mod replST">
          <ac:chgData name="Tan, Roger" userId="f6f33758-bd69-4951-8148-181de3b92474" providerId="ADAL" clId="{A436842E-EA5C-4A6D-B51D-DDAE8BC6E9BD}" dt="2023-11-07T04:57:31.428" v="55590"/>
          <ac:spMkLst>
            <pc:docMk/>
            <pc:sldMk cId="2635008197" sldId="400"/>
            <ac:spMk id="610" creationId="{5657E166-BEB5-0F70-5DB1-0410D87AA3FD}"/>
          </ac:spMkLst>
        </pc:spChg>
        <pc:spChg chg="add del mod modVis">
          <ac:chgData name="Tan, Roger" userId="f6f33758-bd69-4951-8148-181de3b92474" providerId="ADAL" clId="{A436842E-EA5C-4A6D-B51D-DDAE8BC6E9BD}" dt="2023-11-07T04:49:43.696" v="50141"/>
          <ac:spMkLst>
            <pc:docMk/>
            <pc:sldMk cId="2635008197" sldId="400"/>
            <ac:spMk id="611" creationId="{162626F9-BA3F-D1FE-E36C-343F424DDB8A}"/>
          </ac:spMkLst>
        </pc:spChg>
        <pc:spChg chg="add mod replST">
          <ac:chgData name="Tan, Roger" userId="f6f33758-bd69-4951-8148-181de3b92474" providerId="ADAL" clId="{A436842E-EA5C-4A6D-B51D-DDAE8BC6E9BD}" dt="2023-11-07T04:57:31.428" v="55591"/>
          <ac:spMkLst>
            <pc:docMk/>
            <pc:sldMk cId="2635008197" sldId="400"/>
            <ac:spMk id="613" creationId="{DBE477A3-C6C4-F207-4E9C-43E49F79B202}"/>
          </ac:spMkLst>
        </pc:spChg>
        <pc:spChg chg="add del mod modVis">
          <ac:chgData name="Tan, Roger" userId="f6f33758-bd69-4951-8148-181de3b92474" providerId="ADAL" clId="{A436842E-EA5C-4A6D-B51D-DDAE8BC6E9BD}" dt="2023-11-07T04:49:45.106" v="50221"/>
          <ac:spMkLst>
            <pc:docMk/>
            <pc:sldMk cId="2635008197" sldId="400"/>
            <ac:spMk id="614" creationId="{DE1618B8-A131-1AE9-B46C-66B8DF4BC699}"/>
          </ac:spMkLst>
        </pc:spChg>
        <pc:spChg chg="add mod replST">
          <ac:chgData name="Tan, Roger" userId="f6f33758-bd69-4951-8148-181de3b92474" providerId="ADAL" clId="{A436842E-EA5C-4A6D-B51D-DDAE8BC6E9BD}" dt="2023-11-07T04:57:31.429" v="55592"/>
          <ac:spMkLst>
            <pc:docMk/>
            <pc:sldMk cId="2635008197" sldId="400"/>
            <ac:spMk id="616" creationId="{3ADC56B2-8E3F-CE76-5EC5-4CEA31DA5E37}"/>
          </ac:spMkLst>
        </pc:spChg>
        <pc:spChg chg="add del mod modVis">
          <ac:chgData name="Tan, Roger" userId="f6f33758-bd69-4951-8148-181de3b92474" providerId="ADAL" clId="{A436842E-EA5C-4A6D-B51D-DDAE8BC6E9BD}" dt="2023-11-07T04:49:48.478" v="50313"/>
          <ac:spMkLst>
            <pc:docMk/>
            <pc:sldMk cId="2635008197" sldId="400"/>
            <ac:spMk id="617" creationId="{8CC766FD-C621-66C6-4BB6-50A44F1E0ED1}"/>
          </ac:spMkLst>
        </pc:spChg>
        <pc:spChg chg="add mod replST">
          <ac:chgData name="Tan, Roger" userId="f6f33758-bd69-4951-8148-181de3b92474" providerId="ADAL" clId="{A436842E-EA5C-4A6D-B51D-DDAE8BC6E9BD}" dt="2023-11-07T04:57:31.429" v="55593"/>
          <ac:spMkLst>
            <pc:docMk/>
            <pc:sldMk cId="2635008197" sldId="400"/>
            <ac:spMk id="619" creationId="{DEBE9FFF-500F-9C71-66BD-3BF29C72BEFB}"/>
          </ac:spMkLst>
        </pc:spChg>
        <pc:spChg chg="add del mod modVis">
          <ac:chgData name="Tan, Roger" userId="f6f33758-bd69-4951-8148-181de3b92474" providerId="ADAL" clId="{A436842E-EA5C-4A6D-B51D-DDAE8BC6E9BD}" dt="2023-11-07T04:49:50.171" v="50413"/>
          <ac:spMkLst>
            <pc:docMk/>
            <pc:sldMk cId="2635008197" sldId="400"/>
            <ac:spMk id="620" creationId="{60FFF204-54B5-D632-EF63-179F4C7FCCF0}"/>
          </ac:spMkLst>
        </pc:spChg>
        <pc:spChg chg="add del mod modVis">
          <ac:chgData name="Tan, Roger" userId="f6f33758-bd69-4951-8148-181de3b92474" providerId="ADAL" clId="{A436842E-EA5C-4A6D-B51D-DDAE8BC6E9BD}" dt="2023-11-07T04:50:02.033" v="50492"/>
          <ac:spMkLst>
            <pc:docMk/>
            <pc:sldMk cId="2635008197" sldId="400"/>
            <ac:spMk id="622" creationId="{098B3131-3552-F587-5ADE-EB603E71B709}"/>
          </ac:spMkLst>
        </pc:spChg>
        <pc:spChg chg="add del mod modVis">
          <ac:chgData name="Tan, Roger" userId="f6f33758-bd69-4951-8148-181de3b92474" providerId="ADAL" clId="{A436842E-EA5C-4A6D-B51D-DDAE8BC6E9BD}" dt="2023-11-07T04:50:05.134" v="50571"/>
          <ac:spMkLst>
            <pc:docMk/>
            <pc:sldMk cId="2635008197" sldId="400"/>
            <ac:spMk id="624" creationId="{BEBF6D7B-7D82-5039-1E52-1676D1642436}"/>
          </ac:spMkLst>
        </pc:spChg>
        <pc:spChg chg="add del mod modVis">
          <ac:chgData name="Tan, Roger" userId="f6f33758-bd69-4951-8148-181de3b92474" providerId="ADAL" clId="{A436842E-EA5C-4A6D-B51D-DDAE8BC6E9BD}" dt="2023-11-07T04:50:11.209" v="50650"/>
          <ac:spMkLst>
            <pc:docMk/>
            <pc:sldMk cId="2635008197" sldId="400"/>
            <ac:spMk id="626" creationId="{089349F3-CE4F-F6CE-13CF-AC35CFF85084}"/>
          </ac:spMkLst>
        </pc:spChg>
        <pc:spChg chg="add del mod modVis">
          <ac:chgData name="Tan, Roger" userId="f6f33758-bd69-4951-8148-181de3b92474" providerId="ADAL" clId="{A436842E-EA5C-4A6D-B51D-DDAE8BC6E9BD}" dt="2023-11-07T04:50:14.242" v="50729"/>
          <ac:spMkLst>
            <pc:docMk/>
            <pc:sldMk cId="2635008197" sldId="400"/>
            <ac:spMk id="628" creationId="{3F75236F-0B81-ADE7-6353-B35B0828A1DC}"/>
          </ac:spMkLst>
        </pc:spChg>
        <pc:spChg chg="add del mod modVis">
          <ac:chgData name="Tan, Roger" userId="f6f33758-bd69-4951-8148-181de3b92474" providerId="ADAL" clId="{A436842E-EA5C-4A6D-B51D-DDAE8BC6E9BD}" dt="2023-11-07T04:50:24.269" v="50843"/>
          <ac:spMkLst>
            <pc:docMk/>
            <pc:sldMk cId="2635008197" sldId="400"/>
            <ac:spMk id="631" creationId="{06A6C211-D024-AA0C-6C68-8C0D1C9420DC}"/>
          </ac:spMkLst>
        </pc:spChg>
        <pc:spChg chg="add del mod modVis">
          <ac:chgData name="Tan, Roger" userId="f6f33758-bd69-4951-8148-181de3b92474" providerId="ADAL" clId="{A436842E-EA5C-4A6D-B51D-DDAE8BC6E9BD}" dt="2023-11-07T04:50:27.715" v="50908"/>
          <ac:spMkLst>
            <pc:docMk/>
            <pc:sldMk cId="2635008197" sldId="400"/>
            <ac:spMk id="633" creationId="{162FB00F-4712-0F6A-4EE7-FF66BF60858C}"/>
          </ac:spMkLst>
        </pc:spChg>
        <pc:spChg chg="add del mod modVis">
          <ac:chgData name="Tan, Roger" userId="f6f33758-bd69-4951-8148-181de3b92474" providerId="ADAL" clId="{A436842E-EA5C-4A6D-B51D-DDAE8BC6E9BD}" dt="2023-11-07T04:50:32.705" v="50973"/>
          <ac:spMkLst>
            <pc:docMk/>
            <pc:sldMk cId="2635008197" sldId="400"/>
            <ac:spMk id="635" creationId="{156745F3-AC28-4D4E-193F-ABF71D42DA01}"/>
          </ac:spMkLst>
        </pc:spChg>
        <pc:spChg chg="add del mod modVis">
          <ac:chgData name="Tan, Roger" userId="f6f33758-bd69-4951-8148-181de3b92474" providerId="ADAL" clId="{A436842E-EA5C-4A6D-B51D-DDAE8BC6E9BD}" dt="2023-11-07T04:50:38.922" v="51038"/>
          <ac:spMkLst>
            <pc:docMk/>
            <pc:sldMk cId="2635008197" sldId="400"/>
            <ac:spMk id="637" creationId="{5A7D4AC2-EEF5-01EF-92C5-557B9A4F9284}"/>
          </ac:spMkLst>
        </pc:spChg>
        <pc:spChg chg="add del mod modVis">
          <ac:chgData name="Tan, Roger" userId="f6f33758-bd69-4951-8148-181de3b92474" providerId="ADAL" clId="{A436842E-EA5C-4A6D-B51D-DDAE8BC6E9BD}" dt="2023-11-07T04:50:44.376" v="51103"/>
          <ac:spMkLst>
            <pc:docMk/>
            <pc:sldMk cId="2635008197" sldId="400"/>
            <ac:spMk id="639" creationId="{9E284A45-7550-7EEA-A887-BDEDCDB091DD}"/>
          </ac:spMkLst>
        </pc:spChg>
        <pc:spChg chg="add del mod modVis">
          <ac:chgData name="Tan, Roger" userId="f6f33758-bd69-4951-8148-181de3b92474" providerId="ADAL" clId="{A436842E-EA5C-4A6D-B51D-DDAE8BC6E9BD}" dt="2023-11-07T04:50:48.789" v="51168"/>
          <ac:spMkLst>
            <pc:docMk/>
            <pc:sldMk cId="2635008197" sldId="400"/>
            <ac:spMk id="641" creationId="{D80E0C1C-09FA-245D-F880-146947F9BBB8}"/>
          </ac:spMkLst>
        </pc:spChg>
        <pc:spChg chg="add del mod modVis">
          <ac:chgData name="Tan, Roger" userId="f6f33758-bd69-4951-8148-181de3b92474" providerId="ADAL" clId="{A436842E-EA5C-4A6D-B51D-DDAE8BC6E9BD}" dt="2023-11-07T04:50:51.168" v="51233"/>
          <ac:spMkLst>
            <pc:docMk/>
            <pc:sldMk cId="2635008197" sldId="400"/>
            <ac:spMk id="643" creationId="{523B34CB-E8B3-AC52-2132-557283AC2213}"/>
          </ac:spMkLst>
        </pc:spChg>
        <pc:spChg chg="add del mod modVis">
          <ac:chgData name="Tan, Roger" userId="f6f33758-bd69-4951-8148-181de3b92474" providerId="ADAL" clId="{A436842E-EA5C-4A6D-B51D-DDAE8BC6E9BD}" dt="2023-11-07T04:50:52.989" v="51298"/>
          <ac:spMkLst>
            <pc:docMk/>
            <pc:sldMk cId="2635008197" sldId="400"/>
            <ac:spMk id="645" creationId="{806B0FDD-6D0F-9A59-FB9C-7A1F7437695E}"/>
          </ac:spMkLst>
        </pc:spChg>
        <pc:spChg chg="add del mod modVis">
          <ac:chgData name="Tan, Roger" userId="f6f33758-bd69-4951-8148-181de3b92474" providerId="ADAL" clId="{A436842E-EA5C-4A6D-B51D-DDAE8BC6E9BD}" dt="2023-11-07T04:50:56.433" v="51363"/>
          <ac:spMkLst>
            <pc:docMk/>
            <pc:sldMk cId="2635008197" sldId="400"/>
            <ac:spMk id="647" creationId="{467F0135-55DB-6DC6-6805-B313E7E2DD88}"/>
          </ac:spMkLst>
        </pc:spChg>
        <pc:spChg chg="add del mod modVis">
          <ac:chgData name="Tan, Roger" userId="f6f33758-bd69-4951-8148-181de3b92474" providerId="ADAL" clId="{A436842E-EA5C-4A6D-B51D-DDAE8BC6E9BD}" dt="2023-11-07T04:51:02.347" v="51471"/>
          <ac:spMkLst>
            <pc:docMk/>
            <pc:sldMk cId="2635008197" sldId="400"/>
            <ac:spMk id="650" creationId="{37757B32-6D8E-A12E-4B5E-A6C906DED0D2}"/>
          </ac:spMkLst>
        </pc:spChg>
        <pc:spChg chg="add del mod modVis">
          <ac:chgData name="Tan, Roger" userId="f6f33758-bd69-4951-8148-181de3b92474" providerId="ADAL" clId="{A436842E-EA5C-4A6D-B51D-DDAE8BC6E9BD}" dt="2023-11-07T04:51:08.631" v="51544"/>
          <ac:spMkLst>
            <pc:docMk/>
            <pc:sldMk cId="2635008197" sldId="400"/>
            <ac:spMk id="652" creationId="{C30613F6-2D14-08F6-0C07-53D099F8A457}"/>
          </ac:spMkLst>
        </pc:spChg>
        <pc:spChg chg="add del mod modVis">
          <ac:chgData name="Tan, Roger" userId="f6f33758-bd69-4951-8148-181de3b92474" providerId="ADAL" clId="{A436842E-EA5C-4A6D-B51D-DDAE8BC6E9BD}" dt="2023-11-07T04:51:17.249" v="51868"/>
          <ac:spMkLst>
            <pc:docMk/>
            <pc:sldMk cId="2635008197" sldId="400"/>
            <ac:spMk id="657" creationId="{D738D9CC-8B7E-700D-28EE-FA0A1398ED2A}"/>
          </ac:spMkLst>
        </pc:spChg>
        <pc:spChg chg="add del mod replST">
          <ac:chgData name="Tan, Roger" userId="f6f33758-bd69-4951-8148-181de3b92474" providerId="ADAL" clId="{A436842E-EA5C-4A6D-B51D-DDAE8BC6E9BD}" dt="2023-11-07T04:51:28.872" v="52214"/>
          <ac:spMkLst>
            <pc:docMk/>
            <pc:sldMk cId="2635008197" sldId="400"/>
            <ac:spMk id="663" creationId="{16D7D3DF-4D41-86FC-2AB5-784C58AAD6BC}"/>
          </ac:spMkLst>
        </pc:spChg>
        <pc:spChg chg="add del mod modVis">
          <ac:chgData name="Tan, Roger" userId="f6f33758-bd69-4951-8148-181de3b92474" providerId="ADAL" clId="{A436842E-EA5C-4A6D-B51D-DDAE8BC6E9BD}" dt="2023-11-07T04:51:28.255" v="52203"/>
          <ac:spMkLst>
            <pc:docMk/>
            <pc:sldMk cId="2635008197" sldId="400"/>
            <ac:spMk id="664" creationId="{84F68826-4E77-F0C3-67BD-0A0A76CF3C1B}"/>
          </ac:spMkLst>
        </pc:spChg>
        <pc:spChg chg="add del mod modVis">
          <ac:chgData name="Tan, Roger" userId="f6f33758-bd69-4951-8148-181de3b92474" providerId="ADAL" clId="{A436842E-EA5C-4A6D-B51D-DDAE8BC6E9BD}" dt="2023-11-07T04:51:41.860" v="52935"/>
          <ac:spMkLst>
            <pc:docMk/>
            <pc:sldMk cId="2635008197" sldId="400"/>
            <ac:spMk id="667" creationId="{8BD4C8C4-A4AC-B8D7-3AC2-1D07AA0D27EB}"/>
          </ac:spMkLst>
        </pc:spChg>
        <pc:spChg chg="add mod replST">
          <ac:chgData name="Tan, Roger" userId="f6f33758-bd69-4951-8148-181de3b92474" providerId="ADAL" clId="{A436842E-EA5C-4A6D-B51D-DDAE8BC6E9BD}" dt="2023-11-07T04:57:31.430" v="55594"/>
          <ac:spMkLst>
            <pc:docMk/>
            <pc:sldMk cId="2635008197" sldId="400"/>
            <ac:spMk id="668" creationId="{6B6F55E4-0FB2-D806-0972-AD37DB1D8F94}"/>
          </ac:spMkLst>
        </pc:spChg>
        <pc:spChg chg="add mod replST">
          <ac:chgData name="Tan, Roger" userId="f6f33758-bd69-4951-8148-181de3b92474" providerId="ADAL" clId="{A436842E-EA5C-4A6D-B51D-DDAE8BC6E9BD}" dt="2023-11-07T04:57:31.430" v="55595"/>
          <ac:spMkLst>
            <pc:docMk/>
            <pc:sldMk cId="2635008197" sldId="400"/>
            <ac:spMk id="669" creationId="{AFD8A9B9-2AEC-2BD3-1C27-F7B20CEAF8B9}"/>
          </ac:spMkLst>
        </pc:spChg>
        <pc:spChg chg="add mod replST">
          <ac:chgData name="Tan, Roger" userId="f6f33758-bd69-4951-8148-181de3b92474" providerId="ADAL" clId="{A436842E-EA5C-4A6D-B51D-DDAE8BC6E9BD}" dt="2023-11-07T04:57:31.430" v="55596"/>
          <ac:spMkLst>
            <pc:docMk/>
            <pc:sldMk cId="2635008197" sldId="400"/>
            <ac:spMk id="670" creationId="{86308B6C-9B2E-7610-00B5-167DED469335}"/>
          </ac:spMkLst>
        </pc:spChg>
        <pc:spChg chg="add mod replST">
          <ac:chgData name="Tan, Roger" userId="f6f33758-bd69-4951-8148-181de3b92474" providerId="ADAL" clId="{A436842E-EA5C-4A6D-B51D-DDAE8BC6E9BD}" dt="2023-11-07T04:57:31.431" v="55597"/>
          <ac:spMkLst>
            <pc:docMk/>
            <pc:sldMk cId="2635008197" sldId="400"/>
            <ac:spMk id="671" creationId="{40DBAAC1-F42C-DD68-30E3-499DF877FAFF}"/>
          </ac:spMkLst>
        </pc:spChg>
        <pc:spChg chg="add mod replST">
          <ac:chgData name="Tan, Roger" userId="f6f33758-bd69-4951-8148-181de3b92474" providerId="ADAL" clId="{A436842E-EA5C-4A6D-B51D-DDAE8BC6E9BD}" dt="2023-11-07T04:57:31.431" v="55598"/>
          <ac:spMkLst>
            <pc:docMk/>
            <pc:sldMk cId="2635008197" sldId="400"/>
            <ac:spMk id="672" creationId="{84D45E44-6200-366D-5E34-3F31C6B3B206}"/>
          </ac:spMkLst>
        </pc:spChg>
        <pc:spChg chg="add mod replST">
          <ac:chgData name="Tan, Roger" userId="f6f33758-bd69-4951-8148-181de3b92474" providerId="ADAL" clId="{A436842E-EA5C-4A6D-B51D-DDAE8BC6E9BD}" dt="2023-11-07T04:57:31.432" v="55599"/>
          <ac:spMkLst>
            <pc:docMk/>
            <pc:sldMk cId="2635008197" sldId="400"/>
            <ac:spMk id="673" creationId="{6F711AB3-92C5-533B-7EA9-17CD11BCD931}"/>
          </ac:spMkLst>
        </pc:spChg>
        <pc:spChg chg="add mod replST">
          <ac:chgData name="Tan, Roger" userId="f6f33758-bd69-4951-8148-181de3b92474" providerId="ADAL" clId="{A436842E-EA5C-4A6D-B51D-DDAE8BC6E9BD}" dt="2023-11-07T04:57:31.432" v="55600"/>
          <ac:spMkLst>
            <pc:docMk/>
            <pc:sldMk cId="2635008197" sldId="400"/>
            <ac:spMk id="674" creationId="{0F522667-81FB-E1D1-874B-0E4D8C1F74C0}"/>
          </ac:spMkLst>
        </pc:spChg>
        <pc:spChg chg="add mod replST">
          <ac:chgData name="Tan, Roger" userId="f6f33758-bd69-4951-8148-181de3b92474" providerId="ADAL" clId="{A436842E-EA5C-4A6D-B51D-DDAE8BC6E9BD}" dt="2023-11-07T04:57:31.432" v="55601"/>
          <ac:spMkLst>
            <pc:docMk/>
            <pc:sldMk cId="2635008197" sldId="400"/>
            <ac:spMk id="675" creationId="{4864EBE8-46A7-2EA7-70F4-53B7D7986F89}"/>
          </ac:spMkLst>
        </pc:spChg>
        <pc:spChg chg="add mod replST">
          <ac:chgData name="Tan, Roger" userId="f6f33758-bd69-4951-8148-181de3b92474" providerId="ADAL" clId="{A436842E-EA5C-4A6D-B51D-DDAE8BC6E9BD}" dt="2023-11-07T04:57:31.433" v="55602"/>
          <ac:spMkLst>
            <pc:docMk/>
            <pc:sldMk cId="2635008197" sldId="400"/>
            <ac:spMk id="676" creationId="{EEFFFE5E-FA4D-5E58-6567-9CB404B96DAB}"/>
          </ac:spMkLst>
        </pc:spChg>
        <pc:spChg chg="add mod replST">
          <ac:chgData name="Tan, Roger" userId="f6f33758-bd69-4951-8148-181de3b92474" providerId="ADAL" clId="{A436842E-EA5C-4A6D-B51D-DDAE8BC6E9BD}" dt="2023-11-07T04:57:31.433" v="55603"/>
          <ac:spMkLst>
            <pc:docMk/>
            <pc:sldMk cId="2635008197" sldId="400"/>
            <ac:spMk id="677" creationId="{DC506074-B505-8809-202D-FC956CD2B904}"/>
          </ac:spMkLst>
        </pc:spChg>
        <pc:spChg chg="add del mod modVis">
          <ac:chgData name="Tan, Roger" userId="f6f33758-bd69-4951-8148-181de3b92474" providerId="ADAL" clId="{A436842E-EA5C-4A6D-B51D-DDAE8BC6E9BD}" dt="2023-11-07T04:51:56.012" v="53060"/>
          <ac:spMkLst>
            <pc:docMk/>
            <pc:sldMk cId="2635008197" sldId="400"/>
            <ac:spMk id="679" creationId="{A7151A20-D844-3AA8-28ED-AD7A9EDD41D4}"/>
          </ac:spMkLst>
        </pc:spChg>
        <pc:spChg chg="add del mod modVis">
          <ac:chgData name="Tan, Roger" userId="f6f33758-bd69-4951-8148-181de3b92474" providerId="ADAL" clId="{A436842E-EA5C-4A6D-B51D-DDAE8BC6E9BD}" dt="2023-11-07T04:52:00.204" v="53232"/>
          <ac:spMkLst>
            <pc:docMk/>
            <pc:sldMk cId="2635008197" sldId="400"/>
            <ac:spMk id="681" creationId="{BDD659DE-1DA0-C32D-305A-31452F1A88CC}"/>
          </ac:spMkLst>
        </pc:spChg>
        <pc:spChg chg="add mod replST">
          <ac:chgData name="Tan, Roger" userId="f6f33758-bd69-4951-8148-181de3b92474" providerId="ADAL" clId="{A436842E-EA5C-4A6D-B51D-DDAE8BC6E9BD}" dt="2023-11-07T04:57:31.434" v="55604"/>
          <ac:spMkLst>
            <pc:docMk/>
            <pc:sldMk cId="2635008197" sldId="400"/>
            <ac:spMk id="682" creationId="{FCCE6516-48EA-4BEE-F1BE-6849B4D4970B}"/>
          </ac:spMkLst>
        </pc:spChg>
        <pc:spChg chg="add del mod modVis">
          <ac:chgData name="Tan, Roger" userId="f6f33758-bd69-4951-8148-181de3b92474" providerId="ADAL" clId="{A436842E-EA5C-4A6D-B51D-DDAE8BC6E9BD}" dt="2023-11-07T04:52:07.707" v="53355"/>
          <ac:spMkLst>
            <pc:docMk/>
            <pc:sldMk cId="2635008197" sldId="400"/>
            <ac:spMk id="684" creationId="{F7491A3E-49F1-97B2-6D45-FA2C2B285A66}"/>
          </ac:spMkLst>
        </pc:spChg>
        <pc:spChg chg="add del mod modVis">
          <ac:chgData name="Tan, Roger" userId="f6f33758-bd69-4951-8148-181de3b92474" providerId="ADAL" clId="{A436842E-EA5C-4A6D-B51D-DDAE8BC6E9BD}" dt="2023-11-07T04:52:09.136" v="53464"/>
          <ac:spMkLst>
            <pc:docMk/>
            <pc:sldMk cId="2635008197" sldId="400"/>
            <ac:spMk id="686" creationId="{7EEF60CD-7058-3808-BEEF-4F230A918191}"/>
          </ac:spMkLst>
        </pc:spChg>
        <pc:spChg chg="add del mod modVis">
          <ac:chgData name="Tan, Roger" userId="f6f33758-bd69-4951-8148-181de3b92474" providerId="ADAL" clId="{A436842E-EA5C-4A6D-B51D-DDAE8BC6E9BD}" dt="2023-11-07T04:52:17.794" v="53572"/>
          <ac:spMkLst>
            <pc:docMk/>
            <pc:sldMk cId="2635008197" sldId="400"/>
            <ac:spMk id="688" creationId="{022C8275-55D8-1AB7-28D0-1CFDB2EA5B58}"/>
          </ac:spMkLst>
        </pc:spChg>
        <pc:spChg chg="add del mod modVis">
          <ac:chgData name="Tan, Roger" userId="f6f33758-bd69-4951-8148-181de3b92474" providerId="ADAL" clId="{A436842E-EA5C-4A6D-B51D-DDAE8BC6E9BD}" dt="2023-11-07T04:52:30.208" v="53681"/>
          <ac:spMkLst>
            <pc:docMk/>
            <pc:sldMk cId="2635008197" sldId="400"/>
            <ac:spMk id="690" creationId="{A1C98B07-EF66-41EA-8C45-A9F2863DA40E}"/>
          </ac:spMkLst>
        </pc:spChg>
        <pc:spChg chg="add del mod modVis">
          <ac:chgData name="Tan, Roger" userId="f6f33758-bd69-4951-8148-181de3b92474" providerId="ADAL" clId="{A436842E-EA5C-4A6D-B51D-DDAE8BC6E9BD}" dt="2023-11-07T04:52:32.024" v="53852"/>
          <ac:spMkLst>
            <pc:docMk/>
            <pc:sldMk cId="2635008197" sldId="400"/>
            <ac:spMk id="692" creationId="{02FECED2-D66F-8EDB-7EB8-A23D07525D98}"/>
          </ac:spMkLst>
        </pc:spChg>
        <pc:spChg chg="add del mod modVis">
          <ac:chgData name="Tan, Roger" userId="f6f33758-bd69-4951-8148-181de3b92474" providerId="ADAL" clId="{A436842E-EA5C-4A6D-B51D-DDAE8BC6E9BD}" dt="2023-11-07T04:52:36.721" v="53965"/>
          <ac:spMkLst>
            <pc:docMk/>
            <pc:sldMk cId="2635008197" sldId="400"/>
            <ac:spMk id="694" creationId="{CED40CFE-47AD-A9A1-077B-3E404F02437F}"/>
          </ac:spMkLst>
        </pc:spChg>
        <pc:spChg chg="add del mod modVis">
          <ac:chgData name="Tan, Roger" userId="f6f33758-bd69-4951-8148-181de3b92474" providerId="ADAL" clId="{A436842E-EA5C-4A6D-B51D-DDAE8BC6E9BD}" dt="2023-11-07T04:52:40.210" v="54079"/>
          <ac:spMkLst>
            <pc:docMk/>
            <pc:sldMk cId="2635008197" sldId="400"/>
            <ac:spMk id="696" creationId="{1B66DA68-006E-8885-74EB-74D35B9956B0}"/>
          </ac:spMkLst>
        </pc:spChg>
        <pc:spChg chg="add del mod modVis">
          <ac:chgData name="Tan, Roger" userId="f6f33758-bd69-4951-8148-181de3b92474" providerId="ADAL" clId="{A436842E-EA5C-4A6D-B51D-DDAE8BC6E9BD}" dt="2023-11-07T04:52:53.965" v="54250"/>
          <ac:spMkLst>
            <pc:docMk/>
            <pc:sldMk cId="2635008197" sldId="400"/>
            <ac:spMk id="698" creationId="{034B8AC9-903B-0248-77FD-D33D196C4B77}"/>
          </ac:spMkLst>
        </pc:spChg>
        <pc:spChg chg="add del mod modVis">
          <ac:chgData name="Tan, Roger" userId="f6f33758-bd69-4951-8148-181de3b92474" providerId="ADAL" clId="{A436842E-EA5C-4A6D-B51D-DDAE8BC6E9BD}" dt="2023-11-07T04:53:04.102" v="54419"/>
          <ac:spMkLst>
            <pc:docMk/>
            <pc:sldMk cId="2635008197" sldId="400"/>
            <ac:spMk id="700" creationId="{700B1355-D59A-1D35-5439-F57DE8316A3A}"/>
          </ac:spMkLst>
        </pc:spChg>
        <pc:spChg chg="add del mod modVis">
          <ac:chgData name="Tan, Roger" userId="f6f33758-bd69-4951-8148-181de3b92474" providerId="ADAL" clId="{A436842E-EA5C-4A6D-B51D-DDAE8BC6E9BD}" dt="2023-11-07T04:53:12.061" v="54634"/>
          <ac:spMkLst>
            <pc:docMk/>
            <pc:sldMk cId="2635008197" sldId="400"/>
            <ac:spMk id="702" creationId="{7386190C-3C55-8EB4-CBA8-6E3BDB361814}"/>
          </ac:spMkLst>
        </pc:spChg>
        <pc:spChg chg="add del mod modVis">
          <ac:chgData name="Tan, Roger" userId="f6f33758-bd69-4951-8148-181de3b92474" providerId="ADAL" clId="{A436842E-EA5C-4A6D-B51D-DDAE8BC6E9BD}" dt="2023-11-07T04:53:15.695" v="54817"/>
          <ac:spMkLst>
            <pc:docMk/>
            <pc:sldMk cId="2635008197" sldId="400"/>
            <ac:spMk id="704" creationId="{4A12AFEE-134E-8993-A326-8EAB9BB76D37}"/>
          </ac:spMkLst>
        </pc:spChg>
        <pc:spChg chg="add del mod modVis">
          <ac:chgData name="Tan, Roger" userId="f6f33758-bd69-4951-8148-181de3b92474" providerId="ADAL" clId="{A436842E-EA5C-4A6D-B51D-DDAE8BC6E9BD}" dt="2023-11-07T04:54:03.642" v="54912"/>
          <ac:spMkLst>
            <pc:docMk/>
            <pc:sldMk cId="2635008197" sldId="400"/>
            <ac:spMk id="706" creationId="{56500CC2-73C9-FA63-93DE-4F22F3F28DC1}"/>
          </ac:spMkLst>
        </pc:spChg>
        <pc:spChg chg="add del mod modVis">
          <ac:chgData name="Tan, Roger" userId="f6f33758-bd69-4951-8148-181de3b92474" providerId="ADAL" clId="{A436842E-EA5C-4A6D-B51D-DDAE8BC6E9BD}" dt="2023-11-07T04:54:06.864" v="54993"/>
          <ac:spMkLst>
            <pc:docMk/>
            <pc:sldMk cId="2635008197" sldId="400"/>
            <ac:spMk id="708" creationId="{F73B1EFC-3041-EABB-95B4-52EA67AE71C6}"/>
          </ac:spMkLst>
        </pc:spChg>
        <pc:spChg chg="add del mod modVis">
          <ac:chgData name="Tan, Roger" userId="f6f33758-bd69-4951-8148-181de3b92474" providerId="ADAL" clId="{A436842E-EA5C-4A6D-B51D-DDAE8BC6E9BD}" dt="2023-11-07T04:54:09.108" v="55076"/>
          <ac:spMkLst>
            <pc:docMk/>
            <pc:sldMk cId="2635008197" sldId="400"/>
            <ac:spMk id="710" creationId="{08F70F1A-E128-51C3-DD2A-34F4AD8201D1}"/>
          </ac:spMkLst>
        </pc:spChg>
        <pc:spChg chg="add del mod modVis">
          <ac:chgData name="Tan, Roger" userId="f6f33758-bd69-4951-8148-181de3b92474" providerId="ADAL" clId="{A436842E-EA5C-4A6D-B51D-DDAE8BC6E9BD}" dt="2023-11-07T04:54:22.576" v="55269"/>
          <ac:spMkLst>
            <pc:docMk/>
            <pc:sldMk cId="2635008197" sldId="400"/>
            <ac:spMk id="713" creationId="{C5230DC0-F450-7918-D32A-516A26DA266C}"/>
          </ac:spMkLst>
        </pc:spChg>
        <pc:spChg chg="add del mod modVis">
          <ac:chgData name="Tan, Roger" userId="f6f33758-bd69-4951-8148-181de3b92474" providerId="ADAL" clId="{A436842E-EA5C-4A6D-B51D-DDAE8BC6E9BD}" dt="2023-11-07T04:54:27.611" v="55369"/>
          <ac:spMkLst>
            <pc:docMk/>
            <pc:sldMk cId="2635008197" sldId="400"/>
            <ac:spMk id="715" creationId="{1C4FB19E-C562-05E0-DBCE-0E0A91EBF965}"/>
          </ac:spMkLst>
        </pc:spChg>
        <pc:graphicFrameChg chg="add del mod replST">
          <ac:chgData name="Tan, Roger" userId="f6f33758-bd69-4951-8148-181de3b92474" providerId="ADAL" clId="{A436842E-EA5C-4A6D-B51D-DDAE8BC6E9BD}" dt="2023-11-07T04:15:20.557" v="43200"/>
          <ac:graphicFrameMkLst>
            <pc:docMk/>
            <pc:sldMk cId="2635008197" sldId="400"/>
            <ac:graphicFrameMk id="2" creationId="{CC778222-E069-D82B-0E80-DEB4C5736820}"/>
          </ac:graphicFrameMkLst>
        </pc:graphicFrameChg>
        <pc:graphicFrameChg chg="mod">
          <ac:chgData name="Tan, Roger" userId="f6f33758-bd69-4951-8148-181de3b92474" providerId="ADAL" clId="{A436842E-EA5C-4A6D-B51D-DDAE8BC6E9BD}" dt="2023-11-07T04:57:31.445" v="55616"/>
          <ac:graphicFrameMkLst>
            <pc:docMk/>
            <pc:sldMk cId="2635008197" sldId="400"/>
            <ac:graphicFrameMk id="9" creationId="{5DE7E905-5EDA-8429-DE11-43E8EDD3180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28.574" v="43254"/>
          <ac:graphicFrameMkLst>
            <pc:docMk/>
            <pc:sldMk cId="2635008197" sldId="400"/>
            <ac:graphicFrameMk id="38" creationId="{426F04E9-463D-AB1D-9C40-C6B6C43B94D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35.011" v="43340"/>
          <ac:graphicFrameMkLst>
            <pc:docMk/>
            <pc:sldMk cId="2635008197" sldId="400"/>
            <ac:graphicFrameMk id="39" creationId="{5E2B6471-A750-697E-ADA2-FA855C01ECB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40.673" v="43435"/>
          <ac:graphicFrameMkLst>
            <pc:docMk/>
            <pc:sldMk cId="2635008197" sldId="400"/>
            <ac:graphicFrameMk id="41" creationId="{6AA54685-B961-7C2E-D831-ED6D4573378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49.215" v="43533"/>
          <ac:graphicFrameMkLst>
            <pc:docMk/>
            <pc:sldMk cId="2635008197" sldId="400"/>
            <ac:graphicFrameMk id="43" creationId="{A43E1BE9-A953-67FA-C2F6-3A7EBBE64B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50.726" v="43633"/>
          <ac:graphicFrameMkLst>
            <pc:docMk/>
            <pc:sldMk cId="2635008197" sldId="400"/>
            <ac:graphicFrameMk id="45" creationId="{E3FAE1D4-195C-EC9B-3BCA-481CCC38548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55.800" v="43749"/>
          <ac:graphicFrameMkLst>
            <pc:docMk/>
            <pc:sldMk cId="2635008197" sldId="400"/>
            <ac:graphicFrameMk id="47" creationId="{46935880-1416-394E-E98D-B0193C5A0F1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58.121" v="43943"/>
          <ac:graphicFrameMkLst>
            <pc:docMk/>
            <pc:sldMk cId="2635008197" sldId="400"/>
            <ac:graphicFrameMk id="49" creationId="{FCE7A42D-9046-EEE0-5A6F-A563C244788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5:59.785" v="44006"/>
          <ac:graphicFrameMkLst>
            <pc:docMk/>
            <pc:sldMk cId="2635008197" sldId="400"/>
            <ac:graphicFrameMk id="52" creationId="{CA15242B-EEFA-5101-DD46-7733DF0A7F9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6:02.724" v="44085"/>
          <ac:graphicFrameMkLst>
            <pc:docMk/>
            <pc:sldMk cId="2635008197" sldId="400"/>
            <ac:graphicFrameMk id="53" creationId="{40051783-9D46-81AB-49EC-EC9D9418E8E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6:16.155" v="44176"/>
          <ac:graphicFrameMkLst>
            <pc:docMk/>
            <pc:sldMk cId="2635008197" sldId="400"/>
            <ac:graphicFrameMk id="54" creationId="{6ACFE6B2-2BDC-1177-4899-DF47DF4E0EF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16:29.333" v="44246"/>
          <ac:graphicFrameMkLst>
            <pc:docMk/>
            <pc:sldMk cId="2635008197" sldId="400"/>
            <ac:graphicFrameMk id="56" creationId="{FBF22C64-BCBB-5698-7A75-7A9490D4919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17.220" v="51834"/>
          <ac:graphicFrameMkLst>
            <pc:docMk/>
            <pc:sldMk cId="2635008197" sldId="400"/>
            <ac:graphicFrameMk id="57" creationId="{3A9AC3F6-3FC3-C06C-240C-6ADA45A0E57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06.516" v="44500"/>
          <ac:graphicFrameMkLst>
            <pc:docMk/>
            <pc:sldMk cId="2635008197" sldId="400"/>
            <ac:graphicFrameMk id="63" creationId="{A4B0B5FF-7E3E-80E2-C4DD-7E019D1D819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11.807" v="44567"/>
          <ac:graphicFrameMkLst>
            <pc:docMk/>
            <pc:sldMk cId="2635008197" sldId="400"/>
            <ac:graphicFrameMk id="448" creationId="{381D65BD-24AE-A47B-EC07-EB94FB60F39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13.992" v="44634"/>
          <ac:graphicFrameMkLst>
            <pc:docMk/>
            <pc:sldMk cId="2635008197" sldId="400"/>
            <ac:graphicFrameMk id="451" creationId="{EDDD663E-8DA5-9F25-F6CD-08DCC3396C0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18.011" v="44701"/>
          <ac:graphicFrameMkLst>
            <pc:docMk/>
            <pc:sldMk cId="2635008197" sldId="400"/>
            <ac:graphicFrameMk id="453" creationId="{FE445646-C8EA-5FEA-6F57-326A87A18E8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22.678" v="44770"/>
          <ac:graphicFrameMkLst>
            <pc:docMk/>
            <pc:sldMk cId="2635008197" sldId="400"/>
            <ac:graphicFrameMk id="456" creationId="{C0580E88-88E9-2CE3-8CF2-2176A55BBF1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6:32.248" v="44839"/>
          <ac:graphicFrameMkLst>
            <pc:docMk/>
            <pc:sldMk cId="2635008197" sldId="400"/>
            <ac:graphicFrameMk id="458" creationId="{09D6B89A-681C-6DAF-C951-8FA9D2714A2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7:09.032" v="44933"/>
          <ac:graphicFrameMkLst>
            <pc:docMk/>
            <pc:sldMk cId="2635008197" sldId="400"/>
            <ac:graphicFrameMk id="461" creationId="{ECA8E127-BE60-58F7-4D75-03D7D481756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7:18.149" v="45006"/>
          <ac:graphicFrameMkLst>
            <pc:docMk/>
            <pc:sldMk cId="2635008197" sldId="400"/>
            <ac:graphicFrameMk id="464" creationId="{C070D105-F3F8-5055-60C8-9B3D3B0A7FB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8:37.106" v="45043"/>
          <ac:graphicFrameMkLst>
            <pc:docMk/>
            <pc:sldMk cId="2635008197" sldId="400"/>
            <ac:graphicFrameMk id="466" creationId="{624E3802-8043-B153-BFC8-F75601F9431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39:48.492" v="45334"/>
          <ac:graphicFrameMkLst>
            <pc:docMk/>
            <pc:sldMk cId="2635008197" sldId="400"/>
            <ac:graphicFrameMk id="473" creationId="{EAD78C17-4B39-EE96-FB80-3E8500B94FD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0:44.849" v="45771"/>
          <ac:graphicFrameMkLst>
            <pc:docMk/>
            <pc:sldMk cId="2635008197" sldId="400"/>
            <ac:graphicFrameMk id="480" creationId="{B42C695C-0CDC-16F1-64A3-9730712BDD1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20.218" v="45848"/>
          <ac:graphicFrameMkLst>
            <pc:docMk/>
            <pc:sldMk cId="2635008197" sldId="400"/>
            <ac:graphicFrameMk id="486" creationId="{F9B306A6-FAEF-A96E-5144-412F9BC15A00}"/>
          </ac:graphicFrameMkLst>
        </pc:graphicFrameChg>
        <pc:graphicFrameChg chg="del">
          <ac:chgData name="Tan, Roger" userId="f6f33758-bd69-4951-8148-181de3b92474" providerId="ADAL" clId="{A436842E-EA5C-4A6D-B51D-DDAE8BC6E9BD}" dt="2023-11-07T03:55:33.600" v="42810"/>
          <ac:graphicFrameMkLst>
            <pc:docMk/>
            <pc:sldMk cId="2635008197" sldId="400"/>
            <ac:graphicFrameMk id="488" creationId="{17598B7D-51D0-DCCC-DD8C-53CDCAC26C9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23.294" v="45927"/>
          <ac:graphicFrameMkLst>
            <pc:docMk/>
            <pc:sldMk cId="2635008197" sldId="400"/>
            <ac:graphicFrameMk id="490" creationId="{E0991FED-B1C1-1009-C759-C8D2EC3E7CE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25.316" v="46010"/>
          <ac:graphicFrameMkLst>
            <pc:docMk/>
            <pc:sldMk cId="2635008197" sldId="400"/>
            <ac:graphicFrameMk id="493" creationId="{BF0F0D3D-E7CF-6F92-B2D4-A201DCDE961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30.896" v="46093"/>
          <ac:graphicFrameMkLst>
            <pc:docMk/>
            <pc:sldMk cId="2635008197" sldId="400"/>
            <ac:graphicFrameMk id="496" creationId="{8E6DED45-F990-8389-69F1-0E4C7683AB9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37.436" v="46158"/>
          <ac:graphicFrameMkLst>
            <pc:docMk/>
            <pc:sldMk cId="2635008197" sldId="400"/>
            <ac:graphicFrameMk id="498" creationId="{C63EBC5B-EB10-39F7-3DA3-64637576227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46.399" v="46231"/>
          <ac:graphicFrameMkLst>
            <pc:docMk/>
            <pc:sldMk cId="2635008197" sldId="400"/>
            <ac:graphicFrameMk id="500" creationId="{C1433E6C-4140-AD22-BAB1-A71AAC63B3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1:53.678" v="46274"/>
          <ac:graphicFrameMkLst>
            <pc:docMk/>
            <pc:sldMk cId="2635008197" sldId="400"/>
            <ac:graphicFrameMk id="502" creationId="{E4582BC2-3E5F-8639-8341-D9EAB7DAD3E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07.377" v="46335"/>
          <ac:graphicFrameMkLst>
            <pc:docMk/>
            <pc:sldMk cId="2635008197" sldId="400"/>
            <ac:graphicFrameMk id="503" creationId="{ED0BC62B-7E00-EC58-4875-213032FC216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12.553" v="46398"/>
          <ac:graphicFrameMkLst>
            <pc:docMk/>
            <pc:sldMk cId="2635008197" sldId="400"/>
            <ac:graphicFrameMk id="505" creationId="{F2D2254B-9C29-F126-9A22-E6B992467D4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16.602" v="46461"/>
          <ac:graphicFrameMkLst>
            <pc:docMk/>
            <pc:sldMk cId="2635008197" sldId="400"/>
            <ac:graphicFrameMk id="507" creationId="{7A9E112E-63FD-9C38-EC55-C3AB589F129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19.917" v="46524"/>
          <ac:graphicFrameMkLst>
            <pc:docMk/>
            <pc:sldMk cId="2635008197" sldId="400"/>
            <ac:graphicFrameMk id="509" creationId="{C436AB67-1DF7-6ED2-7272-1C3F192EC17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31.891" v="46587"/>
          <ac:graphicFrameMkLst>
            <pc:docMk/>
            <pc:sldMk cId="2635008197" sldId="400"/>
            <ac:graphicFrameMk id="511" creationId="{314DC438-0881-30E8-CE0A-EAAD5AED131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34.608" v="46650"/>
          <ac:graphicFrameMkLst>
            <pc:docMk/>
            <pc:sldMk cId="2635008197" sldId="400"/>
            <ac:graphicFrameMk id="513" creationId="{DF939E1C-8624-46C9-AD7F-A87A2C0B5D5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37.410" v="46713"/>
          <ac:graphicFrameMkLst>
            <pc:docMk/>
            <pc:sldMk cId="2635008197" sldId="400"/>
            <ac:graphicFrameMk id="515" creationId="{5F8AE9C1-AA6A-14DA-A3DD-A013BA7E552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44.412" v="46776"/>
          <ac:graphicFrameMkLst>
            <pc:docMk/>
            <pc:sldMk cId="2635008197" sldId="400"/>
            <ac:graphicFrameMk id="517" creationId="{F7394DAE-F30C-78BF-75AD-3F1FDEA720B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46.590" v="46839"/>
          <ac:graphicFrameMkLst>
            <pc:docMk/>
            <pc:sldMk cId="2635008197" sldId="400"/>
            <ac:graphicFrameMk id="519" creationId="{EBB5D2AA-B285-2EE5-AC2F-01DCAFCA5BC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2:48.136" v="46902"/>
          <ac:graphicFrameMkLst>
            <pc:docMk/>
            <pc:sldMk cId="2635008197" sldId="400"/>
            <ac:graphicFrameMk id="521" creationId="{43764F30-E199-D638-7162-E708761222A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5:57.386" v="46947"/>
          <ac:graphicFrameMkLst>
            <pc:docMk/>
            <pc:sldMk cId="2635008197" sldId="400"/>
            <ac:graphicFrameMk id="523" creationId="{4DFB2530-F715-CC59-3716-A84BA1E09EC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09.444" v="47216"/>
          <ac:graphicFrameMkLst>
            <pc:docMk/>
            <pc:sldMk cId="2635008197" sldId="400"/>
            <ac:graphicFrameMk id="528" creationId="{49613786-7876-70C7-F9D6-162B5B1D792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12.852" v="47283"/>
          <ac:graphicFrameMkLst>
            <pc:docMk/>
            <pc:sldMk cId="2635008197" sldId="400"/>
            <ac:graphicFrameMk id="530" creationId="{5EFEB1AD-374B-E8F6-BEE8-DE67F61E817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17.753" v="47352"/>
          <ac:graphicFrameMkLst>
            <pc:docMk/>
            <pc:sldMk cId="2635008197" sldId="400"/>
            <ac:graphicFrameMk id="532" creationId="{F9268FE9-3175-5491-BA7F-1C83D7D9C9F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20.678" v="47419"/>
          <ac:graphicFrameMkLst>
            <pc:docMk/>
            <pc:sldMk cId="2635008197" sldId="400"/>
            <ac:graphicFrameMk id="534" creationId="{BD064771-7C07-D72E-BA8F-A0BAD6BAD1B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22.946" v="47488"/>
          <ac:graphicFrameMkLst>
            <pc:docMk/>
            <pc:sldMk cId="2635008197" sldId="400"/>
            <ac:graphicFrameMk id="536" creationId="{9382AAB8-AB0C-0448-1644-6994C08BD34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25.618" v="47555"/>
          <ac:graphicFrameMkLst>
            <pc:docMk/>
            <pc:sldMk cId="2635008197" sldId="400"/>
            <ac:graphicFrameMk id="538" creationId="{0900E2CE-1FFE-7470-1162-0E9DFEF9524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31.506" v="47649"/>
          <ac:graphicFrameMkLst>
            <pc:docMk/>
            <pc:sldMk cId="2635008197" sldId="400"/>
            <ac:graphicFrameMk id="540" creationId="{057D29C9-D26C-4751-D2ED-AF3EDED104B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41.347" v="47948"/>
          <ac:graphicFrameMkLst>
            <pc:docMk/>
            <pc:sldMk cId="2635008197" sldId="400"/>
            <ac:graphicFrameMk id="543" creationId="{169E9971-538B-BDCC-DD1C-8C9AAB57E2B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46.478" v="48007"/>
          <ac:graphicFrameMkLst>
            <pc:docMk/>
            <pc:sldMk cId="2635008197" sldId="400"/>
            <ac:graphicFrameMk id="551" creationId="{83FC5FB5-340D-FD04-00D9-C3173AFBBDC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50.136" v="48073"/>
          <ac:graphicFrameMkLst>
            <pc:docMk/>
            <pc:sldMk cId="2635008197" sldId="400"/>
            <ac:graphicFrameMk id="552" creationId="{025129B0-672F-D014-69AE-15955EE561E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6:59.951" v="48171"/>
          <ac:graphicFrameMkLst>
            <pc:docMk/>
            <pc:sldMk cId="2635008197" sldId="400"/>
            <ac:graphicFrameMk id="553" creationId="{49ED8143-E700-1603-A6AD-17595F629CC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11.658" v="48230"/>
          <ac:graphicFrameMkLst>
            <pc:docMk/>
            <pc:sldMk cId="2635008197" sldId="400"/>
            <ac:graphicFrameMk id="556" creationId="{5C7EC115-5455-13F6-1D20-9FBD2CC8DEE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27.478" v="48375"/>
          <ac:graphicFrameMkLst>
            <pc:docMk/>
            <pc:sldMk cId="2635008197" sldId="400"/>
            <ac:graphicFrameMk id="557" creationId="{770D29E9-C237-1E17-AF1B-17A608B957E2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4:47:20.660" v="48304"/>
          <ac:graphicFrameMkLst>
            <pc:docMk/>
            <pc:sldMk cId="2635008197" sldId="400"/>
            <ac:graphicFrameMk id="558" creationId="{DB693C63-D823-55E2-2981-ADA1CF63AA5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29.318" v="48434"/>
          <ac:graphicFrameMkLst>
            <pc:docMk/>
            <pc:sldMk cId="2635008197" sldId="400"/>
            <ac:graphicFrameMk id="560" creationId="{3C728556-7B4B-6AF6-838F-07169F2624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30.664" v="48491"/>
          <ac:graphicFrameMkLst>
            <pc:docMk/>
            <pc:sldMk cId="2635008197" sldId="400"/>
            <ac:graphicFrameMk id="561" creationId="{132BC183-1EAA-3F75-FAD8-1F5311AE3AD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43.766" v="48564"/>
          <ac:graphicFrameMkLst>
            <pc:docMk/>
            <pc:sldMk cId="2635008197" sldId="400"/>
            <ac:graphicFrameMk id="562" creationId="{C83FF3F3-6D67-43E9-3459-12F49BEE336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45.522" v="48854"/>
          <ac:graphicFrameMkLst>
            <pc:docMk/>
            <pc:sldMk cId="2635008197" sldId="400"/>
            <ac:graphicFrameMk id="564" creationId="{0CC09DB7-FEC8-125E-FBC5-890811BD373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52.145" v="48945"/>
          <ac:graphicFrameMkLst>
            <pc:docMk/>
            <pc:sldMk cId="2635008197" sldId="400"/>
            <ac:graphicFrameMk id="579" creationId="{577A77A7-B097-A883-8875-A76A94EAC59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7:58.628" v="49018"/>
          <ac:graphicFrameMkLst>
            <pc:docMk/>
            <pc:sldMk cId="2635008197" sldId="400"/>
            <ac:graphicFrameMk id="580" creationId="{6E3CA0BC-B9E5-984C-3BB0-59E93B784A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8:03.821" v="49121"/>
          <ac:graphicFrameMkLst>
            <pc:docMk/>
            <pc:sldMk cId="2635008197" sldId="400"/>
            <ac:graphicFrameMk id="582" creationId="{2C079355-8D8E-CB01-2E89-1A93F2E46EF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8:13.076" v="49200"/>
          <ac:graphicFrameMkLst>
            <pc:docMk/>
            <pc:sldMk cId="2635008197" sldId="400"/>
            <ac:graphicFrameMk id="585" creationId="{87B422B5-A849-C023-5077-FB81F1A0209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8:16.227" v="49259"/>
          <ac:graphicFrameMkLst>
            <pc:docMk/>
            <pc:sldMk cId="2635008197" sldId="400"/>
            <ac:graphicFrameMk id="587" creationId="{FBAC9FD5-C5A3-6762-743A-3E1862F621C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8:25.691" v="49316"/>
          <ac:graphicFrameMkLst>
            <pc:docMk/>
            <pc:sldMk cId="2635008197" sldId="400"/>
            <ac:graphicFrameMk id="588" creationId="{5745379A-9B2A-4BDC-6F06-0D8351B967F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8:47.890" v="49373"/>
          <ac:graphicFrameMkLst>
            <pc:docMk/>
            <pc:sldMk cId="2635008197" sldId="400"/>
            <ac:graphicFrameMk id="589" creationId="{5A88AD88-8BA6-4BA4-A4A8-2A84BF753F5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27.860" v="49596"/>
          <ac:graphicFrameMkLst>
            <pc:docMk/>
            <pc:sldMk cId="2635008197" sldId="400"/>
            <ac:graphicFrameMk id="590" creationId="{E9E79481-143E-4F08-3FC3-D1A312F1D56F}"/>
          </ac:graphicFrameMkLst>
        </pc:graphicFrameChg>
        <pc:graphicFrameChg chg="add del mod replST">
          <ac:chgData name="Tan, Roger" userId="f6f33758-bd69-4951-8148-181de3b92474" providerId="ADAL" clId="{A436842E-EA5C-4A6D-B51D-DDAE8BC6E9BD}" dt="2023-11-07T04:48:51.559" v="49539"/>
          <ac:graphicFrameMkLst>
            <pc:docMk/>
            <pc:sldMk cId="2635008197" sldId="400"/>
            <ac:graphicFrameMk id="591" creationId="{F81E1A31-1E82-00F7-D872-3DE592F197A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26.496" v="49585"/>
          <ac:graphicFrameMkLst>
            <pc:docMk/>
            <pc:sldMk cId="2635008197" sldId="400"/>
            <ac:graphicFrameMk id="598" creationId="{608507E2-C13F-7CD5-28D2-FAD835FC4B5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40.440" v="50033"/>
          <ac:graphicFrameMkLst>
            <pc:docMk/>
            <pc:sldMk cId="2635008197" sldId="400"/>
            <ac:graphicFrameMk id="605" creationId="{351478ED-8B4E-2EF0-5C8A-0304EAF990E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43.672" v="50110"/>
          <ac:graphicFrameMkLst>
            <pc:docMk/>
            <pc:sldMk cId="2635008197" sldId="400"/>
            <ac:graphicFrameMk id="609" creationId="{D01D15CE-14B6-CCCE-93E5-4DD68E56D1D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45.081" v="50189"/>
          <ac:graphicFrameMkLst>
            <pc:docMk/>
            <pc:sldMk cId="2635008197" sldId="400"/>
            <ac:graphicFrameMk id="612" creationId="{D705DFBF-530E-0757-9BDD-EF324680DDF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48.450" v="50272"/>
          <ac:graphicFrameMkLst>
            <pc:docMk/>
            <pc:sldMk cId="2635008197" sldId="400"/>
            <ac:graphicFrameMk id="615" creationId="{BEEA123C-0D23-8933-653E-947FE0A9642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49:50.142" v="50371"/>
          <ac:graphicFrameMkLst>
            <pc:docMk/>
            <pc:sldMk cId="2635008197" sldId="400"/>
            <ac:graphicFrameMk id="618" creationId="{84EB7D73-9B49-5D9E-FB0A-121A81CE45E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02.009" v="50456"/>
          <ac:graphicFrameMkLst>
            <pc:docMk/>
            <pc:sldMk cId="2635008197" sldId="400"/>
            <ac:graphicFrameMk id="621" creationId="{B6CEB62E-15FF-C542-2B6F-E5A471CF958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05.105" v="50535"/>
          <ac:graphicFrameMkLst>
            <pc:docMk/>
            <pc:sldMk cId="2635008197" sldId="400"/>
            <ac:graphicFrameMk id="623" creationId="{47B2E71F-B16B-1BF4-FB0C-A079FCA5C66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11.183" v="50614"/>
          <ac:graphicFrameMkLst>
            <pc:docMk/>
            <pc:sldMk cId="2635008197" sldId="400"/>
            <ac:graphicFrameMk id="625" creationId="{CD692D5F-0D07-392D-6402-075409C0F5D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14.216" v="50693"/>
          <ac:graphicFrameMkLst>
            <pc:docMk/>
            <pc:sldMk cId="2635008197" sldId="400"/>
            <ac:graphicFrameMk id="627" creationId="{7B5FA3E3-675B-83F1-8CDF-671549A1CE3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16.567" v="50740"/>
          <ac:graphicFrameMkLst>
            <pc:docMk/>
            <pc:sldMk cId="2635008197" sldId="400"/>
            <ac:graphicFrameMk id="629" creationId="{9BB3BC7B-8274-D6EF-31F0-C8AD86EDBAD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24.243" v="50809"/>
          <ac:graphicFrameMkLst>
            <pc:docMk/>
            <pc:sldMk cId="2635008197" sldId="400"/>
            <ac:graphicFrameMk id="630" creationId="{D696980A-71EC-5C90-C9EB-B4981847165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27.689" v="50874"/>
          <ac:graphicFrameMkLst>
            <pc:docMk/>
            <pc:sldMk cId="2635008197" sldId="400"/>
            <ac:graphicFrameMk id="632" creationId="{D88BA036-EEC6-D387-781B-57DF4521504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32.679" v="50939"/>
          <ac:graphicFrameMkLst>
            <pc:docMk/>
            <pc:sldMk cId="2635008197" sldId="400"/>
            <ac:graphicFrameMk id="634" creationId="{92C315C1-9426-805E-17A8-F456A661092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38.896" v="51004"/>
          <ac:graphicFrameMkLst>
            <pc:docMk/>
            <pc:sldMk cId="2635008197" sldId="400"/>
            <ac:graphicFrameMk id="636" creationId="{AF4EAEEF-63DC-401A-DC44-A4996CC76173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44.351" v="51069"/>
          <ac:graphicFrameMkLst>
            <pc:docMk/>
            <pc:sldMk cId="2635008197" sldId="400"/>
            <ac:graphicFrameMk id="638" creationId="{D42084EC-0A9A-F07D-4637-7F3B518E29B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48.763" v="51134"/>
          <ac:graphicFrameMkLst>
            <pc:docMk/>
            <pc:sldMk cId="2635008197" sldId="400"/>
            <ac:graphicFrameMk id="640" creationId="{A76C4E20-5907-2BB9-0841-FC9DB896CB3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51.142" v="51199"/>
          <ac:graphicFrameMkLst>
            <pc:docMk/>
            <pc:sldMk cId="2635008197" sldId="400"/>
            <ac:graphicFrameMk id="642" creationId="{D2E762F4-A9F5-372E-9BC3-40639021C41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52.963" v="51264"/>
          <ac:graphicFrameMkLst>
            <pc:docMk/>
            <pc:sldMk cId="2635008197" sldId="400"/>
            <ac:graphicFrameMk id="644" creationId="{C8851199-C3B7-84E9-A39F-284EF2C2A86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56.407" v="51329"/>
          <ac:graphicFrameMkLst>
            <pc:docMk/>
            <pc:sldMk cId="2635008197" sldId="400"/>
            <ac:graphicFrameMk id="646" creationId="{D021D0CF-F715-B469-2199-741DBDF9916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0:58.316" v="51374"/>
          <ac:graphicFrameMkLst>
            <pc:docMk/>
            <pc:sldMk cId="2635008197" sldId="400"/>
            <ac:graphicFrameMk id="648" creationId="{33EB27E7-4CE5-F631-4CA5-31CC1061E49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02.317" v="51437"/>
          <ac:graphicFrameMkLst>
            <pc:docMk/>
            <pc:sldMk cId="2635008197" sldId="400"/>
            <ac:graphicFrameMk id="649" creationId="{21447E9E-0D93-F1DA-9BC9-4CDB8ED3D64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08.604" v="51510"/>
          <ac:graphicFrameMkLst>
            <pc:docMk/>
            <pc:sldMk cId="2635008197" sldId="400"/>
            <ac:graphicFrameMk id="651" creationId="{BA5E86C9-1545-9974-79B0-0F1E2C92A28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11.761" v="51575"/>
          <ac:graphicFrameMkLst>
            <pc:docMk/>
            <pc:sldMk cId="2635008197" sldId="400"/>
            <ac:graphicFrameMk id="653" creationId="{F1BFC9BB-0359-2564-54AB-789EB90D75B1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13.633" v="51638"/>
          <ac:graphicFrameMkLst>
            <pc:docMk/>
            <pc:sldMk cId="2635008197" sldId="400"/>
            <ac:graphicFrameMk id="654" creationId="{FD899F02-6511-A3C6-AC1F-5D3F229A2FDD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14.475" v="51691"/>
          <ac:graphicFrameMkLst>
            <pc:docMk/>
            <pc:sldMk cId="2635008197" sldId="400"/>
            <ac:graphicFrameMk id="655" creationId="{A396138B-E2F3-235C-66AD-5843C6D6F214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0.855" v="51889"/>
          <ac:graphicFrameMkLst>
            <pc:docMk/>
            <pc:sldMk cId="2635008197" sldId="400"/>
            <ac:graphicFrameMk id="656" creationId="{273C18FC-E31E-DC22-90AF-53CD21A2150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03.612" v="54865"/>
          <ac:graphicFrameMkLst>
            <pc:docMk/>
            <pc:sldMk cId="2635008197" sldId="400"/>
            <ac:graphicFrameMk id="658" creationId="{E61B19B3-A55D-9388-DAF0-45269655D27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1.710" v="51942"/>
          <ac:graphicFrameMkLst>
            <pc:docMk/>
            <pc:sldMk cId="2635008197" sldId="400"/>
            <ac:graphicFrameMk id="659" creationId="{AD787F93-63B7-49E3-BA4E-9055C3AF13F7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3.552" v="51995"/>
          <ac:graphicFrameMkLst>
            <pc:docMk/>
            <pc:sldMk cId="2635008197" sldId="400"/>
            <ac:graphicFrameMk id="660" creationId="{652F51E9-D136-359E-707C-A004ABD07FE0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4.740" v="52048"/>
          <ac:graphicFrameMkLst>
            <pc:docMk/>
            <pc:sldMk cId="2635008197" sldId="400"/>
            <ac:graphicFrameMk id="661" creationId="{5A330F27-56BA-2BB0-DBA5-741254DA8546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8.231" v="52168"/>
          <ac:graphicFrameMkLst>
            <pc:docMk/>
            <pc:sldMk cId="2635008197" sldId="400"/>
            <ac:graphicFrameMk id="662" creationId="{EC942BE2-C4F0-E41E-BD12-3C46AF4C09C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28.874" v="52216"/>
          <ac:graphicFrameMkLst>
            <pc:docMk/>
            <pc:sldMk cId="2635008197" sldId="400"/>
            <ac:graphicFrameMk id="665" creationId="{957D11BA-AE09-EEED-404A-D172F04630C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41.832" v="52891"/>
          <ac:graphicFrameMkLst>
            <pc:docMk/>
            <pc:sldMk cId="2635008197" sldId="400"/>
            <ac:graphicFrameMk id="666" creationId="{CD52FDCD-EC98-6D2B-B208-450EF9DE5888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1:55.984" v="53016"/>
          <ac:graphicFrameMkLst>
            <pc:docMk/>
            <pc:sldMk cId="2635008197" sldId="400"/>
            <ac:graphicFrameMk id="678" creationId="{EEAA28A1-4371-E27D-2651-57881BDD289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00.172" v="53179"/>
          <ac:graphicFrameMkLst>
            <pc:docMk/>
            <pc:sldMk cId="2635008197" sldId="400"/>
            <ac:graphicFrameMk id="680" creationId="{819CB109-042E-3696-CCF7-10BDFB4A919C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07.677" v="53310"/>
          <ac:graphicFrameMkLst>
            <pc:docMk/>
            <pc:sldMk cId="2635008197" sldId="400"/>
            <ac:graphicFrameMk id="683" creationId="{C0B2811A-C307-C2ED-5657-74FA57FEE4D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09.103" v="53419"/>
          <ac:graphicFrameMkLst>
            <pc:docMk/>
            <pc:sldMk cId="2635008197" sldId="400"/>
            <ac:graphicFrameMk id="685" creationId="{8CF05E95-4763-7D0E-8C95-053FF770A88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17.753" v="53524"/>
          <ac:graphicFrameMkLst>
            <pc:docMk/>
            <pc:sldMk cId="2635008197" sldId="400"/>
            <ac:graphicFrameMk id="687" creationId="{2706D4CC-CFE0-0546-76FF-CB0458CDE92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30.178" v="53632"/>
          <ac:graphicFrameMkLst>
            <pc:docMk/>
            <pc:sldMk cId="2635008197" sldId="400"/>
            <ac:graphicFrameMk id="689" creationId="{7ED0B873-8689-6836-76F9-73521F2942D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31.994" v="53805"/>
          <ac:graphicFrameMkLst>
            <pc:docMk/>
            <pc:sldMk cId="2635008197" sldId="400"/>
            <ac:graphicFrameMk id="691" creationId="{EA7DC92D-6E33-6DBC-12AF-8B6C3ACFC239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36.690" v="53918"/>
          <ac:graphicFrameMkLst>
            <pc:docMk/>
            <pc:sldMk cId="2635008197" sldId="400"/>
            <ac:graphicFrameMk id="693" creationId="{389C7347-67DE-8C23-B8F9-438F304CAFE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40.179" v="54032"/>
          <ac:graphicFrameMkLst>
            <pc:docMk/>
            <pc:sldMk cId="2635008197" sldId="400"/>
            <ac:graphicFrameMk id="695" creationId="{844FA900-4BAD-1FD9-8D37-DCE3AC99336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2:53.937" v="54203"/>
          <ac:graphicFrameMkLst>
            <pc:docMk/>
            <pc:sldMk cId="2635008197" sldId="400"/>
            <ac:graphicFrameMk id="697" creationId="{26CD01D0-5E4C-41A2-33F3-44B826E3695E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3:04.073" v="54372"/>
          <ac:graphicFrameMkLst>
            <pc:docMk/>
            <pc:sldMk cId="2635008197" sldId="400"/>
            <ac:graphicFrameMk id="699" creationId="{21CFA959-5132-D722-0414-A42C59BC00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3:12.026" v="54579"/>
          <ac:graphicFrameMkLst>
            <pc:docMk/>
            <pc:sldMk cId="2635008197" sldId="400"/>
            <ac:graphicFrameMk id="701" creationId="{DB298D7B-F8BF-9447-B26E-1FD1B15FBC12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3:15.645" v="54762"/>
          <ac:graphicFrameMkLst>
            <pc:docMk/>
            <pc:sldMk cId="2635008197" sldId="400"/>
            <ac:graphicFrameMk id="703" creationId="{17B34E4D-82B8-7081-615A-DCDC85CA0877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4:57:31.426" v="55588"/>
          <ac:graphicFrameMkLst>
            <pc:docMk/>
            <pc:sldMk cId="2635008197" sldId="400"/>
            <ac:graphicFrameMk id="705" creationId="{4B1C810B-1197-B60A-F264-F0596D870F7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06.831" v="54946"/>
          <ac:graphicFrameMkLst>
            <pc:docMk/>
            <pc:sldMk cId="2635008197" sldId="400"/>
            <ac:graphicFrameMk id="707" creationId="{2885279E-55C3-A9E7-8165-BAEE901E68A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09.077" v="55029"/>
          <ac:graphicFrameMkLst>
            <pc:docMk/>
            <pc:sldMk cId="2635008197" sldId="400"/>
            <ac:graphicFrameMk id="709" creationId="{9A3C59D6-54AD-BBD8-4D54-22E010E2772A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13.016" v="55125"/>
          <ac:graphicFrameMkLst>
            <pc:docMk/>
            <pc:sldMk cId="2635008197" sldId="400"/>
            <ac:graphicFrameMk id="711" creationId="{41C59594-3D5A-0994-E99C-234BB64F531F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22.548" v="55222"/>
          <ac:graphicFrameMkLst>
            <pc:docMk/>
            <pc:sldMk cId="2635008197" sldId="400"/>
            <ac:graphicFrameMk id="712" creationId="{76E48F88-10EF-FA05-13B1-18ACAE86B615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4:27.583" v="55322"/>
          <ac:graphicFrameMkLst>
            <pc:docMk/>
            <pc:sldMk cId="2635008197" sldId="400"/>
            <ac:graphicFrameMk id="714" creationId="{5FF59384-EBCE-38F3-833A-014627425AFB}"/>
          </ac:graphicFrameMkLst>
        </pc:graphicFrameChg>
        <pc:graphicFrameChg chg="add del mod ord replST">
          <ac:chgData name="Tan, Roger" userId="f6f33758-bd69-4951-8148-181de3b92474" providerId="ADAL" clId="{A436842E-EA5C-4A6D-B51D-DDAE8BC6E9BD}" dt="2023-11-07T04:57:31.392" v="55567"/>
          <ac:graphicFrameMkLst>
            <pc:docMk/>
            <pc:sldMk cId="2635008197" sldId="400"/>
            <ac:graphicFrameMk id="716" creationId="{71A12A2B-6123-D0FA-6FFB-DAF5EF544CF4}"/>
          </ac:graphicFrameMkLst>
        </pc:graphicFrameChg>
        <pc:graphicFrameChg chg="add mod ord modGraphic">
          <ac:chgData name="Tan, Roger" userId="f6f33758-bd69-4951-8148-181de3b92474" providerId="ADAL" clId="{A436842E-EA5C-4A6D-B51D-DDAE8BC6E9BD}" dt="2023-11-07T05:01:14.972" v="55660" actId="20577"/>
          <ac:graphicFrameMkLst>
            <pc:docMk/>
            <pc:sldMk cId="2635008197" sldId="400"/>
            <ac:graphicFrameMk id="717" creationId="{7182D23B-051F-0C95-1B86-383FC2FAAECF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4:57:31.424" v="55577"/>
          <ac:graphicFrameMkLst>
            <pc:docMk/>
            <pc:sldMk cId="2635008197" sldId="400"/>
            <ac:graphicFrameMk id="718" creationId="{47EB6E48-F741-F91D-C82E-FBB2D19625DD}"/>
          </ac:graphicFrameMkLst>
        </pc:graphicFrameChg>
        <pc:cxnChg chg="add mod ord replST">
          <ac:chgData name="Tan, Roger" userId="f6f33758-bd69-4951-8148-181de3b92474" providerId="ADAL" clId="{A436842E-EA5C-4A6D-B51D-DDAE8BC6E9BD}" dt="2023-11-07T04:57:31.424" v="55579"/>
          <ac:cxnSpMkLst>
            <pc:docMk/>
            <pc:sldMk cId="2635008197" sldId="400"/>
            <ac:cxnSpMk id="4" creationId="{05D33920-7F94-1884-64E7-366B1DD7CCA9}"/>
          </ac:cxnSpMkLst>
        </pc:cxnChg>
        <pc:cxnChg chg="del">
          <ac:chgData name="Tan, Roger" userId="f6f33758-bd69-4951-8148-181de3b92474" providerId="ADAL" clId="{A436842E-EA5C-4A6D-B51D-DDAE8BC6E9BD}" dt="2023-11-07T03:55:33.593" v="42791"/>
          <ac:cxnSpMkLst>
            <pc:docMk/>
            <pc:sldMk cId="2635008197" sldId="400"/>
            <ac:cxnSpMk id="18" creationId="{06627C4E-CDA8-776B-9CA1-15A0310CFCEB}"/>
          </ac:cxnSpMkLst>
        </pc:cxnChg>
        <pc:cxnChg chg="add del mod ord replST">
          <ac:chgData name="Tan, Roger" userId="f6f33758-bd69-4951-8148-181de3b92474" providerId="ADAL" clId="{A436842E-EA5C-4A6D-B51D-DDAE8BC6E9BD}" dt="2023-11-07T04:39:48.490" v="45330"/>
          <ac:cxnSpMkLst>
            <pc:docMk/>
            <pc:sldMk cId="2635008197" sldId="400"/>
            <ac:cxnSpMk id="471" creationId="{44094022-2D35-49F3-084E-9612A42A138D}"/>
          </ac:cxnSpMkLst>
        </pc:cxnChg>
        <pc:cxnChg chg="add del mod ord replST">
          <ac:chgData name="Tan, Roger" userId="f6f33758-bd69-4951-8148-181de3b92474" providerId="ADAL" clId="{A436842E-EA5C-4A6D-B51D-DDAE8BC6E9BD}" dt="2023-11-07T04:39:48.482" v="45327"/>
          <ac:cxnSpMkLst>
            <pc:docMk/>
            <pc:sldMk cId="2635008197" sldId="400"/>
            <ac:cxnSpMk id="472" creationId="{70BD5503-CF83-1CB9-95BB-139B1E658A46}"/>
          </ac:cxnSpMkLst>
        </pc:cxnChg>
        <pc:cxnChg chg="add del mod ord replST">
          <ac:chgData name="Tan, Roger" userId="f6f33758-bd69-4951-8148-181de3b92474" providerId="ADAL" clId="{A436842E-EA5C-4A6D-B51D-DDAE8BC6E9BD}" dt="2023-11-07T04:47:52.144" v="48943"/>
          <ac:cxnSpMkLst>
            <pc:docMk/>
            <pc:sldMk cId="2635008197" sldId="400"/>
            <ac:cxnSpMk id="570" creationId="{034A38A4-7377-60DE-65E5-AB8A4F2872EF}"/>
          </ac:cxnSpMkLst>
        </pc:cxnChg>
        <pc:cxnChg chg="add del mod ord replST">
          <ac:chgData name="Tan, Roger" userId="f6f33758-bd69-4951-8148-181de3b92474" providerId="ADAL" clId="{A436842E-EA5C-4A6D-B51D-DDAE8BC6E9BD}" dt="2023-11-07T04:47:52.143" v="48941"/>
          <ac:cxnSpMkLst>
            <pc:docMk/>
            <pc:sldMk cId="2635008197" sldId="400"/>
            <ac:cxnSpMk id="571" creationId="{21F1CD6F-A70E-8D1B-8ABA-D89503A98360}"/>
          </ac:cxnSpMkLst>
        </pc:cxnChg>
        <pc:cxnChg chg="add del mod ord replST">
          <ac:chgData name="Tan, Roger" userId="f6f33758-bd69-4951-8148-181de3b92474" providerId="ADAL" clId="{A436842E-EA5C-4A6D-B51D-DDAE8BC6E9BD}" dt="2023-11-07T04:47:52.120" v="48912"/>
          <ac:cxnSpMkLst>
            <pc:docMk/>
            <pc:sldMk cId="2635008197" sldId="400"/>
            <ac:cxnSpMk id="572" creationId="{C34612B1-6606-2C15-B01C-8A1809BCB826}"/>
          </ac:cxnSpMkLst>
        </pc:cxnChg>
        <pc:cxnChg chg="add del mod ord replST">
          <ac:chgData name="Tan, Roger" userId="f6f33758-bd69-4951-8148-181de3b92474" providerId="ADAL" clId="{A436842E-EA5C-4A6D-B51D-DDAE8BC6E9BD}" dt="2023-11-07T04:47:52.119" v="48910"/>
          <ac:cxnSpMkLst>
            <pc:docMk/>
            <pc:sldMk cId="2635008197" sldId="400"/>
            <ac:cxnSpMk id="573" creationId="{937B4E38-D002-F20D-2800-DEFCE54478EA}"/>
          </ac:cxnSpMkLst>
        </pc:cxnChg>
        <pc:cxnChg chg="add del mod ord replST">
          <ac:chgData name="Tan, Roger" userId="f6f33758-bd69-4951-8148-181de3b92474" providerId="ADAL" clId="{A436842E-EA5C-4A6D-B51D-DDAE8BC6E9BD}" dt="2023-11-07T04:47:52.121" v="48915"/>
          <ac:cxnSpMkLst>
            <pc:docMk/>
            <pc:sldMk cId="2635008197" sldId="400"/>
            <ac:cxnSpMk id="574" creationId="{59633FCD-FA3E-0479-02D4-263F45529A4C}"/>
          </ac:cxnSpMkLst>
        </pc:cxnChg>
        <pc:cxnChg chg="add del mod ord replST">
          <ac:chgData name="Tan, Roger" userId="f6f33758-bd69-4951-8148-181de3b92474" providerId="ADAL" clId="{A436842E-EA5C-4A6D-B51D-DDAE8BC6E9BD}" dt="2023-11-07T04:47:52.123" v="48920"/>
          <ac:cxnSpMkLst>
            <pc:docMk/>
            <pc:sldMk cId="2635008197" sldId="400"/>
            <ac:cxnSpMk id="575" creationId="{CD9ECD10-0D78-0D53-5318-7D65746ED28D}"/>
          </ac:cxnSpMkLst>
        </pc:cxnChg>
        <pc:cxnChg chg="add del mod ord replST">
          <ac:chgData name="Tan, Roger" userId="f6f33758-bd69-4951-8148-181de3b92474" providerId="ADAL" clId="{A436842E-EA5C-4A6D-B51D-DDAE8BC6E9BD}" dt="2023-11-07T04:47:52.122" v="48918"/>
          <ac:cxnSpMkLst>
            <pc:docMk/>
            <pc:sldMk cId="2635008197" sldId="400"/>
            <ac:cxnSpMk id="576" creationId="{10EE5266-2BFC-0FA8-12EB-21174E99A3A7}"/>
          </ac:cxnSpMkLst>
        </pc:cxnChg>
        <pc:cxnChg chg="add del mod ord replST">
          <ac:chgData name="Tan, Roger" userId="f6f33758-bd69-4951-8148-181de3b92474" providerId="ADAL" clId="{A436842E-EA5C-4A6D-B51D-DDAE8BC6E9BD}" dt="2023-11-07T04:47:52.124" v="48925"/>
          <ac:cxnSpMkLst>
            <pc:docMk/>
            <pc:sldMk cId="2635008197" sldId="400"/>
            <ac:cxnSpMk id="577" creationId="{4D95ED84-FDCE-BD0B-5D8C-70AE99E267EA}"/>
          </ac:cxnSpMkLst>
        </pc:cxnChg>
        <pc:cxnChg chg="add del mod ord replST">
          <ac:chgData name="Tan, Roger" userId="f6f33758-bd69-4951-8148-181de3b92474" providerId="ADAL" clId="{A436842E-EA5C-4A6D-B51D-DDAE8BC6E9BD}" dt="2023-11-07T04:47:52.124" v="48923"/>
          <ac:cxnSpMkLst>
            <pc:docMk/>
            <pc:sldMk cId="2635008197" sldId="400"/>
            <ac:cxnSpMk id="578" creationId="{F5D595CB-5F1B-4D56-83F1-43692A2EF864}"/>
          </ac:cxnSpMkLst>
        </pc:cxnChg>
      </pc:sldChg>
      <pc:sldChg chg="addSp delSp modSp add del mod modTransition modShow">
        <pc:chgData name="Tan, Roger" userId="f6f33758-bd69-4951-8148-181de3b92474" providerId="ADAL" clId="{A436842E-EA5C-4A6D-B51D-DDAE8BC6E9BD}" dt="2023-11-07T17:25:25.658" v="74392" actId="2696"/>
        <pc:sldMkLst>
          <pc:docMk/>
          <pc:sldMk cId="3556484693" sldId="401"/>
        </pc:sldMkLst>
        <pc:spChg chg="mod">
          <ac:chgData name="Tan, Roger" userId="f6f33758-bd69-4951-8148-181de3b92474" providerId="ADAL" clId="{A436842E-EA5C-4A6D-B51D-DDAE8BC6E9BD}" dt="2023-11-07T05:03:46.175" v="55891"/>
          <ac:spMkLst>
            <pc:docMk/>
            <pc:sldMk cId="3556484693" sldId="401"/>
            <ac:spMk id="5" creationId="{D33BDF50-70E4-3EF1-BDD1-01791F80ACAE}"/>
          </ac:spMkLst>
        </pc:spChg>
        <pc:spChg chg="mod">
          <ac:chgData name="Tan, Roger" userId="f6f33758-bd69-4951-8148-181de3b92474" providerId="ADAL" clId="{A436842E-EA5C-4A6D-B51D-DDAE8BC6E9BD}" dt="2023-11-07T05:03:46.176" v="55892"/>
          <ac:spMkLst>
            <pc:docMk/>
            <pc:sldMk cId="3556484693" sldId="401"/>
            <ac:spMk id="6" creationId="{CF558C95-C450-45F4-8D91-AA1B99F301E0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7" creationId="{79555DC8-24EC-0076-6160-62FEA38E6A63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8" creationId="{FC4A25B0-11C7-3FE4-3E74-97B5665C83BE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0" creationId="{4D656185-AA71-5E1B-3253-10829943431D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1" creationId="{60443856-C47C-359A-D2C6-0698A9F13875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2" creationId="{0671C56D-12FC-0B21-FC36-39009429AFBD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3" creationId="{3292100C-9FC9-24A0-E440-D8065F4FBF38}"/>
          </ac:spMkLst>
        </pc:spChg>
        <pc:spChg chg="add del mod replST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4" creationId="{FEAD105D-CFAC-739C-F95C-769EF56858CE}"/>
          </ac:spMkLst>
        </pc:spChg>
        <pc:spChg chg="add del mod modVis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15" creationId="{84E246AF-CF24-4409-2B21-74086ADFE68B}"/>
          </ac:spMkLst>
        </pc:spChg>
        <pc:spChg chg="mod">
          <ac:chgData name="Tan, Roger" userId="f6f33758-bd69-4951-8148-181de3b92474" providerId="ADAL" clId="{A436842E-EA5C-4A6D-B51D-DDAE8BC6E9BD}" dt="2023-11-07T05:03:46.176" v="55894"/>
          <ac:spMkLst>
            <pc:docMk/>
            <pc:sldMk cId="3556484693" sldId="401"/>
            <ac:spMk id="26" creationId="{1193A4EC-C9AE-5CAE-8729-199406ECC611}"/>
          </ac:spMkLst>
        </pc:spChg>
        <pc:spChg chg="mod">
          <ac:chgData name="Tan, Roger" userId="f6f33758-bd69-4951-8148-181de3b92474" providerId="ADAL" clId="{A436842E-EA5C-4A6D-B51D-DDAE8BC6E9BD}" dt="2023-11-07T05:03:46.176" v="55895"/>
          <ac:spMkLst>
            <pc:docMk/>
            <pc:sldMk cId="3556484693" sldId="401"/>
            <ac:spMk id="27" creationId="{E4E23FDB-23B3-19E9-A486-48D52322E902}"/>
          </ac:spMkLst>
        </pc:spChg>
        <pc:spChg chg="mod">
          <ac:chgData name="Tan, Roger" userId="f6f33758-bd69-4951-8148-181de3b92474" providerId="ADAL" clId="{A436842E-EA5C-4A6D-B51D-DDAE8BC6E9BD}" dt="2023-11-07T05:03:46.177" v="55896"/>
          <ac:spMkLst>
            <pc:docMk/>
            <pc:sldMk cId="3556484693" sldId="401"/>
            <ac:spMk id="29" creationId="{16A3F246-B709-219A-B7A4-032B12DDD497}"/>
          </ac:spMkLst>
        </pc:spChg>
        <pc:spChg chg="mod">
          <ac:chgData name="Tan, Roger" userId="f6f33758-bd69-4951-8148-181de3b92474" providerId="ADAL" clId="{A436842E-EA5C-4A6D-B51D-DDAE8BC6E9BD}" dt="2023-11-07T05:03:46.177" v="55897"/>
          <ac:spMkLst>
            <pc:docMk/>
            <pc:sldMk cId="3556484693" sldId="401"/>
            <ac:spMk id="30" creationId="{92020AA2-5627-7518-E876-ABBFB6FD22DB}"/>
          </ac:spMkLst>
        </pc:spChg>
        <pc:spChg chg="mod">
          <ac:chgData name="Tan, Roger" userId="f6f33758-bd69-4951-8148-181de3b92474" providerId="ADAL" clId="{A436842E-EA5C-4A6D-B51D-DDAE8BC6E9BD}" dt="2023-11-07T05:03:46.176" v="55893"/>
          <ac:spMkLst>
            <pc:docMk/>
            <pc:sldMk cId="3556484693" sldId="401"/>
            <ac:spMk id="36" creationId="{9884A715-27D1-F886-F6A8-F8DBE902E929}"/>
          </ac:spMkLst>
        </pc:spChg>
        <pc:spChg chg="mod ord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485" creationId="{9919C743-B9CA-D2D5-767A-F02BFF6150B4}"/>
          </ac:spMkLst>
        </pc:spChg>
        <pc:spChg chg="mod">
          <ac:chgData name="Tan, Roger" userId="f6f33758-bd69-4951-8148-181de3b92474" providerId="ADAL" clId="{A436842E-EA5C-4A6D-B51D-DDAE8BC6E9BD}" dt="2023-11-07T05:03:46.186" v="55920"/>
          <ac:spMkLst>
            <pc:docMk/>
            <pc:sldMk cId="3556484693" sldId="401"/>
            <ac:spMk id="599" creationId="{0651F198-2E9D-5183-D812-79FB97D1BDC0}"/>
          </ac:spMkLst>
        </pc:spChg>
        <pc:spChg chg="mod">
          <ac:chgData name="Tan, Roger" userId="f6f33758-bd69-4951-8148-181de3b92474" providerId="ADAL" clId="{A436842E-EA5C-4A6D-B51D-DDAE8BC6E9BD}" dt="2023-11-07T05:03:46.186" v="55921"/>
          <ac:spMkLst>
            <pc:docMk/>
            <pc:sldMk cId="3556484693" sldId="401"/>
            <ac:spMk id="601" creationId="{7404FB4D-ED35-01AA-4CF0-D8B9A6271D4D}"/>
          </ac:spMkLst>
        </pc:spChg>
        <pc:spChg chg="mod">
          <ac:chgData name="Tan, Roger" userId="f6f33758-bd69-4951-8148-181de3b92474" providerId="ADAL" clId="{A436842E-EA5C-4A6D-B51D-DDAE8BC6E9BD}" dt="2023-11-07T05:03:46.179" v="55901"/>
          <ac:spMkLst>
            <pc:docMk/>
            <pc:sldMk cId="3556484693" sldId="401"/>
            <ac:spMk id="602" creationId="{D51A2EEA-18B7-F289-73C6-206BD1AE37A2}"/>
          </ac:spMkLst>
        </pc:spChg>
        <pc:spChg chg="mod ord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606" creationId="{274F937E-9C53-854B-BADE-0DFFE749E0EA}"/>
          </ac:spMkLst>
        </pc:spChg>
        <pc:spChg chg="mod ord">
          <ac:chgData name="Tan, Roger" userId="f6f33758-bd69-4951-8148-181de3b92474" providerId="ADAL" clId="{A436842E-EA5C-4A6D-B51D-DDAE8BC6E9BD}" dt="2023-11-07T05:03:47.054" v="56043"/>
          <ac:spMkLst>
            <pc:docMk/>
            <pc:sldMk cId="3556484693" sldId="401"/>
            <ac:spMk id="607" creationId="{679D1BFA-FCC7-ECFC-A943-A87E4B47CE44}"/>
          </ac:spMkLst>
        </pc:spChg>
        <pc:spChg chg="mod">
          <ac:chgData name="Tan, Roger" userId="f6f33758-bd69-4951-8148-181de3b92474" providerId="ADAL" clId="{A436842E-EA5C-4A6D-B51D-DDAE8BC6E9BD}" dt="2023-11-07T05:03:46.179" v="55902"/>
          <ac:spMkLst>
            <pc:docMk/>
            <pc:sldMk cId="3556484693" sldId="401"/>
            <ac:spMk id="610" creationId="{5657E166-BEB5-0F70-5DB1-0410D87AA3FD}"/>
          </ac:spMkLst>
        </pc:spChg>
        <pc:spChg chg="mod">
          <ac:chgData name="Tan, Roger" userId="f6f33758-bd69-4951-8148-181de3b92474" providerId="ADAL" clId="{A436842E-EA5C-4A6D-B51D-DDAE8BC6E9BD}" dt="2023-11-07T05:03:46.179" v="55903"/>
          <ac:spMkLst>
            <pc:docMk/>
            <pc:sldMk cId="3556484693" sldId="401"/>
            <ac:spMk id="613" creationId="{DBE477A3-C6C4-F207-4E9C-43E49F79B202}"/>
          </ac:spMkLst>
        </pc:spChg>
        <pc:spChg chg="mod">
          <ac:chgData name="Tan, Roger" userId="f6f33758-bd69-4951-8148-181de3b92474" providerId="ADAL" clId="{A436842E-EA5C-4A6D-B51D-DDAE8BC6E9BD}" dt="2023-11-07T05:03:46.180" v="55904"/>
          <ac:spMkLst>
            <pc:docMk/>
            <pc:sldMk cId="3556484693" sldId="401"/>
            <ac:spMk id="616" creationId="{3ADC56B2-8E3F-CE76-5EC5-4CEA31DA5E37}"/>
          </ac:spMkLst>
        </pc:spChg>
        <pc:spChg chg="mod">
          <ac:chgData name="Tan, Roger" userId="f6f33758-bd69-4951-8148-181de3b92474" providerId="ADAL" clId="{A436842E-EA5C-4A6D-B51D-DDAE8BC6E9BD}" dt="2023-11-07T05:03:46.180" v="55905"/>
          <ac:spMkLst>
            <pc:docMk/>
            <pc:sldMk cId="3556484693" sldId="401"/>
            <ac:spMk id="619" creationId="{DEBE9FFF-500F-9C71-66BD-3BF29C72BEFB}"/>
          </ac:spMkLst>
        </pc:spChg>
        <pc:spChg chg="mod">
          <ac:chgData name="Tan, Roger" userId="f6f33758-bd69-4951-8148-181de3b92474" providerId="ADAL" clId="{A436842E-EA5C-4A6D-B51D-DDAE8BC6E9BD}" dt="2023-11-07T05:03:46.181" v="55906"/>
          <ac:spMkLst>
            <pc:docMk/>
            <pc:sldMk cId="3556484693" sldId="401"/>
            <ac:spMk id="668" creationId="{6B6F55E4-0FB2-D806-0972-AD37DB1D8F94}"/>
          </ac:spMkLst>
        </pc:spChg>
        <pc:spChg chg="mod">
          <ac:chgData name="Tan, Roger" userId="f6f33758-bd69-4951-8148-181de3b92474" providerId="ADAL" clId="{A436842E-EA5C-4A6D-B51D-DDAE8BC6E9BD}" dt="2023-11-07T05:03:46.181" v="55907"/>
          <ac:spMkLst>
            <pc:docMk/>
            <pc:sldMk cId="3556484693" sldId="401"/>
            <ac:spMk id="669" creationId="{AFD8A9B9-2AEC-2BD3-1C27-F7B20CEAF8B9}"/>
          </ac:spMkLst>
        </pc:spChg>
        <pc:spChg chg="mod">
          <ac:chgData name="Tan, Roger" userId="f6f33758-bd69-4951-8148-181de3b92474" providerId="ADAL" clId="{A436842E-EA5C-4A6D-B51D-DDAE8BC6E9BD}" dt="2023-11-07T05:03:46.181" v="55908"/>
          <ac:spMkLst>
            <pc:docMk/>
            <pc:sldMk cId="3556484693" sldId="401"/>
            <ac:spMk id="670" creationId="{86308B6C-9B2E-7610-00B5-167DED469335}"/>
          </ac:spMkLst>
        </pc:spChg>
        <pc:spChg chg="mod">
          <ac:chgData name="Tan, Roger" userId="f6f33758-bd69-4951-8148-181de3b92474" providerId="ADAL" clId="{A436842E-EA5C-4A6D-B51D-DDAE8BC6E9BD}" dt="2023-11-07T05:03:46.182" v="55909"/>
          <ac:spMkLst>
            <pc:docMk/>
            <pc:sldMk cId="3556484693" sldId="401"/>
            <ac:spMk id="671" creationId="{40DBAAC1-F42C-DD68-30E3-499DF877FAFF}"/>
          </ac:spMkLst>
        </pc:spChg>
        <pc:spChg chg="mod">
          <ac:chgData name="Tan, Roger" userId="f6f33758-bd69-4951-8148-181de3b92474" providerId="ADAL" clId="{A436842E-EA5C-4A6D-B51D-DDAE8BC6E9BD}" dt="2023-11-07T05:03:46.182" v="55910"/>
          <ac:spMkLst>
            <pc:docMk/>
            <pc:sldMk cId="3556484693" sldId="401"/>
            <ac:spMk id="672" creationId="{84D45E44-6200-366D-5E34-3F31C6B3B206}"/>
          </ac:spMkLst>
        </pc:spChg>
        <pc:spChg chg="mod">
          <ac:chgData name="Tan, Roger" userId="f6f33758-bd69-4951-8148-181de3b92474" providerId="ADAL" clId="{A436842E-EA5C-4A6D-B51D-DDAE8BC6E9BD}" dt="2023-11-07T05:03:46.183" v="55911"/>
          <ac:spMkLst>
            <pc:docMk/>
            <pc:sldMk cId="3556484693" sldId="401"/>
            <ac:spMk id="673" creationId="{6F711AB3-92C5-533B-7EA9-17CD11BCD931}"/>
          </ac:spMkLst>
        </pc:spChg>
        <pc:spChg chg="mod">
          <ac:chgData name="Tan, Roger" userId="f6f33758-bd69-4951-8148-181de3b92474" providerId="ADAL" clId="{A436842E-EA5C-4A6D-B51D-DDAE8BC6E9BD}" dt="2023-11-07T05:03:46.183" v="55912"/>
          <ac:spMkLst>
            <pc:docMk/>
            <pc:sldMk cId="3556484693" sldId="401"/>
            <ac:spMk id="674" creationId="{0F522667-81FB-E1D1-874B-0E4D8C1F74C0}"/>
          </ac:spMkLst>
        </pc:spChg>
        <pc:spChg chg="mod">
          <ac:chgData name="Tan, Roger" userId="f6f33758-bd69-4951-8148-181de3b92474" providerId="ADAL" clId="{A436842E-EA5C-4A6D-B51D-DDAE8BC6E9BD}" dt="2023-11-07T05:03:46.183" v="55913"/>
          <ac:spMkLst>
            <pc:docMk/>
            <pc:sldMk cId="3556484693" sldId="401"/>
            <ac:spMk id="675" creationId="{4864EBE8-46A7-2EA7-70F4-53B7D7986F89}"/>
          </ac:spMkLst>
        </pc:spChg>
        <pc:spChg chg="mod">
          <ac:chgData name="Tan, Roger" userId="f6f33758-bd69-4951-8148-181de3b92474" providerId="ADAL" clId="{A436842E-EA5C-4A6D-B51D-DDAE8BC6E9BD}" dt="2023-11-07T05:03:46.184" v="55914"/>
          <ac:spMkLst>
            <pc:docMk/>
            <pc:sldMk cId="3556484693" sldId="401"/>
            <ac:spMk id="676" creationId="{EEFFFE5E-FA4D-5E58-6567-9CB404B96DAB}"/>
          </ac:spMkLst>
        </pc:spChg>
        <pc:spChg chg="mod">
          <ac:chgData name="Tan, Roger" userId="f6f33758-bd69-4951-8148-181de3b92474" providerId="ADAL" clId="{A436842E-EA5C-4A6D-B51D-DDAE8BC6E9BD}" dt="2023-11-07T05:03:46.184" v="55915"/>
          <ac:spMkLst>
            <pc:docMk/>
            <pc:sldMk cId="3556484693" sldId="401"/>
            <ac:spMk id="677" creationId="{DC506074-B505-8809-202D-FC956CD2B904}"/>
          </ac:spMkLst>
        </pc:spChg>
        <pc:spChg chg="mod">
          <ac:chgData name="Tan, Roger" userId="f6f33758-bd69-4951-8148-181de3b92474" providerId="ADAL" clId="{A436842E-EA5C-4A6D-B51D-DDAE8BC6E9BD}" dt="2023-11-07T05:03:46.178" v="55900"/>
          <ac:spMkLst>
            <pc:docMk/>
            <pc:sldMk cId="3556484693" sldId="401"/>
            <ac:spMk id="682" creationId="{FCCE6516-48EA-4BEE-F1BE-6849B4D4970B}"/>
          </ac:spMkLst>
        </pc:spChg>
        <pc:graphicFrameChg chg="add del mod replST">
          <ac:chgData name="Tan, Roger" userId="f6f33758-bd69-4951-8148-181de3b92474" providerId="ADAL" clId="{A436842E-EA5C-4A6D-B51D-DDAE8BC6E9BD}" dt="2023-11-07T05:03:47.054" v="56043"/>
          <ac:graphicFrameMkLst>
            <pc:docMk/>
            <pc:sldMk cId="3556484693" sldId="401"/>
            <ac:graphicFrameMk id="2" creationId="{017B9828-ED40-D33A-F93D-D717B9B564A3}"/>
          </ac:graphicFrameMkLst>
        </pc:graphicFrameChg>
        <pc:graphicFrameChg chg="mod">
          <ac:chgData name="Tan, Roger" userId="f6f33758-bd69-4951-8148-181de3b92474" providerId="ADAL" clId="{A436842E-EA5C-4A6D-B51D-DDAE8BC6E9BD}" dt="2023-11-07T05:03:47.071" v="56045"/>
          <ac:graphicFrameMkLst>
            <pc:docMk/>
            <pc:sldMk cId="3556484693" sldId="401"/>
            <ac:graphicFrameMk id="9" creationId="{5DE7E905-5EDA-8429-DE11-43E8EDD31802}"/>
          </ac:graphicFrameMkLst>
        </pc:graphicFrameChg>
        <pc:graphicFrameChg chg="add mod ord replST delST">
          <ac:chgData name="Tan, Roger" userId="f6f33758-bd69-4951-8148-181de3b92474" providerId="ADAL" clId="{A436842E-EA5C-4A6D-B51D-DDAE8BC6E9BD}" dt="2023-11-07T05:03:47.054" v="56043"/>
          <ac:graphicFrameMkLst>
            <pc:docMk/>
            <pc:sldMk cId="3556484693" sldId="401"/>
            <ac:graphicFrameMk id="16" creationId="{96A11B30-ADD7-739D-BA7F-EBEE7E4FFEB5}"/>
          </ac:graphicFrameMkLst>
        </pc:graphicFrameChg>
        <pc:graphicFrameChg chg="mod ord">
          <ac:chgData name="Tan, Roger" userId="f6f33758-bd69-4951-8148-181de3b92474" providerId="ADAL" clId="{A436842E-EA5C-4A6D-B51D-DDAE8BC6E9BD}" dt="2023-11-07T05:03:47.054" v="56043"/>
          <ac:graphicFrameMkLst>
            <pc:docMk/>
            <pc:sldMk cId="3556484693" sldId="401"/>
            <ac:graphicFrameMk id="705" creationId="{4B1C810B-1197-B60A-F264-F0596D870F7F}"/>
          </ac:graphicFrameMkLst>
        </pc:graphicFrameChg>
        <pc:graphicFrameChg chg="mod ord">
          <ac:chgData name="Tan, Roger" userId="f6f33758-bd69-4951-8148-181de3b92474" providerId="ADAL" clId="{A436842E-EA5C-4A6D-B51D-DDAE8BC6E9BD}" dt="2023-11-07T05:03:47.054" v="56043"/>
          <ac:graphicFrameMkLst>
            <pc:docMk/>
            <pc:sldMk cId="3556484693" sldId="401"/>
            <ac:graphicFrameMk id="717" creationId="{7182D23B-051F-0C95-1B86-383FC2FAAECF}"/>
          </ac:graphicFrameMkLst>
        </pc:graphicFrameChg>
        <pc:graphicFrameChg chg="mod ord">
          <ac:chgData name="Tan, Roger" userId="f6f33758-bd69-4951-8148-181de3b92474" providerId="ADAL" clId="{A436842E-EA5C-4A6D-B51D-DDAE8BC6E9BD}" dt="2023-11-07T05:03:47.054" v="56043"/>
          <ac:graphicFrameMkLst>
            <pc:docMk/>
            <pc:sldMk cId="3556484693" sldId="401"/>
            <ac:graphicFrameMk id="718" creationId="{47EB6E48-F741-F91D-C82E-FBB2D19625DD}"/>
          </ac:graphicFrameMkLst>
        </pc:graphicFrameChg>
        <pc:cxnChg chg="add del mod ord replST">
          <ac:chgData name="Tan, Roger" userId="f6f33758-bd69-4951-8148-181de3b92474" providerId="ADAL" clId="{A436842E-EA5C-4A6D-B51D-DDAE8BC6E9BD}" dt="2023-11-07T05:03:47.054" v="56043"/>
          <ac:cxnSpMkLst>
            <pc:docMk/>
            <pc:sldMk cId="3556484693" sldId="401"/>
            <ac:cxnSpMk id="3" creationId="{26570121-8F21-7166-0930-E93DDB6D2B1E}"/>
          </ac:cxnSpMkLst>
        </pc:cxnChg>
        <pc:cxnChg chg="mod ord">
          <ac:chgData name="Tan, Roger" userId="f6f33758-bd69-4951-8148-181de3b92474" providerId="ADAL" clId="{A436842E-EA5C-4A6D-B51D-DDAE8BC6E9BD}" dt="2023-11-07T05:03:47.054" v="56043"/>
          <ac:cxnSpMkLst>
            <pc:docMk/>
            <pc:sldMk cId="3556484693" sldId="401"/>
            <ac:cxnSpMk id="4" creationId="{05D33920-7F94-1884-64E7-366B1DD7CCA9}"/>
          </ac:cxnSpMkLst>
        </pc:cxnChg>
      </pc:sldChg>
      <pc:sldChg chg="addSp delSp modSp add mod modTransition modShow">
        <pc:chgData name="Tan, Roger" userId="f6f33758-bd69-4951-8148-181de3b92474" providerId="ADAL" clId="{A436842E-EA5C-4A6D-B51D-DDAE8BC6E9BD}" dt="2023-11-07T09:08:58.508" v="72638"/>
        <pc:sldMkLst>
          <pc:docMk/>
          <pc:sldMk cId="2251321859" sldId="402"/>
        </pc:sldMkLst>
        <pc:spChg chg="add del mod modVis">
          <ac:chgData name="Tan, Roger" userId="f6f33758-bd69-4951-8148-181de3b92474" providerId="ADAL" clId="{A436842E-EA5C-4A6D-B51D-DDAE8BC6E9BD}" dt="2023-11-07T05:04:28.404" v="56204"/>
          <ac:spMkLst>
            <pc:docMk/>
            <pc:sldMk cId="2251321859" sldId="402"/>
            <ac:spMk id="2" creationId="{C3B04A18-9C62-0139-D4BB-F94677E6A366}"/>
          </ac:spMkLst>
        </pc:spChg>
        <pc:spChg chg="mod">
          <ac:chgData name="Tan, Roger" userId="f6f33758-bd69-4951-8148-181de3b92474" providerId="ADAL" clId="{A436842E-EA5C-4A6D-B51D-DDAE8BC6E9BD}" dt="2023-11-07T05:04:32.857" v="56280"/>
          <ac:spMkLst>
            <pc:docMk/>
            <pc:sldMk cId="2251321859" sldId="402"/>
            <ac:spMk id="5" creationId="{D33BDF50-70E4-3EF1-BDD1-01791F80ACAE}"/>
          </ac:spMkLst>
        </pc:spChg>
        <pc:spChg chg="mod">
          <ac:chgData name="Tan, Roger" userId="f6f33758-bd69-4951-8148-181de3b92474" providerId="ADAL" clId="{A436842E-EA5C-4A6D-B51D-DDAE8BC6E9BD}" dt="2023-11-07T05:04:32.857" v="56281"/>
          <ac:spMkLst>
            <pc:docMk/>
            <pc:sldMk cId="2251321859" sldId="402"/>
            <ac:spMk id="6" creationId="{CF558C95-C450-45F4-8D91-AA1B99F301E0}"/>
          </ac:spMkLst>
        </pc:spChg>
        <pc:spChg chg="add del mod modVis">
          <ac:chgData name="Tan, Roger" userId="f6f33758-bd69-4951-8148-181de3b92474" providerId="ADAL" clId="{A436842E-EA5C-4A6D-B51D-DDAE8BC6E9BD}" dt="2023-11-07T05:04:32.870" v="56316"/>
          <ac:spMkLst>
            <pc:docMk/>
            <pc:sldMk cId="2251321859" sldId="402"/>
            <ac:spMk id="7" creationId="{A0A1185B-0D6B-BA99-05BF-C4E26808A18D}"/>
          </ac:spMkLst>
        </pc:spChg>
        <pc:spChg chg="mod">
          <ac:chgData name="Tan, Roger" userId="f6f33758-bd69-4951-8148-181de3b92474" providerId="ADAL" clId="{A436842E-EA5C-4A6D-B51D-DDAE8BC6E9BD}" dt="2023-11-07T05:04:32.857" v="56283"/>
          <ac:spMkLst>
            <pc:docMk/>
            <pc:sldMk cId="2251321859" sldId="402"/>
            <ac:spMk id="26" creationId="{1193A4EC-C9AE-5CAE-8729-199406ECC611}"/>
          </ac:spMkLst>
        </pc:spChg>
        <pc:spChg chg="mod">
          <ac:chgData name="Tan, Roger" userId="f6f33758-bd69-4951-8148-181de3b92474" providerId="ADAL" clId="{A436842E-EA5C-4A6D-B51D-DDAE8BC6E9BD}" dt="2023-11-07T05:04:32.858" v="56284"/>
          <ac:spMkLst>
            <pc:docMk/>
            <pc:sldMk cId="2251321859" sldId="402"/>
            <ac:spMk id="27" creationId="{E4E23FDB-23B3-19E9-A486-48D52322E902}"/>
          </ac:spMkLst>
        </pc:spChg>
        <pc:spChg chg="mod">
          <ac:chgData name="Tan, Roger" userId="f6f33758-bd69-4951-8148-181de3b92474" providerId="ADAL" clId="{A436842E-EA5C-4A6D-B51D-DDAE8BC6E9BD}" dt="2023-11-07T05:04:32.858" v="56285"/>
          <ac:spMkLst>
            <pc:docMk/>
            <pc:sldMk cId="2251321859" sldId="402"/>
            <ac:spMk id="29" creationId="{16A3F246-B709-219A-B7A4-032B12DDD497}"/>
          </ac:spMkLst>
        </pc:spChg>
        <pc:spChg chg="mod">
          <ac:chgData name="Tan, Roger" userId="f6f33758-bd69-4951-8148-181de3b92474" providerId="ADAL" clId="{A436842E-EA5C-4A6D-B51D-DDAE8BC6E9BD}" dt="2023-11-07T05:04:32.860" v="56286"/>
          <ac:spMkLst>
            <pc:docMk/>
            <pc:sldMk cId="2251321859" sldId="402"/>
            <ac:spMk id="30" creationId="{92020AA2-5627-7518-E876-ABBFB6FD22DB}"/>
          </ac:spMkLst>
        </pc:spChg>
        <pc:spChg chg="mod">
          <ac:chgData name="Tan, Roger" userId="f6f33758-bd69-4951-8148-181de3b92474" providerId="ADAL" clId="{A436842E-EA5C-4A6D-B51D-DDAE8BC6E9BD}" dt="2023-11-07T05:04:32.857" v="56282"/>
          <ac:spMkLst>
            <pc:docMk/>
            <pc:sldMk cId="2251321859" sldId="402"/>
            <ac:spMk id="36" creationId="{9884A715-27D1-F886-F6A8-F8DBE902E929}"/>
          </ac:spMkLst>
        </pc:spChg>
        <pc:spChg chg="mod ord">
          <ac:chgData name="Tan, Roger" userId="f6f33758-bd69-4951-8148-181de3b92474" providerId="ADAL" clId="{A436842E-EA5C-4A6D-B51D-DDAE8BC6E9BD}" dt="2023-11-07T05:04:32.855" v="56275"/>
          <ac:spMkLst>
            <pc:docMk/>
            <pc:sldMk cId="2251321859" sldId="402"/>
            <ac:spMk id="485" creationId="{9919C743-B9CA-D2D5-767A-F02BFF6150B4}"/>
          </ac:spMkLst>
        </pc:spChg>
        <pc:spChg chg="mod">
          <ac:chgData name="Tan, Roger" userId="f6f33758-bd69-4951-8148-181de3b92474" providerId="ADAL" clId="{A436842E-EA5C-4A6D-B51D-DDAE8BC6E9BD}" dt="2023-11-07T05:04:32.868" v="56309"/>
          <ac:spMkLst>
            <pc:docMk/>
            <pc:sldMk cId="2251321859" sldId="402"/>
            <ac:spMk id="599" creationId="{0651F198-2E9D-5183-D812-79FB97D1BDC0}"/>
          </ac:spMkLst>
        </pc:spChg>
        <pc:spChg chg="mod">
          <ac:chgData name="Tan, Roger" userId="f6f33758-bd69-4951-8148-181de3b92474" providerId="ADAL" clId="{A436842E-EA5C-4A6D-B51D-DDAE8BC6E9BD}" dt="2023-11-07T05:04:32.869" v="56310"/>
          <ac:spMkLst>
            <pc:docMk/>
            <pc:sldMk cId="2251321859" sldId="402"/>
            <ac:spMk id="601" creationId="{7404FB4D-ED35-01AA-4CF0-D8B9A6271D4D}"/>
          </ac:spMkLst>
        </pc:spChg>
        <pc:spChg chg="mod">
          <ac:chgData name="Tan, Roger" userId="f6f33758-bd69-4951-8148-181de3b92474" providerId="ADAL" clId="{A436842E-EA5C-4A6D-B51D-DDAE8BC6E9BD}" dt="2023-11-07T05:04:32.860" v="56290"/>
          <ac:spMkLst>
            <pc:docMk/>
            <pc:sldMk cId="2251321859" sldId="402"/>
            <ac:spMk id="602" creationId="{D51A2EEA-18B7-F289-73C6-206BD1AE37A2}"/>
          </ac:spMkLst>
        </pc:spChg>
        <pc:spChg chg="mod ord">
          <ac:chgData name="Tan, Roger" userId="f6f33758-bd69-4951-8148-181de3b92474" providerId="ADAL" clId="{A436842E-EA5C-4A6D-B51D-DDAE8BC6E9BD}" dt="2023-11-07T05:04:32.867" v="56306"/>
          <ac:spMkLst>
            <pc:docMk/>
            <pc:sldMk cId="2251321859" sldId="402"/>
            <ac:spMk id="606" creationId="{274F937E-9C53-854B-BADE-0DFFE749E0EA}"/>
          </ac:spMkLst>
        </pc:spChg>
        <pc:spChg chg="mod ord">
          <ac:chgData name="Tan, Roger" userId="f6f33758-bd69-4951-8148-181de3b92474" providerId="ADAL" clId="{A436842E-EA5C-4A6D-B51D-DDAE8BC6E9BD}" dt="2023-11-07T05:04:32.868" v="56308"/>
          <ac:spMkLst>
            <pc:docMk/>
            <pc:sldMk cId="2251321859" sldId="402"/>
            <ac:spMk id="607" creationId="{679D1BFA-FCC7-ECFC-A943-A87E4B47CE44}"/>
          </ac:spMkLst>
        </pc:spChg>
        <pc:spChg chg="mod">
          <ac:chgData name="Tan, Roger" userId="f6f33758-bd69-4951-8148-181de3b92474" providerId="ADAL" clId="{A436842E-EA5C-4A6D-B51D-DDAE8BC6E9BD}" dt="2023-11-07T05:04:32.860" v="56291"/>
          <ac:spMkLst>
            <pc:docMk/>
            <pc:sldMk cId="2251321859" sldId="402"/>
            <ac:spMk id="610" creationId="{5657E166-BEB5-0F70-5DB1-0410D87AA3FD}"/>
          </ac:spMkLst>
        </pc:spChg>
        <pc:spChg chg="mod">
          <ac:chgData name="Tan, Roger" userId="f6f33758-bd69-4951-8148-181de3b92474" providerId="ADAL" clId="{A436842E-EA5C-4A6D-B51D-DDAE8BC6E9BD}" dt="2023-11-07T05:04:32.862" v="56292"/>
          <ac:spMkLst>
            <pc:docMk/>
            <pc:sldMk cId="2251321859" sldId="402"/>
            <ac:spMk id="613" creationId="{DBE477A3-C6C4-F207-4E9C-43E49F79B202}"/>
          </ac:spMkLst>
        </pc:spChg>
        <pc:spChg chg="mod">
          <ac:chgData name="Tan, Roger" userId="f6f33758-bd69-4951-8148-181de3b92474" providerId="ADAL" clId="{A436842E-EA5C-4A6D-B51D-DDAE8BC6E9BD}" dt="2023-11-07T05:04:32.862" v="56293"/>
          <ac:spMkLst>
            <pc:docMk/>
            <pc:sldMk cId="2251321859" sldId="402"/>
            <ac:spMk id="616" creationId="{3ADC56B2-8E3F-CE76-5EC5-4CEA31DA5E37}"/>
          </ac:spMkLst>
        </pc:spChg>
        <pc:spChg chg="mod">
          <ac:chgData name="Tan, Roger" userId="f6f33758-bd69-4951-8148-181de3b92474" providerId="ADAL" clId="{A436842E-EA5C-4A6D-B51D-DDAE8BC6E9BD}" dt="2023-11-07T05:04:32.863" v="56294"/>
          <ac:spMkLst>
            <pc:docMk/>
            <pc:sldMk cId="2251321859" sldId="402"/>
            <ac:spMk id="619" creationId="{DEBE9FFF-500F-9C71-66BD-3BF29C72BEFB}"/>
          </ac:spMkLst>
        </pc:spChg>
        <pc:spChg chg="mod">
          <ac:chgData name="Tan, Roger" userId="f6f33758-bd69-4951-8148-181de3b92474" providerId="ADAL" clId="{A436842E-EA5C-4A6D-B51D-DDAE8BC6E9BD}" dt="2023-11-07T05:04:32.863" v="56295"/>
          <ac:spMkLst>
            <pc:docMk/>
            <pc:sldMk cId="2251321859" sldId="402"/>
            <ac:spMk id="668" creationId="{6B6F55E4-0FB2-D806-0972-AD37DB1D8F94}"/>
          </ac:spMkLst>
        </pc:spChg>
        <pc:spChg chg="mod">
          <ac:chgData name="Tan, Roger" userId="f6f33758-bd69-4951-8148-181de3b92474" providerId="ADAL" clId="{A436842E-EA5C-4A6D-B51D-DDAE8BC6E9BD}" dt="2023-11-07T05:04:32.863" v="56296"/>
          <ac:spMkLst>
            <pc:docMk/>
            <pc:sldMk cId="2251321859" sldId="402"/>
            <ac:spMk id="669" creationId="{AFD8A9B9-2AEC-2BD3-1C27-F7B20CEAF8B9}"/>
          </ac:spMkLst>
        </pc:spChg>
        <pc:spChg chg="mod">
          <ac:chgData name="Tan, Roger" userId="f6f33758-bd69-4951-8148-181de3b92474" providerId="ADAL" clId="{A436842E-EA5C-4A6D-B51D-DDAE8BC6E9BD}" dt="2023-11-07T05:04:32.864" v="56297"/>
          <ac:spMkLst>
            <pc:docMk/>
            <pc:sldMk cId="2251321859" sldId="402"/>
            <ac:spMk id="670" creationId="{86308B6C-9B2E-7610-00B5-167DED469335}"/>
          </ac:spMkLst>
        </pc:spChg>
        <pc:spChg chg="mod">
          <ac:chgData name="Tan, Roger" userId="f6f33758-bd69-4951-8148-181de3b92474" providerId="ADAL" clId="{A436842E-EA5C-4A6D-B51D-DDAE8BC6E9BD}" dt="2023-11-07T05:04:32.864" v="56298"/>
          <ac:spMkLst>
            <pc:docMk/>
            <pc:sldMk cId="2251321859" sldId="402"/>
            <ac:spMk id="671" creationId="{40DBAAC1-F42C-DD68-30E3-499DF877FAFF}"/>
          </ac:spMkLst>
        </pc:spChg>
        <pc:spChg chg="mod">
          <ac:chgData name="Tan, Roger" userId="f6f33758-bd69-4951-8148-181de3b92474" providerId="ADAL" clId="{A436842E-EA5C-4A6D-B51D-DDAE8BC6E9BD}" dt="2023-11-07T05:04:32.865" v="56299"/>
          <ac:spMkLst>
            <pc:docMk/>
            <pc:sldMk cId="2251321859" sldId="402"/>
            <ac:spMk id="672" creationId="{84D45E44-6200-366D-5E34-3F31C6B3B206}"/>
          </ac:spMkLst>
        </pc:spChg>
        <pc:spChg chg="mod">
          <ac:chgData name="Tan, Roger" userId="f6f33758-bd69-4951-8148-181de3b92474" providerId="ADAL" clId="{A436842E-EA5C-4A6D-B51D-DDAE8BC6E9BD}" dt="2023-11-07T05:04:32.865" v="56300"/>
          <ac:spMkLst>
            <pc:docMk/>
            <pc:sldMk cId="2251321859" sldId="402"/>
            <ac:spMk id="673" creationId="{6F711AB3-92C5-533B-7EA9-17CD11BCD931}"/>
          </ac:spMkLst>
        </pc:spChg>
        <pc:spChg chg="mod">
          <ac:chgData name="Tan, Roger" userId="f6f33758-bd69-4951-8148-181de3b92474" providerId="ADAL" clId="{A436842E-EA5C-4A6D-B51D-DDAE8BC6E9BD}" dt="2023-11-07T05:04:32.865" v="56301"/>
          <ac:spMkLst>
            <pc:docMk/>
            <pc:sldMk cId="2251321859" sldId="402"/>
            <ac:spMk id="674" creationId="{0F522667-81FB-E1D1-874B-0E4D8C1F74C0}"/>
          </ac:spMkLst>
        </pc:spChg>
        <pc:spChg chg="mod">
          <ac:chgData name="Tan, Roger" userId="f6f33758-bd69-4951-8148-181de3b92474" providerId="ADAL" clId="{A436842E-EA5C-4A6D-B51D-DDAE8BC6E9BD}" dt="2023-11-07T05:04:32.866" v="56302"/>
          <ac:spMkLst>
            <pc:docMk/>
            <pc:sldMk cId="2251321859" sldId="402"/>
            <ac:spMk id="675" creationId="{4864EBE8-46A7-2EA7-70F4-53B7D7986F89}"/>
          </ac:spMkLst>
        </pc:spChg>
        <pc:spChg chg="mod">
          <ac:chgData name="Tan, Roger" userId="f6f33758-bd69-4951-8148-181de3b92474" providerId="ADAL" clId="{A436842E-EA5C-4A6D-B51D-DDAE8BC6E9BD}" dt="2023-11-07T05:04:32.866" v="56303"/>
          <ac:spMkLst>
            <pc:docMk/>
            <pc:sldMk cId="2251321859" sldId="402"/>
            <ac:spMk id="676" creationId="{EEFFFE5E-FA4D-5E58-6567-9CB404B96DAB}"/>
          </ac:spMkLst>
        </pc:spChg>
        <pc:spChg chg="mod">
          <ac:chgData name="Tan, Roger" userId="f6f33758-bd69-4951-8148-181de3b92474" providerId="ADAL" clId="{A436842E-EA5C-4A6D-B51D-DDAE8BC6E9BD}" dt="2023-11-07T05:04:32.867" v="56304"/>
          <ac:spMkLst>
            <pc:docMk/>
            <pc:sldMk cId="2251321859" sldId="402"/>
            <ac:spMk id="677" creationId="{DC506074-B505-8809-202D-FC956CD2B904}"/>
          </ac:spMkLst>
        </pc:spChg>
        <pc:spChg chg="mod">
          <ac:chgData name="Tan, Roger" userId="f6f33758-bd69-4951-8148-181de3b92474" providerId="ADAL" clId="{A436842E-EA5C-4A6D-B51D-DDAE8BC6E9BD}" dt="2023-11-07T05:04:32.860" v="56289"/>
          <ac:spMkLst>
            <pc:docMk/>
            <pc:sldMk cId="2251321859" sldId="402"/>
            <ac:spMk id="682" creationId="{FCCE6516-48EA-4BEE-F1BE-6849B4D4970B}"/>
          </ac:spMkLst>
        </pc:spChg>
        <pc:graphicFrameChg chg="add del mod ord replST">
          <ac:chgData name="Tan, Roger" userId="f6f33758-bd69-4951-8148-181de3b92474" providerId="ADAL" clId="{A436842E-EA5C-4A6D-B51D-DDAE8BC6E9BD}" dt="2023-11-07T05:04:32.836" v="56267"/>
          <ac:graphicFrameMkLst>
            <pc:docMk/>
            <pc:sldMk cId="2251321859" sldId="402"/>
            <ac:graphicFrameMk id="3" creationId="{50F5D84F-B34F-8F8C-6201-932D1CEAC9B7}"/>
          </ac:graphicFrameMkLst>
        </pc:graphicFrameChg>
        <pc:graphicFrameChg chg="add mod ord replST">
          <ac:chgData name="Tan, Roger" userId="f6f33758-bd69-4951-8148-181de3b92474" providerId="ADAL" clId="{A436842E-EA5C-4A6D-B51D-DDAE8BC6E9BD}" dt="2023-11-07T05:04:32.856" v="56277"/>
          <ac:graphicFrameMkLst>
            <pc:docMk/>
            <pc:sldMk cId="2251321859" sldId="402"/>
            <ac:graphicFrameMk id="8" creationId="{457DAB17-447E-1A06-ECF2-DA289663CD11}"/>
          </ac:graphicFrameMkLst>
        </pc:graphicFrameChg>
        <pc:graphicFrameChg chg="mod">
          <ac:chgData name="Tan, Roger" userId="f6f33758-bd69-4951-8148-181de3b92474" providerId="ADAL" clId="{A436842E-EA5C-4A6D-B51D-DDAE8BC6E9BD}" dt="2023-11-07T05:04:32.879" v="56318"/>
          <ac:graphicFrameMkLst>
            <pc:docMk/>
            <pc:sldMk cId="2251321859" sldId="402"/>
            <ac:graphicFrameMk id="9" creationId="{5DE7E905-5EDA-8429-DE11-43E8EDD31802}"/>
          </ac:graphicFrameMkLst>
        </pc:graphicFrameChg>
        <pc:graphicFrameChg chg="mod ord">
          <ac:chgData name="Tan, Roger" userId="f6f33758-bd69-4951-8148-181de3b92474" providerId="ADAL" clId="{A436842E-EA5C-4A6D-B51D-DDAE8BC6E9BD}" dt="2023-11-07T05:04:32.860" v="56288"/>
          <ac:graphicFrameMkLst>
            <pc:docMk/>
            <pc:sldMk cId="2251321859" sldId="402"/>
            <ac:graphicFrameMk id="705" creationId="{4B1C810B-1197-B60A-F264-F0596D870F7F}"/>
          </ac:graphicFrameMkLst>
        </pc:graphicFrameChg>
        <pc:graphicFrameChg chg="mod ord">
          <ac:chgData name="Tan, Roger" userId="f6f33758-bd69-4951-8148-181de3b92474" providerId="ADAL" clId="{A436842E-EA5C-4A6D-B51D-DDAE8BC6E9BD}" dt="2023-11-07T05:04:32.869" v="56312"/>
          <ac:graphicFrameMkLst>
            <pc:docMk/>
            <pc:sldMk cId="2251321859" sldId="402"/>
            <ac:graphicFrameMk id="717" creationId="{7182D23B-051F-0C95-1B86-383FC2FAAECF}"/>
          </ac:graphicFrameMkLst>
        </pc:graphicFrameChg>
        <pc:graphicFrameChg chg="del">
          <ac:chgData name="Tan, Roger" userId="f6f33758-bd69-4951-8148-181de3b92474" providerId="ADAL" clId="{A436842E-EA5C-4A6D-B51D-DDAE8BC6E9BD}" dt="2023-11-07T05:04:28.370" v="56155"/>
          <ac:graphicFrameMkLst>
            <pc:docMk/>
            <pc:sldMk cId="2251321859" sldId="402"/>
            <ac:graphicFrameMk id="718" creationId="{47EB6E48-F741-F91D-C82E-FBB2D19625DD}"/>
          </ac:graphicFrameMkLst>
        </pc:graphicFrameChg>
        <pc:cxnChg chg="mod ord">
          <ac:chgData name="Tan, Roger" userId="f6f33758-bd69-4951-8148-181de3b92474" providerId="ADAL" clId="{A436842E-EA5C-4A6D-B51D-DDAE8BC6E9BD}" dt="2023-11-07T05:04:32.856" v="56279"/>
          <ac:cxnSpMkLst>
            <pc:docMk/>
            <pc:sldMk cId="2251321859" sldId="402"/>
            <ac:cxnSpMk id="4" creationId="{05D33920-7F94-1884-64E7-366B1DD7CCA9}"/>
          </ac:cxnSpMkLst>
        </pc:cxnChg>
      </pc:sldChg>
      <pc:sldChg chg="addSp delSp modSp mod ord modTransition modClrScheme modShow chgLayout">
        <pc:chgData name="Tan, Roger" userId="f6f33758-bd69-4951-8148-181de3b92474" providerId="ADAL" clId="{A436842E-EA5C-4A6D-B51D-DDAE8BC6E9BD}" dt="2023-11-08T22:16:23.343" v="81317"/>
        <pc:sldMkLst>
          <pc:docMk/>
          <pc:sldMk cId="2074881652" sldId="405"/>
        </pc:sldMkLst>
        <pc:spChg chg="add mod">
          <ac:chgData name="Tan, Roger" userId="f6f33758-bd69-4951-8148-181de3b92474" providerId="ADAL" clId="{A436842E-EA5C-4A6D-B51D-DDAE8BC6E9BD}" dt="2023-11-07T17:11:37.042" v="73519"/>
          <ac:spMkLst>
            <pc:docMk/>
            <pc:sldMk cId="2074881652" sldId="405"/>
            <ac:spMk id="14" creationId="{53345903-1FF1-7280-E678-661ED1DCF033}"/>
          </ac:spMkLst>
        </pc:spChg>
        <pc:spChg chg="add mod">
          <ac:chgData name="Tan, Roger" userId="f6f33758-bd69-4951-8148-181de3b92474" providerId="ADAL" clId="{A436842E-EA5C-4A6D-B51D-DDAE8BC6E9BD}" dt="2023-11-07T19:16:31.597" v="75640" actId="20577"/>
          <ac:spMkLst>
            <pc:docMk/>
            <pc:sldMk cId="2074881652" sldId="405"/>
            <ac:spMk id="15" creationId="{B276BD6E-23C3-BA31-517F-F83550314765}"/>
          </ac:spMkLst>
        </pc:spChg>
        <pc:spChg chg="mod ord">
          <ac:chgData name="Tan, Roger" userId="f6f33758-bd69-4951-8148-181de3b92474" providerId="ADAL" clId="{A436842E-EA5C-4A6D-B51D-DDAE8BC6E9BD}" dt="2023-11-08T08:51:23.053" v="77389"/>
          <ac:spMkLst>
            <pc:docMk/>
            <pc:sldMk cId="2074881652" sldId="405"/>
            <ac:spMk id="16" creationId="{FB38B67D-31C8-D122-A0D6-D07C266297BC}"/>
          </ac:spMkLst>
        </pc:spChg>
        <pc:spChg chg="add del mod">
          <ac:chgData name="Tan, Roger" userId="f6f33758-bd69-4951-8148-181de3b92474" providerId="ADAL" clId="{A436842E-EA5C-4A6D-B51D-DDAE8BC6E9BD}" dt="2023-11-08T21:53:43.461" v="81060" actId="478"/>
          <ac:spMkLst>
            <pc:docMk/>
            <pc:sldMk cId="2074881652" sldId="405"/>
            <ac:spMk id="17" creationId="{EF7D4732-68CD-E78A-C789-79798006F186}"/>
          </ac:spMkLst>
        </pc:spChg>
        <pc:spChg chg="add del mod">
          <ac:chgData name="Tan, Roger" userId="f6f33758-bd69-4951-8148-181de3b92474" providerId="ADAL" clId="{A436842E-EA5C-4A6D-B51D-DDAE8BC6E9BD}" dt="2023-11-08T21:56:18.233" v="81112" actId="478"/>
          <ac:spMkLst>
            <pc:docMk/>
            <pc:sldMk cId="2074881652" sldId="405"/>
            <ac:spMk id="18" creationId="{8FD44B71-794A-EF3F-6BA5-692B4F712935}"/>
          </ac:spMkLst>
        </pc:spChg>
        <pc:spChg chg="add mod">
          <ac:chgData name="Tan, Roger" userId="f6f33758-bd69-4951-8148-181de3b92474" providerId="ADAL" clId="{A436842E-EA5C-4A6D-B51D-DDAE8BC6E9BD}" dt="2023-11-08T22:16:23.343" v="81317"/>
          <ac:spMkLst>
            <pc:docMk/>
            <pc:sldMk cId="2074881652" sldId="405"/>
            <ac:spMk id="20" creationId="{4D5FED36-AEB6-42CE-7568-B754DDEBA835}"/>
          </ac:spMkLst>
        </pc:spChg>
        <pc:spChg chg="del mod">
          <ac:chgData name="Tan, Roger" userId="f6f33758-bd69-4951-8148-181de3b92474" providerId="ADAL" clId="{A436842E-EA5C-4A6D-B51D-DDAE8BC6E9BD}" dt="2023-11-07T17:11:48.530" v="73523" actId="478"/>
          <ac:spMkLst>
            <pc:docMk/>
            <pc:sldMk cId="2074881652" sldId="405"/>
            <ac:spMk id="40" creationId="{C9430907-A986-2031-0DF1-F3FDB785D92D}"/>
          </ac:spMkLst>
        </pc:spChg>
        <pc:graphicFrameChg chg="mod">
          <ac:chgData name="Tan, Roger" userId="f6f33758-bd69-4951-8148-181de3b92474" providerId="ADAL" clId="{A436842E-EA5C-4A6D-B51D-DDAE8BC6E9BD}" dt="2023-11-07T05:32:40.892" v="56325"/>
          <ac:graphicFrameMkLst>
            <pc:docMk/>
            <pc:sldMk cId="2074881652" sldId="405"/>
            <ac:graphicFrameMk id="7" creationId="{92FF8875-7516-7AA2-61C1-331CCAFD2965}"/>
          </ac:graphicFrameMkLst>
        </pc:graphicFrameChg>
      </pc:sldChg>
      <pc:sldChg chg="addSp delSp modSp new add mod">
        <pc:chgData name="Tan, Roger" userId="f6f33758-bd69-4951-8148-181de3b92474" providerId="ADAL" clId="{A436842E-EA5C-4A6D-B51D-DDAE8BC6E9BD}" dt="2023-11-08T21:56:53.175" v="81129" actId="478"/>
        <pc:sldMkLst>
          <pc:docMk/>
          <pc:sldMk cId="445720472" sldId="407"/>
        </pc:sldMkLst>
        <pc:spChg chg="add del mod">
          <ac:chgData name="Tan, Roger" userId="f6f33758-bd69-4951-8148-181de3b92474" providerId="ADAL" clId="{A436842E-EA5C-4A6D-B51D-DDAE8BC6E9BD}" dt="2023-11-08T21:56:53.175" v="81129" actId="478"/>
          <ac:spMkLst>
            <pc:docMk/>
            <pc:sldMk cId="445720472" sldId="407"/>
            <ac:spMk id="3" creationId="{C819DD6D-04AF-21C9-90CA-EA1ACC27B90D}"/>
          </ac:spMkLst>
        </pc:spChg>
        <pc:spChg chg="add del mod">
          <ac:chgData name="Tan, Roger" userId="f6f33758-bd69-4951-8148-181de3b92474" providerId="ADAL" clId="{A436842E-EA5C-4A6D-B51D-DDAE8BC6E9BD}" dt="2023-11-07T05:43:46.140" v="56336"/>
          <ac:spMkLst>
            <pc:docMk/>
            <pc:sldMk cId="445720472" sldId="407"/>
            <ac:spMk id="32" creationId="{4BA18DA1-0194-C07E-5676-850EA9F8BD37}"/>
          </ac:spMkLst>
        </pc:spChg>
        <pc:spChg chg="add del mod">
          <ac:chgData name="Tan, Roger" userId="f6f33758-bd69-4951-8148-181de3b92474" providerId="ADAL" clId="{A436842E-EA5C-4A6D-B51D-DDAE8BC6E9BD}" dt="2023-11-07T05:43:46.140" v="56336"/>
          <ac:spMkLst>
            <pc:docMk/>
            <pc:sldMk cId="445720472" sldId="407"/>
            <ac:spMk id="33" creationId="{B2CA49E7-9BE0-0201-9EB6-6B3F2EA73E85}"/>
          </ac:spMkLst>
        </pc:spChg>
        <pc:spChg chg="add del mod">
          <ac:chgData name="Tan, Roger" userId="f6f33758-bd69-4951-8148-181de3b92474" providerId="ADAL" clId="{A436842E-EA5C-4A6D-B51D-DDAE8BC6E9BD}" dt="2023-11-07T05:43:46.140" v="56336"/>
          <ac:spMkLst>
            <pc:docMk/>
            <pc:sldMk cId="445720472" sldId="407"/>
            <ac:spMk id="34" creationId="{5186435F-788B-C061-36C5-636CFFB07A47}"/>
          </ac:spMkLst>
        </pc:spChg>
        <pc:spChg chg="add del mod">
          <ac:chgData name="Tan, Roger" userId="f6f33758-bd69-4951-8148-181de3b92474" providerId="ADAL" clId="{A436842E-EA5C-4A6D-B51D-DDAE8BC6E9BD}" dt="2023-11-07T05:43:46.140" v="56336"/>
          <ac:spMkLst>
            <pc:docMk/>
            <pc:sldMk cId="445720472" sldId="407"/>
            <ac:spMk id="35" creationId="{F7A30531-3482-DB3B-21BA-FFDCAF49D6B8}"/>
          </ac:spMkLst>
        </pc:spChg>
        <pc:spChg chg="add del mod">
          <ac:chgData name="Tan, Roger" userId="f6f33758-bd69-4951-8148-181de3b92474" providerId="ADAL" clId="{A436842E-EA5C-4A6D-B51D-DDAE8BC6E9BD}" dt="2023-11-07T05:46:53.966" v="56390" actId="478"/>
          <ac:spMkLst>
            <pc:docMk/>
            <pc:sldMk cId="445720472" sldId="407"/>
            <ac:spMk id="68" creationId="{DE6EECEA-5CAB-A4B9-CA7A-C83AE3064BBC}"/>
          </ac:spMkLst>
        </pc:spChg>
        <pc:spChg chg="add del mod">
          <ac:chgData name="Tan, Roger" userId="f6f33758-bd69-4951-8148-181de3b92474" providerId="ADAL" clId="{A436842E-EA5C-4A6D-B51D-DDAE8BC6E9BD}" dt="2023-11-07T05:46:53.966" v="56390" actId="478"/>
          <ac:spMkLst>
            <pc:docMk/>
            <pc:sldMk cId="445720472" sldId="407"/>
            <ac:spMk id="69" creationId="{36AE7520-2ACD-A3CD-4BF4-0A785CA114B6}"/>
          </ac:spMkLst>
        </pc:spChg>
        <pc:spChg chg="add del mod">
          <ac:chgData name="Tan, Roger" userId="f6f33758-bd69-4951-8148-181de3b92474" providerId="ADAL" clId="{A436842E-EA5C-4A6D-B51D-DDAE8BC6E9BD}" dt="2023-11-07T05:46:53.966" v="56390" actId="478"/>
          <ac:spMkLst>
            <pc:docMk/>
            <pc:sldMk cId="445720472" sldId="407"/>
            <ac:spMk id="70" creationId="{55F47F58-21D7-5366-78D4-59D6A91D6582}"/>
          </ac:spMkLst>
        </pc:spChg>
        <pc:spChg chg="add del mod">
          <ac:chgData name="Tan, Roger" userId="f6f33758-bd69-4951-8148-181de3b92474" providerId="ADAL" clId="{A436842E-EA5C-4A6D-B51D-DDAE8BC6E9BD}" dt="2023-11-07T05:46:53.966" v="56390" actId="478"/>
          <ac:spMkLst>
            <pc:docMk/>
            <pc:sldMk cId="445720472" sldId="407"/>
            <ac:spMk id="71" creationId="{D4DC4438-5401-3C16-4A29-B20B965C006D}"/>
          </ac:spMkLst>
        </pc:spChg>
        <pc:spChg chg="add mod">
          <ac:chgData name="Tan, Roger" userId="f6f33758-bd69-4951-8148-181de3b92474" providerId="ADAL" clId="{A436842E-EA5C-4A6D-B51D-DDAE8BC6E9BD}" dt="2023-11-08T17:54:50.858" v="77939" actId="120"/>
          <ac:spMkLst>
            <pc:docMk/>
            <pc:sldMk cId="445720472" sldId="407"/>
            <ac:spMk id="93" creationId="{C19FBD3A-9BCC-3DDD-8395-CE1EB3AE2C98}"/>
          </ac:spMkLst>
        </pc:spChg>
        <pc:graphicFrameChg chg="add del mod">
          <ac:chgData name="Tan, Roger" userId="f6f33758-bd69-4951-8148-181de3b92474" providerId="ADAL" clId="{A436842E-EA5C-4A6D-B51D-DDAE8BC6E9BD}" dt="2023-11-07T05:43:29.724" v="56334"/>
          <ac:graphicFrameMkLst>
            <pc:docMk/>
            <pc:sldMk cId="445720472" sldId="407"/>
            <ac:graphicFrameMk id="2" creationId="{0B63CB6D-1E22-8E51-47A2-A2EBF0EFDF29}"/>
          </ac:graphicFrameMkLst>
        </pc:graphicFrameChg>
        <pc:graphicFrameChg chg="add del mod">
          <ac:chgData name="Tan, Roger" userId="f6f33758-bd69-4951-8148-181de3b92474" providerId="ADAL" clId="{A436842E-EA5C-4A6D-B51D-DDAE8BC6E9BD}" dt="2023-11-07T05:43:46.140" v="56336"/>
          <ac:graphicFrameMkLst>
            <pc:docMk/>
            <pc:sldMk cId="445720472" sldId="407"/>
            <ac:graphicFrameMk id="3" creationId="{29CE3FC0-C8CC-0B52-9BDE-272A19B51C71}"/>
          </ac:graphicFrameMkLst>
        </pc:graphicFrameChg>
        <pc:graphicFrameChg chg="add del mod modGraphic">
          <ac:chgData name="Tan, Roger" userId="f6f33758-bd69-4951-8148-181de3b92474" providerId="ADAL" clId="{A436842E-EA5C-4A6D-B51D-DDAE8BC6E9BD}" dt="2023-11-07T05:46:53.966" v="56390" actId="478"/>
          <ac:graphicFrameMkLst>
            <pc:docMk/>
            <pc:sldMk cId="445720472" sldId="407"/>
            <ac:graphicFrameMk id="39" creationId="{28DCDA1C-8F8F-21BC-C453-5796D4B43BE6}"/>
          </ac:graphicFrameMkLst>
        </pc:graphicFrameChg>
        <pc:graphicFrameChg chg="add del mod modGraphic">
          <ac:chgData name="Tan, Roger" userId="f6f33758-bd69-4951-8148-181de3b92474" providerId="ADAL" clId="{A436842E-EA5C-4A6D-B51D-DDAE8BC6E9BD}" dt="2023-11-08T18:06:28.429" v="78165" actId="207"/>
          <ac:graphicFrameMkLst>
            <pc:docMk/>
            <pc:sldMk cId="445720472" sldId="407"/>
            <ac:graphicFrameMk id="74" creationId="{1C715E1C-C77F-2946-55A3-C026FBB432B0}"/>
          </ac:graphicFrameMkLst>
        </pc:graphicFrameChg>
        <pc:graphicFrameChg chg="add del mod">
          <ac:chgData name="Tan, Roger" userId="f6f33758-bd69-4951-8148-181de3b92474" providerId="ADAL" clId="{A436842E-EA5C-4A6D-B51D-DDAE8BC6E9BD}" dt="2023-11-07T05:54:55.385" v="56775"/>
          <ac:graphicFrameMkLst>
            <pc:docMk/>
            <pc:sldMk cId="445720472" sldId="407"/>
            <ac:graphicFrameMk id="86" creationId="{903A0EC9-786E-A6F4-0B81-D0817DE9575A}"/>
          </ac:graphicFrameMkLst>
        </pc:graphicFrame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4" creationId="{6DAA5C36-AD40-8947-D3CB-77A0DDA8BBD0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5" creationId="{F9B8A9CE-D89D-F937-0C55-F4DD18B5E8DF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6" creationId="{ECF2EE33-83E3-9B45-7B77-398DD360A5F6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7" creationId="{39C6DBDC-6C7F-6142-0CB5-10C39B4AFA76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8" creationId="{E8398E89-1AF4-2102-16B1-2FA8BB2434AF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9" creationId="{8F9024C6-533A-E53F-63CA-473A170E1AB2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0" creationId="{6F9BBA74-2DD4-E2BA-B75B-BB7CCA65E345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1" creationId="{FE4600DD-F8C3-B2A4-90A0-A1F1F81E2563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2" creationId="{F1C06968-DDAB-BCD0-F15C-C7AA0F46B77C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3" creationId="{622E25A3-4D14-66CD-685A-C0A849C5E93F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4" creationId="{709FD2B3-0860-FB0E-25B1-1F3F151ADC7F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5" creationId="{9E0987C2-5BD7-E02F-A41E-B5938A42CDEE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6" creationId="{2C5BAA3A-C53A-4AEC-FD17-72A66A0C5189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7" creationId="{1EDB4499-89A6-BB33-E43D-81ED5B489DFA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8" creationId="{F32A3AC7-B000-2D64-FBE2-F18CC9D2A311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19" creationId="{B85C4447-ACDA-BD1B-F15D-C5A51EB32209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0" creationId="{922CFEE8-A752-0BCA-CC7C-8FBEEDA9691C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1" creationId="{B4987AE0-4605-0E95-61EC-52D2978D5E15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2" creationId="{72CD854C-89AB-F499-FE84-8E492FE4E003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3" creationId="{3E31E136-221A-F14F-84F9-7662664E3EA7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4" creationId="{3A3ABDE2-F49E-9D87-2062-FDC06FE4B5D5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5" creationId="{CEC5A46E-AD5A-83A4-7567-7C2300FB7C2B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6" creationId="{4B4CD210-3D45-13B1-6C58-9EC4ACDF3C18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7" creationId="{10AEE1D6-555C-3556-7FF7-3740826D42C5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8" creationId="{48B59E56-7AFA-8A94-8C85-FECC81A66396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29" creationId="{6ED318A5-167D-0D45-1170-7B9296E30FC5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30" creationId="{39290132-95DC-D132-F529-112C222AEC69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31" creationId="{9468EC0C-348F-5E0F-A7FB-E09B1C518F79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36" creationId="{B83CF43A-221E-F47C-10AB-0FB9BE6686D9}"/>
          </ac:picMkLst>
        </pc:picChg>
        <pc:picChg chg="add del mod">
          <ac:chgData name="Tan, Roger" userId="f6f33758-bd69-4951-8148-181de3b92474" providerId="ADAL" clId="{A436842E-EA5C-4A6D-B51D-DDAE8BC6E9BD}" dt="2023-11-07T05:43:46.140" v="56336"/>
          <ac:picMkLst>
            <pc:docMk/>
            <pc:sldMk cId="445720472" sldId="407"/>
            <ac:picMk id="37" creationId="{67F54EBB-DE20-E87E-2C65-5EF2272321D8}"/>
          </ac:picMkLst>
        </pc:picChg>
        <pc:picChg chg="add del mod">
          <ac:chgData name="Tan, Roger" userId="f6f33758-bd69-4951-8148-181de3b92474" providerId="ADAL" clId="{A436842E-EA5C-4A6D-B51D-DDAE8BC6E9BD}" dt="2023-11-07T05:44:33.067" v="56342"/>
          <ac:picMkLst>
            <pc:docMk/>
            <pc:sldMk cId="445720472" sldId="407"/>
            <ac:picMk id="38" creationId="{2167D7BD-2F3E-0C4C-AEA4-9FF63AAF52DD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0" creationId="{6060382B-D2C4-25C5-5C4F-25E02EFFD13A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1" creationId="{FB0E5266-FF69-0DA1-24BF-943EAA965F99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2" creationId="{3178F7FE-600A-9FCD-FA40-B1686AF8B33B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3" creationId="{B0FF5D63-A4D6-2805-EECA-2700A090B33A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4" creationId="{B62EB9A6-19BC-5A84-B4CD-63A5E3952C67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5" creationId="{D74247E9-8747-DF7F-31BA-9066CA29D9B7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6" creationId="{DA2C70F4-92E3-03B9-ECE9-C8715F1A229D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7" creationId="{E338E986-71D1-B11D-A2E8-2A7EC8676F53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8" creationId="{ED850CBD-E2D5-DFC4-5B99-CECD5EBCD39C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49" creationId="{2E2CB203-D110-D1F5-8E13-73471A43BCDD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0" creationId="{09D7CFA1-CABC-05D3-2CE2-03AF42FD7F22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1" creationId="{4B50D0B9-14F5-2E1F-FBC6-2E8E8E3798B3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2" creationId="{50FD7307-D9B3-A3CC-6F53-B9058DBDA3EF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3" creationId="{45DDA2F7-A79A-AEFA-FAA0-0DEB03E32643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4" creationId="{159A383A-921B-7251-66EF-DBC395455286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5" creationId="{CF0C9C1D-F357-EB7C-CD4D-3D1DA369EBA9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6" creationId="{431AC864-5A33-88ED-CAE2-DCDB88FACF37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7" creationId="{B34C1EA7-07A0-0F4B-7AC6-C6D684ACAB77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8" creationId="{374940B5-0EC5-EDDD-6E06-FA89D21AD582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59" creationId="{0017FD31-A10C-647B-9428-999047659796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0" creationId="{60E8D5A8-385C-1BEE-FD61-2D8ABEF5F89E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1" creationId="{FA1FA5C2-5736-8C28-3441-E8284BCFEFDA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2" creationId="{8A6ABB23-746C-7B5B-2EF9-C7396A1BCF59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3" creationId="{498D4E66-A68C-5D22-513E-136C81A02ACC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4" creationId="{0FF0B7A8-77F0-0325-0EDF-566398EE3009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5" creationId="{CE46BDB1-4B46-47D2-D6FB-0D593F61DF9E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6" creationId="{074A9727-5E5F-835C-1A2F-D82E36C922ED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67" creationId="{A63B0350-BA1B-B535-84D8-2AB8C01050AF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72" creationId="{0CBF7A0E-6AF2-D614-7CD9-695A776A9DB3}"/>
          </ac:picMkLst>
        </pc:picChg>
        <pc:picChg chg="add del mod">
          <ac:chgData name="Tan, Roger" userId="f6f33758-bd69-4951-8148-181de3b92474" providerId="ADAL" clId="{A436842E-EA5C-4A6D-B51D-DDAE8BC6E9BD}" dt="2023-11-07T05:46:53.966" v="56390" actId="478"/>
          <ac:picMkLst>
            <pc:docMk/>
            <pc:sldMk cId="445720472" sldId="407"/>
            <ac:picMk id="73" creationId="{0CAD6926-AE8D-A19D-DFE0-2C1194219436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75" creationId="{7BC942FB-CD27-B7E4-66FD-488A6C2D692A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76" creationId="{CA9606F2-3E18-0122-6BBD-78A13B6A4E27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77" creationId="{55DDCE64-7467-8E1A-86DE-C0AE2491CF93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78" creationId="{D806A692-7E0A-C68F-92C3-F3A74DDF8E77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79" creationId="{BDAE8450-C5D6-9C3C-C677-3ED4B06759B1}"/>
          </ac:picMkLst>
        </pc:picChg>
        <pc:picChg chg="add del mod">
          <ac:chgData name="Tan, Roger" userId="f6f33758-bd69-4951-8148-181de3b92474" providerId="ADAL" clId="{A436842E-EA5C-4A6D-B51D-DDAE8BC6E9BD}" dt="2023-11-07T05:58:32.574" v="56864" actId="478"/>
          <ac:picMkLst>
            <pc:docMk/>
            <pc:sldMk cId="445720472" sldId="407"/>
            <ac:picMk id="80" creationId="{19ADD83C-98A7-BDFE-7E87-0CF7E56C88A0}"/>
          </ac:picMkLst>
        </pc:picChg>
        <pc:picChg chg="add del mod">
          <ac:chgData name="Tan, Roger" userId="f6f33758-bd69-4951-8148-181de3b92474" providerId="ADAL" clId="{A436842E-EA5C-4A6D-B51D-DDAE8BC6E9BD}" dt="2023-11-07T05:58:24.123" v="56861" actId="478"/>
          <ac:picMkLst>
            <pc:docMk/>
            <pc:sldMk cId="445720472" sldId="407"/>
            <ac:picMk id="81" creationId="{E4A7F431-157B-FB81-8E56-FA599617006D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82" creationId="{38D305FA-0B80-273C-F684-724AABD51E18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83" creationId="{233306FE-DD47-C83F-6C2D-EDC5439E4641}"/>
          </ac:picMkLst>
        </pc:picChg>
        <pc:picChg chg="add del mod">
          <ac:chgData name="Tan, Roger" userId="f6f33758-bd69-4951-8148-181de3b92474" providerId="ADAL" clId="{A436842E-EA5C-4A6D-B51D-DDAE8BC6E9BD}" dt="2023-11-07T05:54:17.091" v="56739"/>
          <ac:picMkLst>
            <pc:docMk/>
            <pc:sldMk cId="445720472" sldId="407"/>
            <ac:picMk id="84" creationId="{11EF99CF-4822-ACB2-20EF-0E2CF55868EA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85" creationId="{2CD2C614-C42B-B0FA-833B-30F4BE6B57EC}"/>
          </ac:picMkLst>
        </pc:picChg>
        <pc:picChg chg="add del mod">
          <ac:chgData name="Tan, Roger" userId="f6f33758-bd69-4951-8148-181de3b92474" providerId="ADAL" clId="{A436842E-EA5C-4A6D-B51D-DDAE8BC6E9BD}" dt="2023-11-07T05:54:55.385" v="56775"/>
          <ac:picMkLst>
            <pc:docMk/>
            <pc:sldMk cId="445720472" sldId="407"/>
            <ac:picMk id="87" creationId="{40C79993-297C-55C1-64E6-B52CC5EB82D1}"/>
          </ac:picMkLst>
        </pc:picChg>
        <pc:picChg chg="add del mod">
          <ac:chgData name="Tan, Roger" userId="f6f33758-bd69-4951-8148-181de3b92474" providerId="ADAL" clId="{A436842E-EA5C-4A6D-B51D-DDAE8BC6E9BD}" dt="2023-11-07T05:58:23.389" v="56860" actId="478"/>
          <ac:picMkLst>
            <pc:docMk/>
            <pc:sldMk cId="445720472" sldId="407"/>
            <ac:picMk id="88" creationId="{3D9460D8-225A-D909-2814-B4FCDDE7241F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89" creationId="{4D988731-3CDE-F58A-8633-89DD3C4869A8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90" creationId="{B6143319-2AB8-D37C-C13F-085755F90DBB}"/>
          </ac:picMkLst>
        </pc:picChg>
        <pc:picChg chg="add del mod">
          <ac:chgData name="Tan, Roger" userId="f6f33758-bd69-4951-8148-181de3b92474" providerId="ADAL" clId="{A436842E-EA5C-4A6D-B51D-DDAE8BC6E9BD}" dt="2023-11-07T05:58:35.962" v="56865" actId="478"/>
          <ac:picMkLst>
            <pc:docMk/>
            <pc:sldMk cId="445720472" sldId="407"/>
            <ac:picMk id="91" creationId="{1D92054C-0440-3546-4872-FC6D797905D6}"/>
          </ac:picMkLst>
        </pc:picChg>
        <pc:picChg chg="add del mod">
          <ac:chgData name="Tan, Roger" userId="f6f33758-bd69-4951-8148-181de3b92474" providerId="ADAL" clId="{A436842E-EA5C-4A6D-B51D-DDAE8BC6E9BD}" dt="2023-11-07T05:58:22.036" v="56859" actId="478"/>
          <ac:picMkLst>
            <pc:docMk/>
            <pc:sldMk cId="445720472" sldId="407"/>
            <ac:picMk id="92" creationId="{6896187C-7B56-12C3-E1C1-A303F74728F7}"/>
          </ac:picMkLst>
        </pc:picChg>
      </pc:sldChg>
      <pc:sldChg chg="new add del">
        <pc:chgData name="Tan, Roger" userId="f6f33758-bd69-4951-8148-181de3b92474" providerId="ADAL" clId="{A436842E-EA5C-4A6D-B51D-DDAE8BC6E9BD}" dt="2023-11-07T05:43:18.343" v="56328" actId="680"/>
        <pc:sldMkLst>
          <pc:docMk/>
          <pc:sldMk cId="2101808638" sldId="407"/>
        </pc:sldMkLst>
      </pc:sldChg>
      <pc:sldChg chg="addSp delSp modSp mod">
        <pc:chgData name="Tan, Roger" userId="f6f33758-bd69-4951-8148-181de3b92474" providerId="ADAL" clId="{A436842E-EA5C-4A6D-B51D-DDAE8BC6E9BD}" dt="2023-11-07T17:27:31.693" v="74408" actId="478"/>
        <pc:sldMkLst>
          <pc:docMk/>
          <pc:sldMk cId="814683666" sldId="408"/>
        </pc:sldMkLst>
        <pc:spChg chg="add del">
          <ac:chgData name="Tan, Roger" userId="f6f33758-bd69-4951-8148-181de3b92474" providerId="ADAL" clId="{A436842E-EA5C-4A6D-B51D-DDAE8BC6E9BD}" dt="2023-11-07T17:26:21.266" v="74398" actId="21"/>
          <ac:spMkLst>
            <pc:docMk/>
            <pc:sldMk cId="814683666" sldId="408"/>
            <ac:spMk id="2" creationId="{496E9A5C-AC7F-EC41-F04F-873EB24E5193}"/>
          </ac:spMkLst>
        </pc:spChg>
        <pc:spChg chg="add del">
          <ac:chgData name="Tan, Roger" userId="f6f33758-bd69-4951-8148-181de3b92474" providerId="ADAL" clId="{A436842E-EA5C-4A6D-B51D-DDAE8BC6E9BD}" dt="2023-11-07T17:26:21.266" v="74398" actId="21"/>
          <ac:spMkLst>
            <pc:docMk/>
            <pc:sldMk cId="814683666" sldId="408"/>
            <ac:spMk id="42" creationId="{FF5405EF-0385-4531-CD03-80A937D58D50}"/>
          </ac:spMkLst>
        </pc:spChg>
        <pc:spChg chg="add del">
          <ac:chgData name="Tan, Roger" userId="f6f33758-bd69-4951-8148-181de3b92474" providerId="ADAL" clId="{A436842E-EA5C-4A6D-B51D-DDAE8BC6E9BD}" dt="2023-11-07T17:26:21.266" v="74398" actId="21"/>
          <ac:spMkLst>
            <pc:docMk/>
            <pc:sldMk cId="814683666" sldId="408"/>
            <ac:spMk id="49" creationId="{F1D47A37-4866-889D-071A-8073BA0335F2}"/>
          </ac:spMkLst>
        </pc:spChg>
        <pc:spChg chg="add del">
          <ac:chgData name="Tan, Roger" userId="f6f33758-bd69-4951-8148-181de3b92474" providerId="ADAL" clId="{A436842E-EA5C-4A6D-B51D-DDAE8BC6E9BD}" dt="2023-11-07T17:26:21.266" v="74398" actId="21"/>
          <ac:spMkLst>
            <pc:docMk/>
            <pc:sldMk cId="814683666" sldId="408"/>
            <ac:spMk id="50" creationId="{2893B067-941A-FFFB-D73A-4942E1CA46F0}"/>
          </ac:spMkLst>
        </pc:spChg>
        <pc:grpChg chg="add del">
          <ac:chgData name="Tan, Roger" userId="f6f33758-bd69-4951-8148-181de3b92474" providerId="ADAL" clId="{A436842E-EA5C-4A6D-B51D-DDAE8BC6E9BD}" dt="2023-11-07T17:26:21.266" v="74398" actId="21"/>
          <ac:grpSpMkLst>
            <pc:docMk/>
            <pc:sldMk cId="814683666" sldId="408"/>
            <ac:grpSpMk id="3" creationId="{A27130B2-BC55-5AD2-81CC-3C5AB91203CC}"/>
          </ac:grpSpMkLst>
        </pc:grpChg>
        <pc:grpChg chg="add del">
          <ac:chgData name="Tan, Roger" userId="f6f33758-bd69-4951-8148-181de3b92474" providerId="ADAL" clId="{A436842E-EA5C-4A6D-B51D-DDAE8BC6E9BD}" dt="2023-11-07T17:26:21.266" v="74398" actId="21"/>
          <ac:grpSpMkLst>
            <pc:docMk/>
            <pc:sldMk cId="814683666" sldId="408"/>
            <ac:grpSpMk id="10" creationId="{144D78C9-F120-30E8-02D8-6481EE883060}"/>
          </ac:grpSpMkLst>
        </pc:grpChg>
        <pc:grpChg chg="add del mod">
          <ac:chgData name="Tan, Roger" userId="f6f33758-bd69-4951-8148-181de3b92474" providerId="ADAL" clId="{A436842E-EA5C-4A6D-B51D-DDAE8BC6E9BD}" dt="2023-11-07T17:27:31.693" v="74408" actId="478"/>
          <ac:grpSpMkLst>
            <pc:docMk/>
            <pc:sldMk cId="814683666" sldId="408"/>
            <ac:grpSpMk id="47" creationId="{9C606329-985C-CB01-0886-E720A5BFB9F8}"/>
          </ac:grpSpMkLst>
        </pc:grpChg>
        <pc:grpChg chg="add del">
          <ac:chgData name="Tan, Roger" userId="f6f33758-bd69-4951-8148-181de3b92474" providerId="ADAL" clId="{A436842E-EA5C-4A6D-B51D-DDAE8BC6E9BD}" dt="2023-11-07T17:26:21.266" v="74398" actId="21"/>
          <ac:grpSpMkLst>
            <pc:docMk/>
            <pc:sldMk cId="814683666" sldId="408"/>
            <ac:grpSpMk id="48" creationId="{B9789C95-EFC7-7981-B663-89993A143CA5}"/>
          </ac:grpSpMkLst>
        </pc:grpChg>
        <pc:cxnChg chg="add del">
          <ac:chgData name="Tan, Roger" userId="f6f33758-bd69-4951-8148-181de3b92474" providerId="ADAL" clId="{A436842E-EA5C-4A6D-B51D-DDAE8BC6E9BD}" dt="2023-11-07T17:26:21.266" v="74398" actId="21"/>
          <ac:cxnSpMkLst>
            <pc:docMk/>
            <pc:sldMk cId="814683666" sldId="408"/>
            <ac:cxnSpMk id="7" creationId="{092A07B3-9282-7B71-BC17-C6EE188B19C1}"/>
          </ac:cxnSpMkLst>
        </pc:cxnChg>
        <pc:cxnChg chg="add del">
          <ac:chgData name="Tan, Roger" userId="f6f33758-bd69-4951-8148-181de3b92474" providerId="ADAL" clId="{A436842E-EA5C-4A6D-B51D-DDAE8BC6E9BD}" dt="2023-11-07T17:26:21.266" v="74398" actId="21"/>
          <ac:cxnSpMkLst>
            <pc:docMk/>
            <pc:sldMk cId="814683666" sldId="408"/>
            <ac:cxnSpMk id="13" creationId="{1FE31480-580A-603D-9A14-1A951817E2CE}"/>
          </ac:cxnSpMkLst>
        </pc:cxnChg>
      </pc:sldChg>
      <pc:sldChg chg="addSp delSp modSp add mod">
        <pc:chgData name="Tan, Roger" userId="f6f33758-bd69-4951-8148-181de3b92474" providerId="ADAL" clId="{A436842E-EA5C-4A6D-B51D-DDAE8BC6E9BD}" dt="2023-11-07T17:19:46.245" v="74299" actId="20577"/>
        <pc:sldMkLst>
          <pc:docMk/>
          <pc:sldMk cId="2733503652" sldId="409"/>
        </pc:sldMkLst>
        <pc:spChg chg="mod">
          <ac:chgData name="Tan, Roger" userId="f6f33758-bd69-4951-8148-181de3b92474" providerId="ADAL" clId="{A436842E-EA5C-4A6D-B51D-DDAE8BC6E9BD}" dt="2023-11-07T10:01:02.346" v="73246" actId="20577"/>
          <ac:spMkLst>
            <pc:docMk/>
            <pc:sldMk cId="2733503652" sldId="409"/>
            <ac:spMk id="3" creationId="{CDD0D91C-DB9B-B056-30B0-E1EDD2967073}"/>
          </ac:spMkLst>
        </pc:spChg>
        <pc:spChg chg="mod">
          <ac:chgData name="Tan, Roger" userId="f6f33758-bd69-4951-8148-181de3b92474" providerId="ADAL" clId="{A436842E-EA5C-4A6D-B51D-DDAE8BC6E9BD}" dt="2023-11-07T16:49:53.739" v="73332" actId="20577"/>
          <ac:spMkLst>
            <pc:docMk/>
            <pc:sldMk cId="2733503652" sldId="409"/>
            <ac:spMk id="5" creationId="{A7B1CAE4-1752-C4BE-C6DF-642DFC6B21EF}"/>
          </ac:spMkLst>
        </pc:spChg>
        <pc:spChg chg="mod">
          <ac:chgData name="Tan, Roger" userId="f6f33758-bd69-4951-8148-181de3b92474" providerId="ADAL" clId="{A436842E-EA5C-4A6D-B51D-DDAE8BC6E9BD}" dt="2023-11-07T06:24:37.361" v="57213" actId="207"/>
          <ac:spMkLst>
            <pc:docMk/>
            <pc:sldMk cId="2733503652" sldId="409"/>
            <ac:spMk id="6" creationId="{3D70EC23-7EC7-5FA5-1DBC-90D3DFE34AC1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7" creationId="{116E560F-E095-67B6-617C-9EACED383350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8" creationId="{00B31E32-8A36-7F12-B672-0595323CB7E8}"/>
          </ac:spMkLst>
        </pc:spChg>
        <pc:spChg chg="mod">
          <ac:chgData name="Tan, Roger" userId="f6f33758-bd69-4951-8148-181de3b92474" providerId="ADAL" clId="{A436842E-EA5C-4A6D-B51D-DDAE8BC6E9BD}" dt="2023-11-07T06:24:34.825" v="57212" actId="207"/>
          <ac:spMkLst>
            <pc:docMk/>
            <pc:sldMk cId="2733503652" sldId="409"/>
            <ac:spMk id="9" creationId="{4123C9D2-B47B-E83C-7F92-A63B00CA525B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10" creationId="{11A06985-249A-B8F9-8026-3FFAB2E53E92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11" creationId="{45E244EB-B05A-ADDE-52FE-D8E54C40C424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12" creationId="{05F74C42-FE65-0127-D52E-6F981FACEC13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13" creationId="{24CB16C8-055A-1C85-3017-B2515D1205D3}"/>
          </ac:spMkLst>
        </pc:spChg>
        <pc:spChg chg="mod">
          <ac:chgData name="Tan, Roger" userId="f6f33758-bd69-4951-8148-181de3b92474" providerId="ADAL" clId="{A436842E-EA5C-4A6D-B51D-DDAE8BC6E9BD}" dt="2023-11-07T17:19:46.245" v="74299" actId="20577"/>
          <ac:spMkLst>
            <pc:docMk/>
            <pc:sldMk cId="2733503652" sldId="409"/>
            <ac:spMk id="23" creationId="{085062C9-E1EF-8DA2-9825-7C696F0759C6}"/>
          </ac:spMkLst>
        </pc:spChg>
        <pc:spChg chg="mod">
          <ac:chgData name="Tan, Roger" userId="f6f33758-bd69-4951-8148-181de3b92474" providerId="ADAL" clId="{A436842E-EA5C-4A6D-B51D-DDAE8BC6E9BD}" dt="2023-11-07T10:01:01.319" v="73245" actId="20577"/>
          <ac:spMkLst>
            <pc:docMk/>
            <pc:sldMk cId="2733503652" sldId="409"/>
            <ac:spMk id="24" creationId="{2244DA42-C3CC-EDCC-3A88-043A2E55567C}"/>
          </ac:spMkLst>
        </pc:spChg>
        <pc:spChg chg="mod">
          <ac:chgData name="Tan, Roger" userId="f6f33758-bd69-4951-8148-181de3b92474" providerId="ADAL" clId="{A436842E-EA5C-4A6D-B51D-DDAE8BC6E9BD}" dt="2023-11-07T06:24:16.754" v="57211" actId="207"/>
          <ac:spMkLst>
            <pc:docMk/>
            <pc:sldMk cId="2733503652" sldId="409"/>
            <ac:spMk id="30" creationId="{0BFDEB95-DC05-565C-B4BD-89205AEC5BD4}"/>
          </ac:spMkLst>
        </pc:spChg>
        <pc:grpChg chg="add del">
          <ac:chgData name="Tan, Roger" userId="f6f33758-bd69-4951-8148-181de3b92474" providerId="ADAL" clId="{A436842E-EA5C-4A6D-B51D-DDAE8BC6E9BD}" dt="2023-11-07T06:21:08.653" v="57189" actId="478"/>
          <ac:grpSpMkLst>
            <pc:docMk/>
            <pc:sldMk cId="2733503652" sldId="409"/>
            <ac:grpSpMk id="2" creationId="{59FDC503-6236-36EC-ADC7-71A077312CCC}"/>
          </ac:grpSpMkLst>
        </pc:grpChg>
        <pc:picChg chg="mod modCrop">
          <ac:chgData name="Tan, Roger" userId="f6f33758-bd69-4951-8148-181de3b92474" providerId="ADAL" clId="{A436842E-EA5C-4A6D-B51D-DDAE8BC6E9BD}" dt="2023-11-07T06:34:55.846" v="57285" actId="732"/>
          <ac:picMkLst>
            <pc:docMk/>
            <pc:sldMk cId="2733503652" sldId="409"/>
            <ac:picMk id="4" creationId="{B9A70544-78A4-C0C5-1C68-1DE333BAA924}"/>
          </ac:picMkLst>
        </pc:picChg>
      </pc:sldChg>
      <pc:sldChg chg="modSp add mod modClrScheme chgLayout">
        <pc:chgData name="Tan, Roger" userId="f6f33758-bd69-4951-8148-181de3b92474" providerId="ADAL" clId="{A436842E-EA5C-4A6D-B51D-DDAE8BC6E9BD}" dt="2023-11-07T17:19:50.197" v="74300"/>
        <pc:sldMkLst>
          <pc:docMk/>
          <pc:sldMk cId="2813896743" sldId="410"/>
        </pc:sldMkLst>
        <pc:spChg chg="mod">
          <ac:chgData name="Tan, Roger" userId="f6f33758-bd69-4951-8148-181de3b92474" providerId="ADAL" clId="{A436842E-EA5C-4A6D-B51D-DDAE8BC6E9BD}" dt="2023-11-07T10:00:51.580" v="73239" actId="20577"/>
          <ac:spMkLst>
            <pc:docMk/>
            <pc:sldMk cId="2813896743" sldId="410"/>
            <ac:spMk id="3" creationId="{CDD0D91C-DB9B-B056-30B0-E1EDD2967073}"/>
          </ac:spMkLst>
        </pc:spChg>
        <pc:spChg chg="mod">
          <ac:chgData name="Tan, Roger" userId="f6f33758-bd69-4951-8148-181de3b92474" providerId="ADAL" clId="{A436842E-EA5C-4A6D-B51D-DDAE8BC6E9BD}" dt="2023-11-07T10:04:19.597" v="73296" actId="20577"/>
          <ac:spMkLst>
            <pc:docMk/>
            <pc:sldMk cId="2813896743" sldId="410"/>
            <ac:spMk id="5" creationId="{A7B1CAE4-1752-C4BE-C6DF-642DFC6B21EF}"/>
          </ac:spMkLst>
        </pc:spChg>
        <pc:spChg chg="mod">
          <ac:chgData name="Tan, Roger" userId="f6f33758-bd69-4951-8148-181de3b92474" providerId="ADAL" clId="{A436842E-EA5C-4A6D-B51D-DDAE8BC6E9BD}" dt="2023-11-07T06:28:21.461" v="57251" actId="207"/>
          <ac:spMkLst>
            <pc:docMk/>
            <pc:sldMk cId="2813896743" sldId="410"/>
            <ac:spMk id="6" creationId="{3D70EC23-7EC7-5FA5-1DBC-90D3DFE34AC1}"/>
          </ac:spMkLst>
        </pc:spChg>
        <pc:spChg chg="mod">
          <ac:chgData name="Tan, Roger" userId="f6f33758-bd69-4951-8148-181de3b92474" providerId="ADAL" clId="{A436842E-EA5C-4A6D-B51D-DDAE8BC6E9BD}" dt="2023-11-07T06:28:21.461" v="57251" actId="207"/>
          <ac:spMkLst>
            <pc:docMk/>
            <pc:sldMk cId="2813896743" sldId="410"/>
            <ac:spMk id="7" creationId="{116E560F-E095-67B6-617C-9EACED383350}"/>
          </ac:spMkLst>
        </pc:spChg>
        <pc:spChg chg="mod">
          <ac:chgData name="Tan, Roger" userId="f6f33758-bd69-4951-8148-181de3b92474" providerId="ADAL" clId="{A436842E-EA5C-4A6D-B51D-DDAE8BC6E9BD}" dt="2023-11-07T06:28:28.302" v="57252" actId="207"/>
          <ac:spMkLst>
            <pc:docMk/>
            <pc:sldMk cId="2813896743" sldId="410"/>
            <ac:spMk id="8" creationId="{00B31E32-8A36-7F12-B672-0595323CB7E8}"/>
          </ac:spMkLst>
        </pc:spChg>
        <pc:spChg chg="mod">
          <ac:chgData name="Tan, Roger" userId="f6f33758-bd69-4951-8148-181de3b92474" providerId="ADAL" clId="{A436842E-EA5C-4A6D-B51D-DDAE8BC6E9BD}" dt="2023-11-07T06:28:21.461" v="57251" actId="207"/>
          <ac:spMkLst>
            <pc:docMk/>
            <pc:sldMk cId="2813896743" sldId="410"/>
            <ac:spMk id="9" creationId="{4123C9D2-B47B-E83C-7F92-A63B00CA525B}"/>
          </ac:spMkLst>
        </pc:spChg>
        <pc:spChg chg="mod">
          <ac:chgData name="Tan, Roger" userId="f6f33758-bd69-4951-8148-181de3b92474" providerId="ADAL" clId="{A436842E-EA5C-4A6D-B51D-DDAE8BC6E9BD}" dt="2023-11-07T06:28:33.925" v="57253" actId="207"/>
          <ac:spMkLst>
            <pc:docMk/>
            <pc:sldMk cId="2813896743" sldId="410"/>
            <ac:spMk id="10" creationId="{11A06985-249A-B8F9-8026-3FFAB2E53E92}"/>
          </ac:spMkLst>
        </pc:spChg>
        <pc:spChg chg="mod">
          <ac:chgData name="Tan, Roger" userId="f6f33758-bd69-4951-8148-181de3b92474" providerId="ADAL" clId="{A436842E-EA5C-4A6D-B51D-DDAE8BC6E9BD}" dt="2023-11-07T06:28:33.925" v="57253" actId="207"/>
          <ac:spMkLst>
            <pc:docMk/>
            <pc:sldMk cId="2813896743" sldId="410"/>
            <ac:spMk id="11" creationId="{45E244EB-B05A-ADDE-52FE-D8E54C40C424}"/>
          </ac:spMkLst>
        </pc:spChg>
        <pc:spChg chg="mod">
          <ac:chgData name="Tan, Roger" userId="f6f33758-bd69-4951-8148-181de3b92474" providerId="ADAL" clId="{A436842E-EA5C-4A6D-B51D-DDAE8BC6E9BD}" dt="2023-11-07T06:28:33.925" v="57253" actId="207"/>
          <ac:spMkLst>
            <pc:docMk/>
            <pc:sldMk cId="2813896743" sldId="410"/>
            <ac:spMk id="12" creationId="{05F74C42-FE65-0127-D52E-6F981FACEC13}"/>
          </ac:spMkLst>
        </pc:spChg>
        <pc:spChg chg="mod">
          <ac:chgData name="Tan, Roger" userId="f6f33758-bd69-4951-8148-181de3b92474" providerId="ADAL" clId="{A436842E-EA5C-4A6D-B51D-DDAE8BC6E9BD}" dt="2023-11-07T06:28:33.925" v="57253" actId="207"/>
          <ac:spMkLst>
            <pc:docMk/>
            <pc:sldMk cId="2813896743" sldId="410"/>
            <ac:spMk id="13" creationId="{24CB16C8-055A-1C85-3017-B2515D1205D3}"/>
          </ac:spMkLst>
        </pc:spChg>
        <pc:spChg chg="mod">
          <ac:chgData name="Tan, Roger" userId="f6f33758-bd69-4951-8148-181de3b92474" providerId="ADAL" clId="{A436842E-EA5C-4A6D-B51D-DDAE8BC6E9BD}" dt="2023-11-07T17:19:50.197" v="74300"/>
          <ac:spMkLst>
            <pc:docMk/>
            <pc:sldMk cId="2813896743" sldId="410"/>
            <ac:spMk id="23" creationId="{085062C9-E1EF-8DA2-9825-7C696F0759C6}"/>
          </ac:spMkLst>
        </pc:spChg>
        <pc:spChg chg="mod">
          <ac:chgData name="Tan, Roger" userId="f6f33758-bd69-4951-8148-181de3b92474" providerId="ADAL" clId="{A436842E-EA5C-4A6D-B51D-DDAE8BC6E9BD}" dt="2023-11-07T10:00:54.062" v="73240" actId="20577"/>
          <ac:spMkLst>
            <pc:docMk/>
            <pc:sldMk cId="2813896743" sldId="410"/>
            <ac:spMk id="24" creationId="{2244DA42-C3CC-EDCC-3A88-043A2E55567C}"/>
          </ac:spMkLst>
        </pc:spChg>
        <pc:spChg chg="mod">
          <ac:chgData name="Tan, Roger" userId="f6f33758-bd69-4951-8148-181de3b92474" providerId="ADAL" clId="{A436842E-EA5C-4A6D-B51D-DDAE8BC6E9BD}" dt="2023-11-07T06:28:21.461" v="57251" actId="207"/>
          <ac:spMkLst>
            <pc:docMk/>
            <pc:sldMk cId="2813896743" sldId="410"/>
            <ac:spMk id="30" creationId="{0BFDEB95-DC05-565C-B4BD-89205AEC5BD4}"/>
          </ac:spMkLst>
        </pc:spChg>
        <pc:grpChg chg="mod">
          <ac:chgData name="Tan, Roger" userId="f6f33758-bd69-4951-8148-181de3b92474" providerId="ADAL" clId="{A436842E-EA5C-4A6D-B51D-DDAE8BC6E9BD}" dt="2023-11-07T06:35:24.851" v="57287" actId="1036"/>
          <ac:grpSpMkLst>
            <pc:docMk/>
            <pc:sldMk cId="2813896743" sldId="410"/>
            <ac:grpSpMk id="2" creationId="{59FDC503-6236-36EC-ADC7-71A077312CCC}"/>
          </ac:grpSpMkLst>
        </pc:grpChg>
        <pc:picChg chg="mod modCrop">
          <ac:chgData name="Tan, Roger" userId="f6f33758-bd69-4951-8148-181de3b92474" providerId="ADAL" clId="{A436842E-EA5C-4A6D-B51D-DDAE8BC6E9BD}" dt="2023-11-07T06:35:55.926" v="57291" actId="1036"/>
          <ac:picMkLst>
            <pc:docMk/>
            <pc:sldMk cId="2813896743" sldId="410"/>
            <ac:picMk id="4" creationId="{B9A70544-78A4-C0C5-1C68-1DE333BAA924}"/>
          </ac:picMkLst>
        </pc:picChg>
      </pc:sldChg>
      <pc:sldChg chg="modSp add mod modClrScheme chgLayout">
        <pc:chgData name="Tan, Roger" userId="f6f33758-bd69-4951-8148-181de3b92474" providerId="ADAL" clId="{A436842E-EA5C-4A6D-B51D-DDAE8BC6E9BD}" dt="2023-11-07T17:19:53.558" v="74301"/>
        <pc:sldMkLst>
          <pc:docMk/>
          <pc:sldMk cId="502713536" sldId="411"/>
        </pc:sldMkLst>
        <pc:spChg chg="mod">
          <ac:chgData name="Tan, Roger" userId="f6f33758-bd69-4951-8148-181de3b92474" providerId="ADAL" clId="{A436842E-EA5C-4A6D-B51D-DDAE8BC6E9BD}" dt="2023-11-07T10:01:10.220" v="73251" actId="20577"/>
          <ac:spMkLst>
            <pc:docMk/>
            <pc:sldMk cId="502713536" sldId="411"/>
            <ac:spMk id="3" creationId="{CDD0D91C-DB9B-B056-30B0-E1EDD2967073}"/>
          </ac:spMkLst>
        </pc:spChg>
        <pc:spChg chg="mod">
          <ac:chgData name="Tan, Roger" userId="f6f33758-bd69-4951-8148-181de3b92474" providerId="ADAL" clId="{A436842E-EA5C-4A6D-B51D-DDAE8BC6E9BD}" dt="2023-11-07T16:49:31.889" v="73330" actId="255"/>
          <ac:spMkLst>
            <pc:docMk/>
            <pc:sldMk cId="502713536" sldId="411"/>
            <ac:spMk id="5" creationId="{A7B1CAE4-1752-C4BE-C6DF-642DFC6B21EF}"/>
          </ac:spMkLst>
        </pc:spChg>
        <pc:spChg chg="mod">
          <ac:chgData name="Tan, Roger" userId="f6f33758-bd69-4951-8148-181de3b92474" providerId="ADAL" clId="{A436842E-EA5C-4A6D-B51D-DDAE8BC6E9BD}" dt="2023-11-07T06:37:23.408" v="57304" actId="207"/>
          <ac:spMkLst>
            <pc:docMk/>
            <pc:sldMk cId="502713536" sldId="411"/>
            <ac:spMk id="7" creationId="{116E560F-E095-67B6-617C-9EACED383350}"/>
          </ac:spMkLst>
        </pc:spChg>
        <pc:spChg chg="mod">
          <ac:chgData name="Tan, Roger" userId="f6f33758-bd69-4951-8148-181de3b92474" providerId="ADAL" clId="{A436842E-EA5C-4A6D-B51D-DDAE8BC6E9BD}" dt="2023-11-07T06:37:18.584" v="57303" actId="207"/>
          <ac:spMkLst>
            <pc:docMk/>
            <pc:sldMk cId="502713536" sldId="411"/>
            <ac:spMk id="8" creationId="{00B31E32-8A36-7F12-B672-0595323CB7E8}"/>
          </ac:spMkLst>
        </pc:spChg>
        <pc:spChg chg="mod">
          <ac:chgData name="Tan, Roger" userId="f6f33758-bd69-4951-8148-181de3b92474" providerId="ADAL" clId="{A436842E-EA5C-4A6D-B51D-DDAE8BC6E9BD}" dt="2023-11-07T06:37:18.584" v="57303" actId="207"/>
          <ac:spMkLst>
            <pc:docMk/>
            <pc:sldMk cId="502713536" sldId="411"/>
            <ac:spMk id="10" creationId="{11A06985-249A-B8F9-8026-3FFAB2E53E92}"/>
          </ac:spMkLst>
        </pc:spChg>
        <pc:spChg chg="mod">
          <ac:chgData name="Tan, Roger" userId="f6f33758-bd69-4951-8148-181de3b92474" providerId="ADAL" clId="{A436842E-EA5C-4A6D-B51D-DDAE8BC6E9BD}" dt="2023-11-07T06:37:18.584" v="57303" actId="207"/>
          <ac:spMkLst>
            <pc:docMk/>
            <pc:sldMk cId="502713536" sldId="411"/>
            <ac:spMk id="11" creationId="{45E244EB-B05A-ADDE-52FE-D8E54C40C424}"/>
          </ac:spMkLst>
        </pc:spChg>
        <pc:spChg chg="mod">
          <ac:chgData name="Tan, Roger" userId="f6f33758-bd69-4951-8148-181de3b92474" providerId="ADAL" clId="{A436842E-EA5C-4A6D-B51D-DDAE8BC6E9BD}" dt="2023-11-07T06:37:18.584" v="57303" actId="207"/>
          <ac:spMkLst>
            <pc:docMk/>
            <pc:sldMk cId="502713536" sldId="411"/>
            <ac:spMk id="12" creationId="{05F74C42-FE65-0127-D52E-6F981FACEC13}"/>
          </ac:spMkLst>
        </pc:spChg>
        <pc:spChg chg="mod">
          <ac:chgData name="Tan, Roger" userId="f6f33758-bd69-4951-8148-181de3b92474" providerId="ADAL" clId="{A436842E-EA5C-4A6D-B51D-DDAE8BC6E9BD}" dt="2023-11-07T06:37:18.584" v="57303" actId="207"/>
          <ac:spMkLst>
            <pc:docMk/>
            <pc:sldMk cId="502713536" sldId="411"/>
            <ac:spMk id="13" creationId="{24CB16C8-055A-1C85-3017-B2515D1205D3}"/>
          </ac:spMkLst>
        </pc:spChg>
        <pc:spChg chg="mod">
          <ac:chgData name="Tan, Roger" userId="f6f33758-bd69-4951-8148-181de3b92474" providerId="ADAL" clId="{A436842E-EA5C-4A6D-B51D-DDAE8BC6E9BD}" dt="2023-11-07T17:19:53.558" v="74301"/>
          <ac:spMkLst>
            <pc:docMk/>
            <pc:sldMk cId="502713536" sldId="411"/>
            <ac:spMk id="23" creationId="{085062C9-E1EF-8DA2-9825-7C696F0759C6}"/>
          </ac:spMkLst>
        </pc:spChg>
        <pc:spChg chg="mod">
          <ac:chgData name="Tan, Roger" userId="f6f33758-bd69-4951-8148-181de3b92474" providerId="ADAL" clId="{A436842E-EA5C-4A6D-B51D-DDAE8BC6E9BD}" dt="2023-11-07T10:01:12.309" v="73252" actId="20577"/>
          <ac:spMkLst>
            <pc:docMk/>
            <pc:sldMk cId="502713536" sldId="411"/>
            <ac:spMk id="24" creationId="{2244DA42-C3CC-EDCC-3A88-043A2E55567C}"/>
          </ac:spMkLst>
        </pc:spChg>
        <pc:picChg chg="mod modCrop">
          <ac:chgData name="Tan, Roger" userId="f6f33758-bd69-4951-8148-181de3b92474" providerId="ADAL" clId="{A436842E-EA5C-4A6D-B51D-DDAE8BC6E9BD}" dt="2023-11-07T06:38:39.010" v="57323" actId="1037"/>
          <ac:picMkLst>
            <pc:docMk/>
            <pc:sldMk cId="502713536" sldId="411"/>
            <ac:picMk id="4" creationId="{B9A70544-78A4-C0C5-1C68-1DE333BAA924}"/>
          </ac:picMkLst>
        </pc:picChg>
      </pc:sldChg>
      <pc:sldChg chg="addSp delSp modSp new add mod ord modTransition modClrScheme addAnim delAnim modAnim modShow chgLayout">
        <pc:chgData name="Tan, Roger" userId="f6f33758-bd69-4951-8148-181de3b92474" providerId="ADAL" clId="{A436842E-EA5C-4A6D-B51D-DDAE8BC6E9BD}" dt="2023-11-08T18:52:34.326" v="80006" actId="1076"/>
        <pc:sldMkLst>
          <pc:docMk/>
          <pc:sldMk cId="3220425090" sldId="412"/>
        </pc:sldMkLst>
        <pc:spChg chg="mod ord">
          <ac:chgData name="Tan, Roger" userId="f6f33758-bd69-4951-8148-181de3b92474" providerId="ADAL" clId="{A436842E-EA5C-4A6D-B51D-DDAE8BC6E9BD}" dt="2023-11-08T08:51:06.862" v="77383"/>
          <ac:spMkLst>
            <pc:docMk/>
            <pc:sldMk cId="3220425090" sldId="412"/>
            <ac:spMk id="2" creationId="{80E4A9E3-A578-9E3C-FC94-422DBFB40D60}"/>
          </ac:spMkLst>
        </pc:spChg>
        <pc:spChg chg="add del mod">
          <ac:chgData name="Tan, Roger" userId="f6f33758-bd69-4951-8148-181de3b92474" providerId="ADAL" clId="{A436842E-EA5C-4A6D-B51D-DDAE8BC6E9BD}" dt="2023-11-07T06:50:45.381" v="57436" actId="478"/>
          <ac:spMkLst>
            <pc:docMk/>
            <pc:sldMk cId="3220425090" sldId="412"/>
            <ac:spMk id="8" creationId="{60B9CCCB-9FC2-E54F-72F7-D37B8EDB2745}"/>
          </ac:spMkLst>
        </pc:spChg>
        <pc:spChg chg="add mod">
          <ac:chgData name="Tan, Roger" userId="f6f33758-bd69-4951-8148-181de3b92474" providerId="ADAL" clId="{A436842E-EA5C-4A6D-B51D-DDAE8BC6E9BD}" dt="2023-11-08T18:51:28.917" v="79971" actId="1076"/>
          <ac:spMkLst>
            <pc:docMk/>
            <pc:sldMk cId="3220425090" sldId="412"/>
            <ac:spMk id="8" creationId="{F8C0D251-DAD9-10AF-7C86-B983BF8C438B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2" creationId="{3D78DB19-2BB2-2F3B-9AD2-CED4B1B7DEFF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3" creationId="{1E164A3D-CFD8-535E-21BC-901B3E457385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4" creationId="{479C15C1-38DC-AAA4-1E53-18A95FB0DB57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5" creationId="{2233E815-9BAF-76E8-A49E-EF266B5D4910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6" creationId="{D42442CD-ABEC-15CD-A9B6-FCB000D215F5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7" creationId="{9422C5A8-F6BE-F0BB-09FA-DC0445B5271D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8" creationId="{1719C2E7-A82D-1713-9D18-92E381E72617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19" creationId="{FEA29F05-0FF5-617A-790F-2D727AB966F2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0" creationId="{4A0BDCF2-B764-C0F2-BBA5-CF24B53E12D0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1" creationId="{BC0D7528-604A-BBA2-2E7E-41D3EB02FEA8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2" creationId="{8F792B73-0ED9-090F-8A07-E8A4AF9206FD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3" creationId="{ADEC2079-78A1-3D9D-84E3-9C57BCBBC8E3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4" creationId="{9DB56AE7-6F93-62B8-E82B-8DC8427FB4C9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5" creationId="{C819ABDC-2E0A-7EB9-0812-C60FD191E76A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6" creationId="{0D55691E-7E85-304B-9D16-894110B5E164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7" creationId="{18A9F323-8FA4-2305-A220-B05F1E41BE05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8" creationId="{1489C5EC-3683-D7DC-E332-B7495CFD6E50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29" creationId="{C440961D-8DAA-B672-19B0-76792DE0FB1C}"/>
          </ac:spMkLst>
        </pc:spChg>
        <pc:spChg chg="mod">
          <ac:chgData name="Tan, Roger" userId="f6f33758-bd69-4951-8148-181de3b92474" providerId="ADAL" clId="{A436842E-EA5C-4A6D-B51D-DDAE8BC6E9BD}" dt="2023-11-07T06:57:38.095" v="57789" actId="1076"/>
          <ac:spMkLst>
            <pc:docMk/>
            <pc:sldMk cId="3220425090" sldId="412"/>
            <ac:spMk id="30" creationId="{5A42F0F1-B266-516D-913F-B38E11D1A25D}"/>
          </ac:spMkLst>
        </pc:spChg>
        <pc:spChg chg="mod ord topLvl">
          <ac:chgData name="Tan, Roger" userId="f6f33758-bd69-4951-8148-181de3b92474" providerId="ADAL" clId="{A436842E-EA5C-4A6D-B51D-DDAE8BC6E9BD}" dt="2023-11-08T18:52:34.326" v="80006" actId="1076"/>
          <ac:spMkLst>
            <pc:docMk/>
            <pc:sldMk cId="3220425090" sldId="412"/>
            <ac:spMk id="32" creationId="{5DA42475-A751-3257-AA10-ABC60ABB173C}"/>
          </ac:spMkLst>
        </pc:spChg>
        <pc:spChg chg="del mod">
          <ac:chgData name="Tan, Roger" userId="f6f33758-bd69-4951-8148-181de3b92474" providerId="ADAL" clId="{A436842E-EA5C-4A6D-B51D-DDAE8BC6E9BD}" dt="2023-11-07T06:50:35.215" v="57430" actId="478"/>
          <ac:spMkLst>
            <pc:docMk/>
            <pc:sldMk cId="3220425090" sldId="412"/>
            <ac:spMk id="33" creationId="{D12262C5-2B53-680A-F3F1-42188D27867C}"/>
          </ac:spMkLst>
        </pc:spChg>
        <pc:spChg chg="del mod topLvl">
          <ac:chgData name="Tan, Roger" userId="f6f33758-bd69-4951-8148-181de3b92474" providerId="ADAL" clId="{A436842E-EA5C-4A6D-B51D-DDAE8BC6E9BD}" dt="2023-11-07T06:50:40.195" v="57434" actId="478"/>
          <ac:spMkLst>
            <pc:docMk/>
            <pc:sldMk cId="3220425090" sldId="412"/>
            <ac:spMk id="34" creationId="{86EC444D-5340-01F4-F0DE-1E558EA76731}"/>
          </ac:spMkLst>
        </pc:spChg>
        <pc:spChg chg="add mod ord">
          <ac:chgData name="Tan, Roger" userId="f6f33758-bd69-4951-8148-181de3b92474" providerId="ADAL" clId="{A436842E-EA5C-4A6D-B51D-DDAE8BC6E9BD}" dt="2023-11-08T18:50:02.190" v="79933" actId="1076"/>
          <ac:spMkLst>
            <pc:docMk/>
            <pc:sldMk cId="3220425090" sldId="412"/>
            <ac:spMk id="37" creationId="{1F3EAED7-5AC9-A332-EC5A-2765929DE309}"/>
          </ac:spMkLst>
        </pc:spChg>
        <pc:spChg chg="mod">
          <ac:chgData name="Tan, Roger" userId="f6f33758-bd69-4951-8148-181de3b92474" providerId="ADAL" clId="{A436842E-EA5C-4A6D-B51D-DDAE8BC6E9BD}" dt="2023-11-07T06:52:16.355" v="57485"/>
          <ac:spMkLst>
            <pc:docMk/>
            <pc:sldMk cId="3220425090" sldId="412"/>
            <ac:spMk id="40" creationId="{A8172029-08A2-2DD5-91A1-4168F65E1829}"/>
          </ac:spMkLst>
        </pc:spChg>
        <pc:spChg chg="mod">
          <ac:chgData name="Tan, Roger" userId="f6f33758-bd69-4951-8148-181de3b92474" providerId="ADAL" clId="{A436842E-EA5C-4A6D-B51D-DDAE8BC6E9BD}" dt="2023-11-07T06:52:16.355" v="57485"/>
          <ac:spMkLst>
            <pc:docMk/>
            <pc:sldMk cId="3220425090" sldId="412"/>
            <ac:spMk id="41" creationId="{87432A86-F667-EA56-3E6A-00C1D7EE3797}"/>
          </ac:spMkLst>
        </pc:spChg>
        <pc:spChg chg="mod">
          <ac:chgData name="Tan, Roger" userId="f6f33758-bd69-4951-8148-181de3b92474" providerId="ADAL" clId="{A436842E-EA5C-4A6D-B51D-DDAE8BC6E9BD}" dt="2023-11-07T06:52:16.355" v="57485"/>
          <ac:spMkLst>
            <pc:docMk/>
            <pc:sldMk cId="3220425090" sldId="412"/>
            <ac:spMk id="42" creationId="{1F7947B5-DFF9-7423-9226-38B4EC16F071}"/>
          </ac:spMkLst>
        </pc:spChg>
        <pc:spChg chg="add mod ord">
          <ac:chgData name="Tan, Roger" userId="f6f33758-bd69-4951-8148-181de3b92474" providerId="ADAL" clId="{A436842E-EA5C-4A6D-B51D-DDAE8BC6E9BD}" dt="2023-11-08T18:51:51.410" v="79975" actId="1076"/>
          <ac:spMkLst>
            <pc:docMk/>
            <pc:sldMk cId="3220425090" sldId="412"/>
            <ac:spMk id="43" creationId="{9F8E6ED9-9433-071F-4D2A-3227D22329CB}"/>
          </ac:spMkLst>
        </pc:spChg>
        <pc:spChg chg="mod">
          <ac:chgData name="Tan, Roger" userId="f6f33758-bd69-4951-8148-181de3b92474" providerId="ADAL" clId="{A436842E-EA5C-4A6D-B51D-DDAE8BC6E9BD}" dt="2023-11-07T06:53:34.665" v="57631"/>
          <ac:spMkLst>
            <pc:docMk/>
            <pc:sldMk cId="3220425090" sldId="412"/>
            <ac:spMk id="45" creationId="{31EBE60B-22B5-88F9-4D49-105C125C50E9}"/>
          </ac:spMkLst>
        </pc:spChg>
        <pc:spChg chg="mod">
          <ac:chgData name="Tan, Roger" userId="f6f33758-bd69-4951-8148-181de3b92474" providerId="ADAL" clId="{A436842E-EA5C-4A6D-B51D-DDAE8BC6E9BD}" dt="2023-11-07T06:53:34.665" v="57631"/>
          <ac:spMkLst>
            <pc:docMk/>
            <pc:sldMk cId="3220425090" sldId="412"/>
            <ac:spMk id="46" creationId="{61EDAE8D-0046-B3EB-2807-D809E7FBFE1E}"/>
          </ac:spMkLst>
        </pc:spChg>
        <pc:spChg chg="mod">
          <ac:chgData name="Tan, Roger" userId="f6f33758-bd69-4951-8148-181de3b92474" providerId="ADAL" clId="{A436842E-EA5C-4A6D-B51D-DDAE8BC6E9BD}" dt="2023-11-07T06:53:34.665" v="57631"/>
          <ac:spMkLst>
            <pc:docMk/>
            <pc:sldMk cId="3220425090" sldId="412"/>
            <ac:spMk id="47" creationId="{9FF216FA-0146-02F2-27E9-41A1CBDD0195}"/>
          </ac:spMkLst>
        </pc:spChg>
        <pc:spChg chg="add del mod ord">
          <ac:chgData name="Tan, Roger" userId="f6f33758-bd69-4951-8148-181de3b92474" providerId="ADAL" clId="{A436842E-EA5C-4A6D-B51D-DDAE8BC6E9BD}" dt="2023-11-08T18:43:13.955" v="79866" actId="478"/>
          <ac:spMkLst>
            <pc:docMk/>
            <pc:sldMk cId="3220425090" sldId="412"/>
            <ac:spMk id="48" creationId="{7FD0CFF3-1718-8D2C-2C74-2CFA306A074C}"/>
          </ac:spMkLst>
        </pc:spChg>
        <pc:spChg chg="add del mod ord">
          <ac:chgData name="Tan, Roger" userId="f6f33758-bd69-4951-8148-181de3b92474" providerId="ADAL" clId="{A436842E-EA5C-4A6D-B51D-DDAE8BC6E9BD}" dt="2023-11-08T18:43:12.540" v="79864" actId="478"/>
          <ac:spMkLst>
            <pc:docMk/>
            <pc:sldMk cId="3220425090" sldId="412"/>
            <ac:spMk id="49" creationId="{1AA16E9E-824B-3C25-A9B0-2BF57B20E0A3}"/>
          </ac:spMkLst>
        </pc:spChg>
        <pc:spChg chg="add del mod ord">
          <ac:chgData name="Tan, Roger" userId="f6f33758-bd69-4951-8148-181de3b92474" providerId="ADAL" clId="{A436842E-EA5C-4A6D-B51D-DDAE8BC6E9BD}" dt="2023-11-08T18:43:13.304" v="79865" actId="478"/>
          <ac:spMkLst>
            <pc:docMk/>
            <pc:sldMk cId="3220425090" sldId="412"/>
            <ac:spMk id="50" creationId="{B7366DD7-AD09-31A3-E285-6B302AD62194}"/>
          </ac:spMkLst>
        </pc:spChg>
        <pc:spChg chg="add del mod ord">
          <ac:chgData name="Tan, Roger" userId="f6f33758-bd69-4951-8148-181de3b92474" providerId="ADAL" clId="{A436842E-EA5C-4A6D-B51D-DDAE8BC6E9BD}" dt="2023-11-08T18:43:11.912" v="79863" actId="478"/>
          <ac:spMkLst>
            <pc:docMk/>
            <pc:sldMk cId="3220425090" sldId="412"/>
            <ac:spMk id="51" creationId="{52A92FAB-8B03-ECAF-8DDB-B27AA1FF2618}"/>
          </ac:spMkLst>
        </pc:spChg>
        <pc:spChg chg="add del mod ord">
          <ac:chgData name="Tan, Roger" userId="f6f33758-bd69-4951-8148-181de3b92474" providerId="ADAL" clId="{A436842E-EA5C-4A6D-B51D-DDAE8BC6E9BD}" dt="2023-11-08T18:43:10.643" v="79862" actId="478"/>
          <ac:spMkLst>
            <pc:docMk/>
            <pc:sldMk cId="3220425090" sldId="412"/>
            <ac:spMk id="52" creationId="{E50B018F-5FFD-C7DC-B193-1FFF02F6D018}"/>
          </ac:spMkLst>
        </pc:spChg>
        <pc:spChg chg="add del mod ord">
          <ac:chgData name="Tan, Roger" userId="f6f33758-bd69-4951-8148-181de3b92474" providerId="ADAL" clId="{A436842E-EA5C-4A6D-B51D-DDAE8BC6E9BD}" dt="2023-11-08T18:43:10.643" v="79862" actId="478"/>
          <ac:spMkLst>
            <pc:docMk/>
            <pc:sldMk cId="3220425090" sldId="412"/>
            <ac:spMk id="53" creationId="{5CA4193F-8F9B-9110-59B1-610B5BEE581A}"/>
          </ac:spMkLst>
        </pc:spChg>
        <pc:spChg chg="add del mod ord">
          <ac:chgData name="Tan, Roger" userId="f6f33758-bd69-4951-8148-181de3b92474" providerId="ADAL" clId="{A436842E-EA5C-4A6D-B51D-DDAE8BC6E9BD}" dt="2023-11-08T18:43:10.643" v="79862" actId="478"/>
          <ac:spMkLst>
            <pc:docMk/>
            <pc:sldMk cId="3220425090" sldId="412"/>
            <ac:spMk id="54" creationId="{86D9FDFB-DD50-4954-3879-9A0C692575E9}"/>
          </ac:spMkLst>
        </pc:spChg>
        <pc:spChg chg="add del mod ord">
          <ac:chgData name="Tan, Roger" userId="f6f33758-bd69-4951-8148-181de3b92474" providerId="ADAL" clId="{A436842E-EA5C-4A6D-B51D-DDAE8BC6E9BD}" dt="2023-11-08T18:43:10.643" v="79862" actId="478"/>
          <ac:spMkLst>
            <pc:docMk/>
            <pc:sldMk cId="3220425090" sldId="412"/>
            <ac:spMk id="55" creationId="{4A11776A-0362-841C-BDE7-8F43C70166D7}"/>
          </ac:spMkLst>
        </pc:spChg>
        <pc:spChg chg="add del mod ord">
          <ac:chgData name="Tan, Roger" userId="f6f33758-bd69-4951-8148-181de3b92474" providerId="ADAL" clId="{A436842E-EA5C-4A6D-B51D-DDAE8BC6E9BD}" dt="2023-11-08T18:43:10.643" v="79862" actId="478"/>
          <ac:spMkLst>
            <pc:docMk/>
            <pc:sldMk cId="3220425090" sldId="412"/>
            <ac:spMk id="56" creationId="{31E05DA3-24AF-D3AD-B8CC-3500575826A0}"/>
          </ac:spMkLst>
        </pc:spChg>
        <pc:spChg chg="add mod ord">
          <ac:chgData name="Tan, Roger" userId="f6f33758-bd69-4951-8148-181de3b92474" providerId="ADAL" clId="{A436842E-EA5C-4A6D-B51D-DDAE8BC6E9BD}" dt="2023-11-08T18:52:24.629" v="80005" actId="20577"/>
          <ac:spMkLst>
            <pc:docMk/>
            <pc:sldMk cId="3220425090" sldId="412"/>
            <ac:spMk id="1029" creationId="{51DF0374-DAD2-E08C-5B94-609E1D945169}"/>
          </ac:spMkLst>
        </pc:spChg>
        <pc:grpChg chg="add del mod">
          <ac:chgData name="Tan, Roger" userId="f6f33758-bd69-4951-8148-181de3b92474" providerId="ADAL" clId="{A436842E-EA5C-4A6D-B51D-DDAE8BC6E9BD}" dt="2023-11-08T18:43:08.603" v="79861" actId="478"/>
          <ac:grpSpMkLst>
            <pc:docMk/>
            <pc:sldMk cId="3220425090" sldId="412"/>
            <ac:grpSpMk id="11" creationId="{3808BD87-2993-9134-02B5-8414C7DA1E18}"/>
          </ac:grpSpMkLst>
        </pc:grpChg>
        <pc:grpChg chg="add del mod">
          <ac:chgData name="Tan, Roger" userId="f6f33758-bd69-4951-8148-181de3b92474" providerId="ADAL" clId="{A436842E-EA5C-4A6D-B51D-DDAE8BC6E9BD}" dt="2023-11-07T06:50:40.195" v="57434" actId="478"/>
          <ac:grpSpMkLst>
            <pc:docMk/>
            <pc:sldMk cId="3220425090" sldId="412"/>
            <ac:grpSpMk id="31" creationId="{5536264E-75AD-2461-4E04-BC24EBA5E342}"/>
          </ac:grpSpMkLst>
        </pc:grpChg>
        <pc:grpChg chg="add del mod ord">
          <ac:chgData name="Tan, Roger" userId="f6f33758-bd69-4951-8148-181de3b92474" providerId="ADAL" clId="{A436842E-EA5C-4A6D-B51D-DDAE8BC6E9BD}" dt="2023-11-07T07:00:36.406" v="57907" actId="165"/>
          <ac:grpSpMkLst>
            <pc:docMk/>
            <pc:sldMk cId="3220425090" sldId="412"/>
            <ac:grpSpMk id="36" creationId="{0743DD94-9E66-FDEC-7FA7-7A998027396C}"/>
          </ac:grpSpMkLst>
        </pc:grpChg>
        <pc:grpChg chg="add del mod">
          <ac:chgData name="Tan, Roger" userId="f6f33758-bd69-4951-8148-181de3b92474" providerId="ADAL" clId="{A436842E-EA5C-4A6D-B51D-DDAE8BC6E9BD}" dt="2023-11-07T06:52:26.461" v="57486" actId="478"/>
          <ac:grpSpMkLst>
            <pc:docMk/>
            <pc:sldMk cId="3220425090" sldId="412"/>
            <ac:grpSpMk id="39" creationId="{BF06F0C3-F7D3-0952-46F6-18801570B23E}"/>
          </ac:grpSpMkLst>
        </pc:grpChg>
        <pc:grpChg chg="add del mod">
          <ac:chgData name="Tan, Roger" userId="f6f33758-bd69-4951-8148-181de3b92474" providerId="ADAL" clId="{A436842E-EA5C-4A6D-B51D-DDAE8BC6E9BD}" dt="2023-11-07T06:53:35.591" v="57632"/>
          <ac:grpSpMkLst>
            <pc:docMk/>
            <pc:sldMk cId="3220425090" sldId="412"/>
            <ac:grpSpMk id="44" creationId="{619650B4-C0B2-7CD2-1AFC-848D2CC890D1}"/>
          </ac:grpSpMkLst>
        </pc:grpChg>
        <pc:graphicFrameChg chg="add mod ord modVis replST">
          <ac:chgData name="Tan, Roger" userId="f6f33758-bd69-4951-8148-181de3b92474" providerId="ADAL" clId="{A436842E-EA5C-4A6D-B51D-DDAE8BC6E9BD}" dt="2023-11-07T07:01:07.363" v="57964"/>
          <ac:graphicFrameMkLst>
            <pc:docMk/>
            <pc:sldMk cId="3220425090" sldId="412"/>
            <ac:graphicFrameMk id="38" creationId="{0648CCD8-7309-CC0A-A621-001F5A7CAF43}"/>
          </ac:graphicFrameMkLst>
        </pc:graphicFrameChg>
        <pc:picChg chg="add mod ord">
          <ac:chgData name="Tan, Roger" userId="f6f33758-bd69-4951-8148-181de3b92474" providerId="ADAL" clId="{A436842E-EA5C-4A6D-B51D-DDAE8BC6E9BD}" dt="2023-11-08T18:52:34.326" v="80006" actId="1076"/>
          <ac:picMkLst>
            <pc:docMk/>
            <pc:sldMk cId="3220425090" sldId="412"/>
            <ac:picMk id="3" creationId="{09709C38-FF6B-D494-D6D8-55C9C6D8EC57}"/>
          </ac:picMkLst>
        </pc:picChg>
        <pc:picChg chg="add mod">
          <ac:chgData name="Tan, Roger" userId="f6f33758-bd69-4951-8148-181de3b92474" providerId="ADAL" clId="{A436842E-EA5C-4A6D-B51D-DDAE8BC6E9BD}" dt="2023-11-08T18:51:55.840" v="79977" actId="1076"/>
          <ac:picMkLst>
            <pc:docMk/>
            <pc:sldMk cId="3220425090" sldId="412"/>
            <ac:picMk id="5" creationId="{3E57DA12-C103-FBB9-F5D2-90CEF7090CF8}"/>
          </ac:picMkLst>
        </pc:picChg>
        <pc:picChg chg="add del mod">
          <ac:chgData name="Tan, Roger" userId="f6f33758-bd69-4951-8148-181de3b92474" providerId="ADAL" clId="{A436842E-EA5C-4A6D-B51D-DDAE8BC6E9BD}" dt="2023-11-07T06:50:25.802" v="57425" actId="21"/>
          <ac:picMkLst>
            <pc:docMk/>
            <pc:sldMk cId="3220425090" sldId="412"/>
            <ac:picMk id="5" creationId="{E90928C4-0002-A60A-D6D3-CFBCDDAA8E0D}"/>
          </ac:picMkLst>
        </pc:picChg>
        <pc:picChg chg="add mod ord">
          <ac:chgData name="Tan, Roger" userId="f6f33758-bd69-4951-8148-181de3b92474" providerId="ADAL" clId="{A436842E-EA5C-4A6D-B51D-DDAE8BC6E9BD}" dt="2023-11-08T18:51:51.410" v="79975" actId="1076"/>
          <ac:picMkLst>
            <pc:docMk/>
            <pc:sldMk cId="3220425090" sldId="412"/>
            <ac:picMk id="7" creationId="{1D9BEEEC-842B-72D6-AB8D-6B6A77CE418B}"/>
          </ac:picMkLst>
        </pc:picChg>
        <pc:picChg chg="add del mod ord">
          <ac:chgData name="Tan, Roger" userId="f6f33758-bd69-4951-8148-181de3b92474" providerId="ADAL" clId="{A436842E-EA5C-4A6D-B51D-DDAE8BC6E9BD}" dt="2023-11-07T06:54:41.346" v="57685" actId="478"/>
          <ac:picMkLst>
            <pc:docMk/>
            <pc:sldMk cId="3220425090" sldId="412"/>
            <ac:picMk id="10" creationId="{54917CDA-EE9A-EBE5-F6D9-741DF1ADC2F1}"/>
          </ac:picMkLst>
        </pc:picChg>
        <pc:picChg chg="add mod">
          <ac:chgData name="Tan, Roger" userId="f6f33758-bd69-4951-8148-181de3b92474" providerId="ADAL" clId="{A436842E-EA5C-4A6D-B51D-DDAE8BC6E9BD}" dt="2023-11-08T18:51:53.777" v="79976" actId="1076"/>
          <ac:picMkLst>
            <pc:docMk/>
            <pc:sldMk cId="3220425090" sldId="412"/>
            <ac:picMk id="10" creationId="{8FA5806E-E52A-8D27-8A86-CD05FFA83A06}"/>
          </ac:picMkLst>
        </pc:picChg>
        <pc:picChg chg="add mod">
          <ac:chgData name="Tan, Roger" userId="f6f33758-bd69-4951-8148-181de3b92474" providerId="ADAL" clId="{A436842E-EA5C-4A6D-B51D-DDAE8BC6E9BD}" dt="2023-11-08T18:51:44.501" v="79972" actId="1076"/>
          <ac:picMkLst>
            <pc:docMk/>
            <pc:sldMk cId="3220425090" sldId="412"/>
            <ac:picMk id="33" creationId="{4881ACA1-89E2-E436-F083-DFBCE29BD3B9}"/>
          </ac:picMkLst>
        </pc:picChg>
        <pc:picChg chg="add mod ord topLvl">
          <ac:chgData name="Tan, Roger" userId="f6f33758-bd69-4951-8148-181de3b92474" providerId="ADAL" clId="{A436842E-EA5C-4A6D-B51D-DDAE8BC6E9BD}" dt="2023-11-08T18:50:02.190" v="79933" actId="1076"/>
          <ac:picMkLst>
            <pc:docMk/>
            <pc:sldMk cId="3220425090" sldId="412"/>
            <ac:picMk id="35" creationId="{987384FC-301F-27A2-418A-8BA3627D5AFF}"/>
          </ac:picMkLst>
        </pc:picChg>
        <pc:picChg chg="add del mod">
          <ac:chgData name="Tan, Roger" userId="f6f33758-bd69-4951-8148-181de3b92474" providerId="ADAL" clId="{A436842E-EA5C-4A6D-B51D-DDAE8BC6E9BD}" dt="2023-11-07T06:55:53.425" v="57782" actId="931"/>
          <ac:picMkLst>
            <pc:docMk/>
            <pc:sldMk cId="3220425090" sldId="412"/>
            <ac:picMk id="58" creationId="{70CD1FA9-C21D-658B-A3C6-18C1E81FDD84}"/>
          </ac:picMkLst>
        </pc:picChg>
        <pc:picChg chg="add del mod ord">
          <ac:chgData name="Tan, Roger" userId="f6f33758-bd69-4951-8148-181de3b92474" providerId="ADAL" clId="{A436842E-EA5C-4A6D-B51D-DDAE8BC6E9BD}" dt="2023-11-08T18:43:10.643" v="79862" actId="478"/>
          <ac:picMkLst>
            <pc:docMk/>
            <pc:sldMk cId="3220425090" sldId="412"/>
            <ac:picMk id="60" creationId="{AB464E68-7C35-4C5C-C548-9185903DAEC3}"/>
          </ac:picMkLst>
        </pc:picChg>
        <pc:picChg chg="add del mod ord">
          <ac:chgData name="Tan, Roger" userId="f6f33758-bd69-4951-8148-181de3b92474" providerId="ADAL" clId="{A436842E-EA5C-4A6D-B51D-DDAE8BC6E9BD}" dt="2023-11-08T18:43:10.643" v="79862" actId="478"/>
          <ac:picMkLst>
            <pc:docMk/>
            <pc:sldMk cId="3220425090" sldId="412"/>
            <ac:picMk id="62" creationId="{F15B137D-8BD5-EE1D-F1FA-8CE9DA8F17AC}"/>
          </ac:picMkLst>
        </pc:picChg>
        <pc:picChg chg="add del mod ord">
          <ac:chgData name="Tan, Roger" userId="f6f33758-bd69-4951-8148-181de3b92474" providerId="ADAL" clId="{A436842E-EA5C-4A6D-B51D-DDAE8BC6E9BD}" dt="2023-11-08T18:43:10.643" v="79862" actId="478"/>
          <ac:picMkLst>
            <pc:docMk/>
            <pc:sldMk cId="3220425090" sldId="412"/>
            <ac:picMk id="1024" creationId="{DCC957A0-1862-448F-F82B-378F3551E472}"/>
          </ac:picMkLst>
        </pc:picChg>
        <pc:picChg chg="add del">
          <ac:chgData name="Tan, Roger" userId="f6f33758-bd69-4951-8148-181de3b92474" providerId="ADAL" clId="{A436842E-EA5C-4A6D-B51D-DDAE8BC6E9BD}" dt="2023-11-07T06:46:45.137" v="57374" actId="478"/>
          <ac:picMkLst>
            <pc:docMk/>
            <pc:sldMk cId="3220425090" sldId="412"/>
            <ac:picMk id="1026" creationId="{338225E8-C693-6598-A780-B993F4E4C257}"/>
          </ac:picMkLst>
        </pc:picChg>
        <pc:picChg chg="add del mod ord">
          <ac:chgData name="Tan, Roger" userId="f6f33758-bd69-4951-8148-181de3b92474" providerId="ADAL" clId="{A436842E-EA5C-4A6D-B51D-DDAE8BC6E9BD}" dt="2023-11-08T18:43:10.643" v="79862" actId="478"/>
          <ac:picMkLst>
            <pc:docMk/>
            <pc:sldMk cId="3220425090" sldId="412"/>
            <ac:picMk id="1027" creationId="{1EFA3324-B2E2-5D7D-8D17-D2FA34D426A1}"/>
          </ac:picMkLst>
        </pc:picChg>
        <pc:picChg chg="add del mod">
          <ac:chgData name="Tan, Roger" userId="f6f33758-bd69-4951-8148-181de3b92474" providerId="ADAL" clId="{A436842E-EA5C-4A6D-B51D-DDAE8BC6E9BD}" dt="2023-11-07T07:04:57.581" v="57987" actId="478"/>
          <ac:picMkLst>
            <pc:docMk/>
            <pc:sldMk cId="3220425090" sldId="412"/>
            <ac:picMk id="1028" creationId="{A3A854B3-995D-B1E3-2D7D-835B85AC5A4E}"/>
          </ac:picMkLst>
        </pc:picChg>
        <pc:picChg chg="add del mod">
          <ac:chgData name="Tan, Roger" userId="f6f33758-bd69-4951-8148-181de3b92474" providerId="ADAL" clId="{A436842E-EA5C-4A6D-B51D-DDAE8BC6E9BD}" dt="2023-11-07T06:48:53.178" v="57413" actId="478"/>
          <ac:picMkLst>
            <pc:docMk/>
            <pc:sldMk cId="3220425090" sldId="412"/>
            <ac:picMk id="1030" creationId="{53E9474F-7FBD-48F8-08D6-DF75668D0348}"/>
          </ac:picMkLst>
        </pc:picChg>
        <pc:picChg chg="add del mod">
          <ac:chgData name="Tan, Roger" userId="f6f33758-bd69-4951-8148-181de3b92474" providerId="ADAL" clId="{A436842E-EA5C-4A6D-B51D-DDAE8BC6E9BD}" dt="2023-11-07T06:55:05.368" v="57721" actId="478"/>
          <ac:picMkLst>
            <pc:docMk/>
            <pc:sldMk cId="3220425090" sldId="412"/>
            <ac:picMk id="1032" creationId="{6BC4E4A3-15E6-8FC8-1B55-B74B55383C07}"/>
          </ac:picMkLst>
        </pc:picChg>
        <pc:picChg chg="add del mod">
          <ac:chgData name="Tan, Roger" userId="f6f33758-bd69-4951-8148-181de3b92474" providerId="ADAL" clId="{A436842E-EA5C-4A6D-B51D-DDAE8BC6E9BD}" dt="2023-11-08T18:43:14.639" v="79867" actId="478"/>
          <ac:picMkLst>
            <pc:docMk/>
            <pc:sldMk cId="3220425090" sldId="412"/>
            <ac:picMk id="1034" creationId="{19648EBC-B438-BE87-35CD-6046ED2A2866}"/>
          </ac:picMkLst>
        </pc:picChg>
      </pc:sldChg>
      <pc:sldChg chg="add del">
        <pc:chgData name="Tan, Roger" userId="f6f33758-bd69-4951-8148-181de3b92474" providerId="ADAL" clId="{A436842E-EA5C-4A6D-B51D-DDAE8BC6E9BD}" dt="2023-11-07T06:59:11.248" v="57813" actId="47"/>
        <pc:sldMkLst>
          <pc:docMk/>
          <pc:sldMk cId="4123695284" sldId="413"/>
        </pc:sldMkLst>
      </pc:sldChg>
      <pc:sldChg chg="add del mod modTransition modShow">
        <pc:chgData name="Tan, Roger" userId="f6f33758-bd69-4951-8148-181de3b92474" providerId="ADAL" clId="{A436842E-EA5C-4A6D-B51D-DDAE8BC6E9BD}" dt="2023-11-07T17:25:07.164" v="74390" actId="2696"/>
        <pc:sldMkLst>
          <pc:docMk/>
          <pc:sldMk cId="4177123785" sldId="419"/>
        </pc:sldMkLst>
      </pc:sldChg>
      <pc:sldChg chg="addSp delSp modSp add mod ord modTransition modAnim modShow">
        <pc:chgData name="Tan, Roger" userId="f6f33758-bd69-4951-8148-181de3b92474" providerId="ADAL" clId="{A436842E-EA5C-4A6D-B51D-DDAE8BC6E9BD}" dt="2023-11-08T22:16:26.967" v="81320" actId="1035"/>
        <pc:sldMkLst>
          <pc:docMk/>
          <pc:sldMk cId="2538916289" sldId="420"/>
        </pc:sldMkLst>
        <pc:spChg chg="mod">
          <ac:chgData name="Tan, Roger" userId="f6f33758-bd69-4951-8148-181de3b92474" providerId="ADAL" clId="{A436842E-EA5C-4A6D-B51D-DDAE8BC6E9BD}" dt="2023-11-08T17:40:26.549" v="77911" actId="20577"/>
          <ac:spMkLst>
            <pc:docMk/>
            <pc:sldMk cId="2538916289" sldId="420"/>
            <ac:spMk id="3" creationId="{5A51D8E0-E782-48F0-32BD-35653B4C16BF}"/>
          </ac:spMkLst>
        </pc:spChg>
        <pc:spChg chg="add del mod">
          <ac:chgData name="Tan, Roger" userId="f6f33758-bd69-4951-8148-181de3b92474" providerId="ADAL" clId="{A436842E-EA5C-4A6D-B51D-DDAE8BC6E9BD}" dt="2023-11-08T21:53:46.582" v="81061" actId="478"/>
          <ac:spMkLst>
            <pc:docMk/>
            <pc:sldMk cId="2538916289" sldId="420"/>
            <ac:spMk id="5" creationId="{8DC14793-33D6-EF1A-F586-61FF435637A2}"/>
          </ac:spMkLst>
        </pc:spChg>
        <pc:spChg chg="add del mod">
          <ac:chgData name="Tan, Roger" userId="f6f33758-bd69-4951-8148-181de3b92474" providerId="ADAL" clId="{A436842E-EA5C-4A6D-B51D-DDAE8BC6E9BD}" dt="2023-11-08T21:56:25.503" v="81113" actId="478"/>
          <ac:spMkLst>
            <pc:docMk/>
            <pc:sldMk cId="2538916289" sldId="420"/>
            <ac:spMk id="6" creationId="{14E69EB6-F82D-EEB6-8257-11609CB73D95}"/>
          </ac:spMkLst>
        </pc:spChg>
        <pc:spChg chg="add mod">
          <ac:chgData name="Tan, Roger" userId="f6f33758-bd69-4951-8148-181de3b92474" providerId="ADAL" clId="{A436842E-EA5C-4A6D-B51D-DDAE8BC6E9BD}" dt="2023-11-08T22:16:26.967" v="81320" actId="1035"/>
          <ac:spMkLst>
            <pc:docMk/>
            <pc:sldMk cId="2538916289" sldId="420"/>
            <ac:spMk id="7" creationId="{87EC74BC-0C34-ECC6-10B9-EB4AB9F5DE78}"/>
          </ac:spMkLst>
        </pc:spChg>
      </pc:sldChg>
      <pc:sldChg chg="add mod modClrScheme chgLayout">
        <pc:chgData name="Tan, Roger" userId="f6f33758-bd69-4951-8148-181de3b92474" providerId="ADAL" clId="{A436842E-EA5C-4A6D-B51D-DDAE8BC6E9BD}" dt="2023-11-08T01:29:52.477" v="76221" actId="700"/>
        <pc:sldMkLst>
          <pc:docMk/>
          <pc:sldMk cId="120109526" sldId="421"/>
        </pc:sldMkLst>
      </pc:sldChg>
      <pc:sldChg chg="modSp add mod modClrScheme chgLayout">
        <pc:chgData name="Tan, Roger" userId="f6f33758-bd69-4951-8148-181de3b92474" providerId="ADAL" clId="{A436842E-EA5C-4A6D-B51D-DDAE8BC6E9BD}" dt="2023-11-08T05:19:46.220" v="76785" actId="14100"/>
        <pc:sldMkLst>
          <pc:docMk/>
          <pc:sldMk cId="494903265" sldId="422"/>
        </pc:sldMkLst>
        <pc:spChg chg="mod">
          <ac:chgData name="Tan, Roger" userId="f6f33758-bd69-4951-8148-181de3b92474" providerId="ADAL" clId="{A436842E-EA5C-4A6D-B51D-DDAE8BC6E9BD}" dt="2023-11-08T05:19:46.220" v="76785" actId="14100"/>
          <ac:spMkLst>
            <pc:docMk/>
            <pc:sldMk cId="494903265" sldId="422"/>
            <ac:spMk id="3" creationId="{EF3C717F-5A0B-73C7-7CD3-859F5F0D320B}"/>
          </ac:spMkLst>
        </pc:spChg>
      </pc:sldChg>
      <pc:sldChg chg="addSp delSp modSp add mod modClrScheme chgLayout">
        <pc:chgData name="Tan, Roger" userId="f6f33758-bd69-4951-8148-181de3b92474" providerId="ADAL" clId="{A436842E-EA5C-4A6D-B51D-DDAE8BC6E9BD}" dt="2023-11-08T05:20:03.289" v="76805" actId="478"/>
        <pc:sldMkLst>
          <pc:docMk/>
          <pc:sldMk cId="3501371982" sldId="423"/>
        </pc:sldMkLst>
        <pc:spChg chg="mod ord">
          <ac:chgData name="Tan, Roger" userId="f6f33758-bd69-4951-8148-181de3b92474" providerId="ADAL" clId="{A436842E-EA5C-4A6D-B51D-DDAE8BC6E9BD}" dt="2023-11-08T05:19:59.274" v="76791"/>
          <ac:spMkLst>
            <pc:docMk/>
            <pc:sldMk cId="3501371982" sldId="423"/>
            <ac:spMk id="2" creationId="{496E9A5C-AC7F-EC41-F04F-873EB24E5193}"/>
          </ac:spMkLst>
        </pc:spChg>
        <pc:spChg chg="add del mod ord">
          <ac:chgData name="Tan, Roger" userId="f6f33758-bd69-4951-8148-181de3b92474" providerId="ADAL" clId="{A436842E-EA5C-4A6D-B51D-DDAE8BC6E9BD}" dt="2023-11-08T05:20:03.289" v="76805" actId="478"/>
          <ac:spMkLst>
            <pc:docMk/>
            <pc:sldMk cId="3501371982" sldId="423"/>
            <ac:spMk id="9" creationId="{05C1159A-0C3B-DAFE-A8E7-558270888C86}"/>
          </ac:spMkLst>
        </pc:spChg>
        <pc:spChg chg="mod ord">
          <ac:chgData name="Tan, Roger" userId="f6f33758-bd69-4951-8148-181de3b92474" providerId="ADAL" clId="{A436842E-EA5C-4A6D-B51D-DDAE8BC6E9BD}" dt="2023-11-08T05:19:59.273" v="76789"/>
          <ac:spMkLst>
            <pc:docMk/>
            <pc:sldMk cId="3501371982" sldId="423"/>
            <ac:spMk id="10" creationId="{CCD5A843-DC6E-EDB1-0981-3A8CCE0DB0C7}"/>
          </ac:spMkLst>
        </pc:spChg>
        <pc:spChg chg="add del mod ord">
          <ac:chgData name="Tan, Roger" userId="f6f33758-bd69-4951-8148-181de3b92474" providerId="ADAL" clId="{A436842E-EA5C-4A6D-B51D-DDAE8BC6E9BD}" dt="2023-11-08T05:20:01.482" v="76804" actId="478"/>
          <ac:spMkLst>
            <pc:docMk/>
            <pc:sldMk cId="3501371982" sldId="423"/>
            <ac:spMk id="15" creationId="{76BCDD27-E09C-E752-55FF-DD71F8303DC4}"/>
          </ac:spMkLst>
        </pc:spChg>
        <pc:grpChg chg="mod ord">
          <ac:chgData name="Tan, Roger" userId="f6f33758-bd69-4951-8148-181de3b92474" providerId="ADAL" clId="{A436842E-EA5C-4A6D-B51D-DDAE8BC6E9BD}" dt="2023-11-08T05:19:59.276" v="76795"/>
          <ac:grpSpMkLst>
            <pc:docMk/>
            <pc:sldMk cId="3501371982" sldId="423"/>
            <ac:grpSpMk id="38" creationId="{5F94E01B-0D61-E59A-AA7C-E2D76650FC96}"/>
          </ac:grpSpMkLst>
        </pc:grpChg>
        <pc:graphicFrameChg chg="mod">
          <ac:chgData name="Tan, Roger" userId="f6f33758-bd69-4951-8148-181de3b92474" providerId="ADAL" clId="{A436842E-EA5C-4A6D-B51D-DDAE8BC6E9BD}" dt="2023-11-08T05:19:59.284" v="76803"/>
          <ac:graphicFrameMkLst>
            <pc:docMk/>
            <pc:sldMk cId="3501371982" sldId="423"/>
            <ac:graphicFrameMk id="14" creationId="{17A90CED-A26D-EE3C-D1E0-6B7BEBBD1632}"/>
          </ac:graphicFrameMkLst>
        </pc:graphicFrameChg>
        <pc:cxnChg chg="mod ord">
          <ac:chgData name="Tan, Roger" userId="f6f33758-bd69-4951-8148-181de3b92474" providerId="ADAL" clId="{A436842E-EA5C-4A6D-B51D-DDAE8BC6E9BD}" dt="2023-11-08T05:19:59.275" v="76793"/>
          <ac:cxnSpMkLst>
            <pc:docMk/>
            <pc:sldMk cId="3501371982" sldId="423"/>
            <ac:cxnSpMk id="11" creationId="{E0732898-375F-E2E5-595C-2B34AD5EBB5D}"/>
          </ac:cxnSpMkLst>
        </pc:cxnChg>
      </pc:sldChg>
      <pc:sldChg chg="addSp delSp modSp add mod modClrScheme chgLayout">
        <pc:chgData name="Tan, Roger" userId="f6f33758-bd69-4951-8148-181de3b92474" providerId="ADAL" clId="{A436842E-EA5C-4A6D-B51D-DDAE8BC6E9BD}" dt="2023-11-08T05:20:31.448" v="76812" actId="1076"/>
        <pc:sldMkLst>
          <pc:docMk/>
          <pc:sldMk cId="3521844581" sldId="424"/>
        </pc:sldMkLst>
        <pc:spChg chg="mod">
          <ac:chgData name="Tan, Roger" userId="f6f33758-bd69-4951-8148-181de3b92474" providerId="ADAL" clId="{A436842E-EA5C-4A6D-B51D-DDAE8BC6E9BD}" dt="2023-11-08T05:20:31.448" v="76812" actId="1076"/>
          <ac:spMkLst>
            <pc:docMk/>
            <pc:sldMk cId="3521844581" sldId="424"/>
            <ac:spMk id="5" creationId="{DC079336-7F63-F69C-98F8-8D70B32F88DE}"/>
          </ac:spMkLst>
        </pc:spChg>
        <pc:spChg chg="add del mod">
          <ac:chgData name="Tan, Roger" userId="f6f33758-bd69-4951-8148-181de3b92474" providerId="ADAL" clId="{A436842E-EA5C-4A6D-B51D-DDAE8BC6E9BD}" dt="2023-11-08T05:20:19.373" v="76809" actId="478"/>
          <ac:spMkLst>
            <pc:docMk/>
            <pc:sldMk cId="3521844581" sldId="424"/>
            <ac:spMk id="11" creationId="{920EC316-4014-1297-9991-E61B03C692F6}"/>
          </ac:spMkLst>
        </pc:spChg>
        <pc:cxnChg chg="mod">
          <ac:chgData name="Tan, Roger" userId="f6f33758-bd69-4951-8148-181de3b92474" providerId="ADAL" clId="{A436842E-EA5C-4A6D-B51D-DDAE8BC6E9BD}" dt="2023-11-08T05:20:21.483" v="76810" actId="14100"/>
          <ac:cxnSpMkLst>
            <pc:docMk/>
            <pc:sldMk cId="3521844581" sldId="424"/>
            <ac:cxnSpMk id="9" creationId="{359339DA-302F-8EC2-2A4C-3927B73A406F}"/>
          </ac:cxnSpMkLst>
        </pc:cxnChg>
      </pc:sldChg>
      <pc:sldChg chg="addSp delSp modSp add mod modClrScheme chgLayout">
        <pc:chgData name="Tan, Roger" userId="f6f33758-bd69-4951-8148-181de3b92474" providerId="ADAL" clId="{A436842E-EA5C-4A6D-B51D-DDAE8BC6E9BD}" dt="2023-11-08T05:21:05.263" v="76859" actId="1036"/>
        <pc:sldMkLst>
          <pc:docMk/>
          <pc:sldMk cId="658758765" sldId="425"/>
        </pc:sldMkLst>
        <pc:spChg chg="mod">
          <ac:chgData name="Tan, Roger" userId="f6f33758-bd69-4951-8148-181de3b92474" providerId="ADAL" clId="{A436842E-EA5C-4A6D-B51D-DDAE8BC6E9BD}" dt="2023-11-08T05:21:05.263" v="76859" actId="1036"/>
          <ac:spMkLst>
            <pc:docMk/>
            <pc:sldMk cId="658758765" sldId="425"/>
            <ac:spMk id="10" creationId="{8EE9066C-850D-CE47-43F7-EBB52D8AD095}"/>
          </ac:spMkLst>
        </pc:spChg>
        <pc:spChg chg="add del mod">
          <ac:chgData name="Tan, Roger" userId="f6f33758-bd69-4951-8148-181de3b92474" providerId="ADAL" clId="{A436842E-EA5C-4A6D-B51D-DDAE8BC6E9BD}" dt="2023-11-08T05:20:54.178" v="76845" actId="478"/>
          <ac:spMkLst>
            <pc:docMk/>
            <pc:sldMk cId="658758765" sldId="425"/>
            <ac:spMk id="15" creationId="{E7470CAD-60A7-0937-F69A-C02CFB213A57}"/>
          </ac:spMkLst>
        </pc:spChg>
        <pc:grpChg chg="mod">
          <ac:chgData name="Tan, Roger" userId="f6f33758-bd69-4951-8148-181de3b92474" providerId="ADAL" clId="{A436842E-EA5C-4A6D-B51D-DDAE8BC6E9BD}" dt="2023-11-08T04:35:46.880" v="76311" actId="1036"/>
          <ac:grpSpMkLst>
            <pc:docMk/>
            <pc:sldMk cId="658758765" sldId="425"/>
            <ac:grpSpMk id="25" creationId="{875F81C2-033C-E7AE-486A-7DDA72DC8FBD}"/>
          </ac:grpSpMkLst>
        </pc:grpChg>
        <pc:graphicFrameChg chg="mod">
          <ac:chgData name="Tan, Roger" userId="f6f33758-bd69-4951-8148-181de3b92474" providerId="ADAL" clId="{A436842E-EA5C-4A6D-B51D-DDAE8BC6E9BD}" dt="2023-11-08T05:08:13.479" v="76624"/>
          <ac:graphicFrameMkLst>
            <pc:docMk/>
            <pc:sldMk cId="658758765" sldId="425"/>
            <ac:graphicFrameMk id="14" creationId="{17A90CED-A26D-EE3C-D1E0-6B7BEBBD1632}"/>
          </ac:graphicFrameMkLst>
        </pc:graphicFrameChg>
        <pc:cxnChg chg="mod">
          <ac:chgData name="Tan, Roger" userId="f6f33758-bd69-4951-8148-181de3b92474" providerId="ADAL" clId="{A436842E-EA5C-4A6D-B51D-DDAE8BC6E9BD}" dt="2023-11-08T05:20:57.420" v="76846" actId="14100"/>
          <ac:cxnSpMkLst>
            <pc:docMk/>
            <pc:sldMk cId="658758765" sldId="425"/>
            <ac:cxnSpMk id="11" creationId="{0967AA3F-D90F-0895-AB76-967203AFFA19}"/>
          </ac:cxnSpMkLst>
        </pc:cxnChg>
      </pc:sldChg>
      <pc:sldChg chg="addSp delSp modSp add del mod">
        <pc:chgData name="Tan, Roger" userId="f6f33758-bd69-4951-8148-181de3b92474" providerId="ADAL" clId="{A436842E-EA5C-4A6D-B51D-DDAE8BC6E9BD}" dt="2023-11-08T18:55:57.730" v="80048" actId="47"/>
        <pc:sldMkLst>
          <pc:docMk/>
          <pc:sldMk cId="1311883960" sldId="426"/>
        </pc:sldMkLst>
        <pc:spChg chg="mod">
          <ac:chgData name="Tan, Roger" userId="f6f33758-bd69-4951-8148-181de3b92474" providerId="ADAL" clId="{A436842E-EA5C-4A6D-B51D-DDAE8BC6E9BD}" dt="2023-11-08T17:40:36.082" v="77913" actId="20577"/>
          <ac:spMkLst>
            <pc:docMk/>
            <pc:sldMk cId="1311883960" sldId="426"/>
            <ac:spMk id="3" creationId="{B1E79FE8-2D4E-C8FB-047E-94FA900BEFC6}"/>
          </ac:spMkLst>
        </pc:spChg>
        <pc:spChg chg="add mod">
          <ac:chgData name="Tan, Roger" userId="f6f33758-bd69-4951-8148-181de3b92474" providerId="ADAL" clId="{A436842E-EA5C-4A6D-B51D-DDAE8BC6E9BD}" dt="2023-11-07T17:54:55.590" v="74426" actId="14100"/>
          <ac:spMkLst>
            <pc:docMk/>
            <pc:sldMk cId="1311883960" sldId="426"/>
            <ac:spMk id="5" creationId="{F98E0085-1B2F-8FCC-5104-FE58AE5DF7E0}"/>
          </ac:spMkLst>
        </pc:spChg>
        <pc:picChg chg="del">
          <ac:chgData name="Tan, Roger" userId="f6f33758-bd69-4951-8148-181de3b92474" providerId="ADAL" clId="{A436842E-EA5C-4A6D-B51D-DDAE8BC6E9BD}" dt="2023-11-07T17:53:57.828" v="74411" actId="478"/>
          <ac:picMkLst>
            <pc:docMk/>
            <pc:sldMk cId="1311883960" sldId="426"/>
            <ac:picMk id="2" creationId="{069BF968-B16F-9206-F10E-413230A4F695}"/>
          </ac:picMkLst>
        </pc:picChg>
      </pc:sldChg>
      <pc:sldChg chg="addSp modSp add del mod modAnim">
        <pc:chgData name="Tan, Roger" userId="f6f33758-bd69-4951-8148-181de3b92474" providerId="ADAL" clId="{A436842E-EA5C-4A6D-B51D-DDAE8BC6E9BD}" dt="2023-11-07T09:58:09.404" v="73236" actId="47"/>
        <pc:sldMkLst>
          <pc:docMk/>
          <pc:sldMk cId="4125416607" sldId="426"/>
        </pc:sldMkLst>
        <pc:spChg chg="mod">
          <ac:chgData name="Tan, Roger" userId="f6f33758-bd69-4951-8148-181de3b92474" providerId="ADAL" clId="{A436842E-EA5C-4A6D-B51D-DDAE8BC6E9BD}" dt="2023-11-07T09:55:42.584" v="73233" actId="1076"/>
          <ac:spMkLst>
            <pc:docMk/>
            <pc:sldMk cId="4125416607" sldId="426"/>
            <ac:spMk id="3" creationId="{4BCB11A1-42B8-165C-2B8D-F05491584768}"/>
          </ac:spMkLst>
        </pc:spChg>
        <pc:spChg chg="add mod">
          <ac:chgData name="Tan, Roger" userId="f6f33758-bd69-4951-8148-181de3b92474" providerId="ADAL" clId="{A436842E-EA5C-4A6D-B51D-DDAE8BC6E9BD}" dt="2023-11-07T09:55:22.395" v="73231"/>
          <ac:spMkLst>
            <pc:docMk/>
            <pc:sldMk cId="4125416607" sldId="426"/>
            <ac:spMk id="7" creationId="{F04EB4D5-0D1E-61D3-C6D8-8EF77FBA022B}"/>
          </ac:spMkLst>
        </pc:spChg>
        <pc:graphicFrameChg chg="add mod">
          <ac:chgData name="Tan, Roger" userId="f6f33758-bd69-4951-8148-181de3b92474" providerId="ADAL" clId="{A436842E-EA5C-4A6D-B51D-DDAE8BC6E9BD}" dt="2023-11-07T09:55:22.395" v="73231"/>
          <ac:graphicFrameMkLst>
            <pc:docMk/>
            <pc:sldMk cId="4125416607" sldId="426"/>
            <ac:graphicFrameMk id="5" creationId="{25D91C37-6153-6D6E-796E-BC50252689B2}"/>
          </ac:graphicFrameMkLst>
        </pc:graphicFrameChg>
      </pc:sldChg>
      <pc:sldChg chg="addSp delSp modSp add mod">
        <pc:chgData name="Tan, Roger" userId="f6f33758-bd69-4951-8148-181de3b92474" providerId="ADAL" clId="{A436842E-EA5C-4A6D-B51D-DDAE8BC6E9BD}" dt="2023-11-08T22:16:33.279" v="81325"/>
        <pc:sldMkLst>
          <pc:docMk/>
          <pc:sldMk cId="2905571673" sldId="427"/>
        </pc:sldMkLst>
        <pc:spChg chg="add del mod">
          <ac:chgData name="Tan, Roger" userId="f6f33758-bd69-4951-8148-181de3b92474" providerId="ADAL" clId="{A436842E-EA5C-4A6D-B51D-DDAE8BC6E9BD}" dt="2023-11-08T21:56:33.139" v="81118" actId="478"/>
          <ac:spMkLst>
            <pc:docMk/>
            <pc:sldMk cId="2905571673" sldId="427"/>
            <ac:spMk id="2" creationId="{A45F1ACA-4FAB-50CC-74AA-0047B7EE24F4}"/>
          </ac:spMkLst>
        </pc:spChg>
        <pc:spChg chg="mod ord">
          <ac:chgData name="Tan, Roger" userId="f6f33758-bd69-4951-8148-181de3b92474" providerId="ADAL" clId="{A436842E-EA5C-4A6D-B51D-DDAE8BC6E9BD}" dt="2023-11-08T17:40:38.623" v="77914" actId="20577"/>
          <ac:spMkLst>
            <pc:docMk/>
            <pc:sldMk cId="2905571673" sldId="427"/>
            <ac:spMk id="3" creationId="{B1E79FE8-2D4E-C8FB-047E-94FA900BEFC6}"/>
          </ac:spMkLst>
        </pc:spChg>
        <pc:spChg chg="add mod">
          <ac:chgData name="Tan, Roger" userId="f6f33758-bd69-4951-8148-181de3b92474" providerId="ADAL" clId="{A436842E-EA5C-4A6D-B51D-DDAE8BC6E9BD}" dt="2023-11-08T22:16:33.279" v="81325"/>
          <ac:spMkLst>
            <pc:docMk/>
            <pc:sldMk cId="2905571673" sldId="427"/>
            <ac:spMk id="4" creationId="{3520DCB2-637E-5918-48EC-F598FAF46877}"/>
          </ac:spMkLst>
        </pc:spChg>
        <pc:spChg chg="del">
          <ac:chgData name="Tan, Roger" userId="f6f33758-bd69-4951-8148-181de3b92474" providerId="ADAL" clId="{A436842E-EA5C-4A6D-B51D-DDAE8BC6E9BD}" dt="2023-11-07T17:56:58.198" v="74489" actId="478"/>
          <ac:spMkLst>
            <pc:docMk/>
            <pc:sldMk cId="2905571673" sldId="427"/>
            <ac:spMk id="5" creationId="{F98E0085-1B2F-8FCC-5104-FE58AE5DF7E0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6" creationId="{A8BA24D8-D5E9-4980-DB60-512D36358D50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7" creationId="{F4F2A0BB-C071-0F9B-699D-E07A9A4D6828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0" creationId="{00930471-981F-51EA-48FA-9AA3ED591DA0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1" creationId="{2C6552ED-A4C7-609A-088C-F72643538673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3" creationId="{EB46D7E9-37C4-14F7-763C-F56D45D7ECA9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4" creationId="{16D4B6F7-B9B2-252B-327E-75D33BA86290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5" creationId="{503FF244-3AF8-AED6-CFC4-6B275A701B7B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8" creationId="{8E35AEAF-880A-F4BA-6F86-C5F8054E0FF2}"/>
          </ac:spMkLst>
        </pc:spChg>
        <pc:spChg chg="mod">
          <ac:chgData name="Tan, Roger" userId="f6f33758-bd69-4951-8148-181de3b92474" providerId="ADAL" clId="{A436842E-EA5C-4A6D-B51D-DDAE8BC6E9BD}" dt="2023-11-07T17:58:03.795" v="74505" actId="404"/>
          <ac:spMkLst>
            <pc:docMk/>
            <pc:sldMk cId="2905571673" sldId="427"/>
            <ac:spMk id="19" creationId="{B8D85287-80AB-9883-13FC-71DB31EE8ABA}"/>
          </ac:spMkLst>
        </pc:spChg>
        <pc:spChg chg="del mod">
          <ac:chgData name="Tan, Roger" userId="f6f33758-bd69-4951-8148-181de3b92474" providerId="ADAL" clId="{A436842E-EA5C-4A6D-B51D-DDAE8BC6E9BD}" dt="2023-11-07T18:00:49.432" v="74657" actId="478"/>
          <ac:spMkLst>
            <pc:docMk/>
            <pc:sldMk cId="2905571673" sldId="427"/>
            <ac:spMk id="29" creationId="{6A8CDE17-22F1-911A-7CA0-813E385C4ABC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0" creationId="{608931BC-88EC-26D4-DB35-8987138635ED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1" creationId="{875E1B05-8145-679C-815C-5CED68701444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2" creationId="{9DDB2370-D61B-8798-47EF-1648CF94E59B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3" creationId="{4EE202E7-F566-F7DC-AA5C-C98A09B95C53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4" creationId="{0BD43BBD-9645-97B4-07E1-4E44C5843CC8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5" creationId="{07CAF238-81DC-F7DF-6F73-F19EEE8E8F8C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6" creationId="{00C9E4DE-E77B-4977-5B8B-3D23F7AAB90F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37" creationId="{46729D9F-6476-0378-399F-656C1F6563D5}"/>
          </ac:spMkLst>
        </pc:spChg>
        <pc:spChg chg="mo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40" creationId="{47962938-DF29-E357-1A66-C912F26FB9C4}"/>
          </ac:spMkLst>
        </pc:spChg>
        <pc:spChg chg="add del mod">
          <ac:chgData name="Tan, Roger" userId="f6f33758-bd69-4951-8148-181de3b92474" providerId="ADAL" clId="{A436842E-EA5C-4A6D-B51D-DDAE8BC6E9BD}" dt="2023-11-07T17:58:46.130" v="74523" actId="478"/>
          <ac:spMkLst>
            <pc:docMk/>
            <pc:sldMk cId="2905571673" sldId="427"/>
            <ac:spMk id="52" creationId="{7B0C1A9C-E8F1-76BF-7492-14781290BE8D}"/>
          </ac:spMkLst>
        </pc:spChg>
        <pc:spChg chg="add del mod">
          <ac:chgData name="Tan, Roger" userId="f6f33758-bd69-4951-8148-181de3b92474" providerId="ADAL" clId="{A436842E-EA5C-4A6D-B51D-DDAE8BC6E9BD}" dt="2023-11-07T17:57:08.748" v="74492" actId="478"/>
          <ac:spMkLst>
            <pc:docMk/>
            <pc:sldMk cId="2905571673" sldId="427"/>
            <ac:spMk id="54" creationId="{2E139F40-701D-8B8E-83E7-3D19D6D01F04}"/>
          </ac:spMkLst>
        </pc:spChg>
        <pc:spChg chg="add mod or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55" creationId="{C6BC01C7-42F5-A342-A88B-36A12A3A61AB}"/>
          </ac:spMkLst>
        </pc:spChg>
        <pc:spChg chg="add mod ord">
          <ac:chgData name="Tan, Roger" userId="f6f33758-bd69-4951-8148-181de3b92474" providerId="ADAL" clId="{A436842E-EA5C-4A6D-B51D-DDAE8BC6E9BD}" dt="2023-11-07T18:05:39.906" v="74858" actId="208"/>
          <ac:spMkLst>
            <pc:docMk/>
            <pc:sldMk cId="2905571673" sldId="427"/>
            <ac:spMk id="56" creationId="{DDBB4C99-5D32-C863-8058-35FE15BFE98F}"/>
          </ac:spMkLst>
        </pc:spChg>
        <pc:grpChg chg="add del mod">
          <ac:chgData name="Tan, Roger" userId="f6f33758-bd69-4951-8148-181de3b92474" providerId="ADAL" clId="{A436842E-EA5C-4A6D-B51D-DDAE8BC6E9BD}" dt="2023-11-07T17:58:46.130" v="74523" actId="478"/>
          <ac:grpSpMkLst>
            <pc:docMk/>
            <pc:sldMk cId="2905571673" sldId="427"/>
            <ac:grpSpMk id="2" creationId="{A0E19DC5-C3D2-24AF-4C70-E5FB4CF159AB}"/>
          </ac:grpSpMkLst>
        </pc:grpChg>
        <pc:grpChg chg="mod">
          <ac:chgData name="Tan, Roger" userId="f6f33758-bd69-4951-8148-181de3b92474" providerId="ADAL" clId="{A436842E-EA5C-4A6D-B51D-DDAE8BC6E9BD}" dt="2023-11-07T17:56:58.434" v="74490"/>
          <ac:grpSpMkLst>
            <pc:docMk/>
            <pc:sldMk cId="2905571673" sldId="427"/>
            <ac:grpSpMk id="4" creationId="{8AEBA683-666B-093B-DCA2-C2D5CB7D7573}"/>
          </ac:grpSpMkLst>
        </pc:grpChg>
        <pc:grpChg chg="add del mod or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20" creationId="{CBE0E345-3208-5525-DA3A-FCEEB6290317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22" creationId="{5136381B-BDF8-7A89-0747-87E59FE279B8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28" creationId="{5FD5654A-270A-1492-CB5E-FF0B48C5277A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39" creationId="{86A66011-B8AD-D680-D6BF-BB76F5F4EE41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41" creationId="{39241F86-04AC-0747-02C5-4FD8A54235DB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45" creationId="{70C3B71A-12AF-98F7-3E90-15F4E2B7BD7A}"/>
          </ac:grpSpMkLst>
        </pc:grpChg>
        <pc:grpChg chg="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47" creationId="{5D809175-BCB9-11BB-38AA-22E5F414B3A4}"/>
          </ac:grpSpMkLst>
        </pc:grpChg>
        <pc:grpChg chg="add mod">
          <ac:chgData name="Tan, Roger" userId="f6f33758-bd69-4951-8148-181de3b92474" providerId="ADAL" clId="{A436842E-EA5C-4A6D-B51D-DDAE8BC6E9BD}" dt="2023-11-07T18:05:28.821" v="74856" actId="207"/>
          <ac:grpSpMkLst>
            <pc:docMk/>
            <pc:sldMk cId="2905571673" sldId="427"/>
            <ac:grpSpMk id="92" creationId="{3A085A4D-EB37-D4E8-F5B7-4E6CF2F01A52}"/>
          </ac:grpSpMkLst>
        </pc:grpChg>
        <pc:graphicFrameChg chg="add mod ord modVis replST">
          <ac:chgData name="Tan, Roger" userId="f6f33758-bd69-4951-8148-181de3b92474" providerId="ADAL" clId="{A436842E-EA5C-4A6D-B51D-DDAE8BC6E9BD}" dt="2023-11-07T18:04:43.424" v="74847"/>
          <ac:graphicFrameMkLst>
            <pc:docMk/>
            <pc:sldMk cId="2905571673" sldId="427"/>
            <ac:graphicFrameMk id="65" creationId="{95518805-6D36-9658-C5BD-43E12E3DE3FF}"/>
          </ac:graphicFrameMkLst>
        </pc:graphicFrameChg>
        <pc:cxnChg chg="mod">
          <ac:chgData name="Tan, Roger" userId="f6f33758-bd69-4951-8148-181de3b92474" providerId="ADAL" clId="{A436842E-EA5C-4A6D-B51D-DDAE8BC6E9BD}" dt="2023-11-07T17:56:58.434" v="74490"/>
          <ac:cxnSpMkLst>
            <pc:docMk/>
            <pc:sldMk cId="2905571673" sldId="427"/>
            <ac:cxnSpMk id="8" creationId="{3C4286FF-09AF-2FCB-4151-E799092535CC}"/>
          </ac:cxnSpMkLst>
        </pc:cxnChg>
        <pc:cxnChg chg="mod">
          <ac:chgData name="Tan, Roger" userId="f6f33758-bd69-4951-8148-181de3b92474" providerId="ADAL" clId="{A436842E-EA5C-4A6D-B51D-DDAE8BC6E9BD}" dt="2023-11-07T17:56:58.434" v="74490"/>
          <ac:cxnSpMkLst>
            <pc:docMk/>
            <pc:sldMk cId="2905571673" sldId="427"/>
            <ac:cxnSpMk id="9" creationId="{6A4E4A6B-31BB-FD58-F9CA-D8FA01DFADDE}"/>
          </ac:cxnSpMkLst>
        </pc:cxnChg>
        <pc:cxnChg chg="mod">
          <ac:chgData name="Tan, Roger" userId="f6f33758-bd69-4951-8148-181de3b92474" providerId="ADAL" clId="{A436842E-EA5C-4A6D-B51D-DDAE8BC6E9BD}" dt="2023-11-07T17:56:58.434" v="74490"/>
          <ac:cxnSpMkLst>
            <pc:docMk/>
            <pc:sldMk cId="2905571673" sldId="427"/>
            <ac:cxnSpMk id="12" creationId="{0BF32250-96BA-A9F2-4654-4D57AC0DD942}"/>
          </ac:cxnSpMkLst>
        </pc:cxnChg>
        <pc:cxnChg chg="mod">
          <ac:chgData name="Tan, Roger" userId="f6f33758-bd69-4951-8148-181de3b92474" providerId="ADAL" clId="{A436842E-EA5C-4A6D-B51D-DDAE8BC6E9BD}" dt="2023-11-07T17:56:58.434" v="74490"/>
          <ac:cxnSpMkLst>
            <pc:docMk/>
            <pc:sldMk cId="2905571673" sldId="427"/>
            <ac:cxnSpMk id="16" creationId="{C575D3D9-F9F2-BF54-A84D-B2F326598BBB}"/>
          </ac:cxnSpMkLst>
        </pc:cxnChg>
        <pc:cxnChg chg="mod">
          <ac:chgData name="Tan, Roger" userId="f6f33758-bd69-4951-8148-181de3b92474" providerId="ADAL" clId="{A436842E-EA5C-4A6D-B51D-DDAE8BC6E9BD}" dt="2023-11-07T17:56:58.434" v="74490"/>
          <ac:cxnSpMkLst>
            <pc:docMk/>
            <pc:sldMk cId="2905571673" sldId="427"/>
            <ac:cxnSpMk id="17" creationId="{73C8BD3C-57B7-CC23-A8AE-E52B9D6F148E}"/>
          </ac:cxnSpMkLst>
        </pc:cxnChg>
        <pc:cxnChg chg="del mod">
          <ac:chgData name="Tan, Roger" userId="f6f33758-bd69-4951-8148-181de3b92474" providerId="ADAL" clId="{A436842E-EA5C-4A6D-B51D-DDAE8BC6E9BD}" dt="2023-11-07T18:00:53.457" v="74660" actId="478"/>
          <ac:cxnSpMkLst>
            <pc:docMk/>
            <pc:sldMk cId="2905571673" sldId="427"/>
            <ac:cxnSpMk id="21" creationId="{D9FDB50E-454D-42C2-C771-DF355CD2C193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23" creationId="{887BB39C-F1D6-35AC-7EFC-F4C1AF34BF6A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24" creationId="{E7361201-262F-5055-06D5-AC2A43F46759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25" creationId="{FBF62BD7-E661-3246-3C8B-C493A1B4AF56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26" creationId="{B4047B15-8819-C550-6AAC-689505C9410D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27" creationId="{4FABCE9A-00A5-8760-CBE1-336515B7BE74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38" creationId="{29043455-84F7-D0CB-E7FF-8AD68A4542D7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2" creationId="{B9FFEBCD-1C98-CDBE-014A-65FAA8CC000D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3" creationId="{2687A6F0-EC56-8E3F-F655-E29CC46605E8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4" creationId="{8A72ED83-6D8D-55EF-707F-8FC9DDE08019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6" creationId="{62240D32-4D8F-37FB-C2CC-0450623D5B68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8" creationId="{FCCA49F2-3A95-674D-C464-6E22684B6453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49" creationId="{B3243590-4B26-DBD0-F7C9-375F330E6FDA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50" creationId="{962C9A42-9CD7-2644-896F-5BB7E672EDBD}"/>
          </ac:cxnSpMkLst>
        </pc:cxnChg>
        <pc:cxnChg chg="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51" creationId="{4CC92373-4D49-1B2C-A30E-D75EF8CF3AB5}"/>
          </ac:cxnSpMkLst>
        </pc:cxnChg>
        <pc:cxnChg chg="add del mod">
          <ac:chgData name="Tan, Roger" userId="f6f33758-bd69-4951-8148-181de3b92474" providerId="ADAL" clId="{A436842E-EA5C-4A6D-B51D-DDAE8BC6E9BD}" dt="2023-11-07T17:58:46.130" v="74523" actId="478"/>
          <ac:cxnSpMkLst>
            <pc:docMk/>
            <pc:sldMk cId="2905571673" sldId="427"/>
            <ac:cxnSpMk id="53" creationId="{1A6D1076-2C59-169F-F9B8-38DAC820A689}"/>
          </ac:cxnSpMkLst>
        </pc:cxnChg>
        <pc:cxnChg chg="add del mod">
          <ac:chgData name="Tan, Roger" userId="f6f33758-bd69-4951-8148-181de3b92474" providerId="ADAL" clId="{A436842E-EA5C-4A6D-B51D-DDAE8BC6E9BD}" dt="2023-11-07T18:03:14.620" v="74775"/>
          <ac:cxnSpMkLst>
            <pc:docMk/>
            <pc:sldMk cId="2905571673" sldId="427"/>
            <ac:cxnSpMk id="62" creationId="{42CE4493-CFC6-CA90-C9AF-300D65804541}"/>
          </ac:cxnSpMkLst>
        </pc:cxnChg>
        <pc:cxnChg chg="add mod or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63" creationId="{C1839C42-0101-6738-D260-4A51F569815A}"/>
          </ac:cxnSpMkLst>
        </pc:cxnChg>
        <pc:cxnChg chg="add mod or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77" creationId="{CD5DAF67-2E91-FEA9-086E-AF24783A11E4}"/>
          </ac:cxnSpMkLst>
        </pc:cxnChg>
        <pc:cxnChg chg="add mod">
          <ac:chgData name="Tan, Roger" userId="f6f33758-bd69-4951-8148-181de3b92474" providerId="ADAL" clId="{A436842E-EA5C-4A6D-B51D-DDAE8BC6E9BD}" dt="2023-11-07T18:05:39.906" v="74858" actId="208"/>
          <ac:cxnSpMkLst>
            <pc:docMk/>
            <pc:sldMk cId="2905571673" sldId="427"/>
            <ac:cxnSpMk id="89" creationId="{4F2675BE-C48E-8CB0-0FE2-3421E4205681}"/>
          </ac:cxnSpMkLst>
        </pc:cxnChg>
      </pc:sldChg>
      <pc:sldChg chg="addSp delSp modSp add mod">
        <pc:chgData name="Tan, Roger" userId="f6f33758-bd69-4951-8148-181de3b92474" providerId="ADAL" clId="{A436842E-EA5C-4A6D-B51D-DDAE8BC6E9BD}" dt="2023-11-08T22:16:34.089" v="81326"/>
        <pc:sldMkLst>
          <pc:docMk/>
          <pc:sldMk cId="3290693362" sldId="428"/>
        </pc:sldMkLst>
        <pc:spChg chg="mod">
          <ac:chgData name="Tan, Roger" userId="f6f33758-bd69-4951-8148-181de3b92474" providerId="ADAL" clId="{A436842E-EA5C-4A6D-B51D-DDAE8BC6E9BD}" dt="2023-11-08T17:40:40.669" v="77915" actId="20577"/>
          <ac:spMkLst>
            <pc:docMk/>
            <pc:sldMk cId="3290693362" sldId="428"/>
            <ac:spMk id="3" creationId="{B1E79FE8-2D4E-C8FB-047E-94FA900BEFC6}"/>
          </ac:spMkLst>
        </pc:spChg>
        <pc:spChg chg="add del mod">
          <ac:chgData name="Tan, Roger" userId="f6f33758-bd69-4951-8148-181de3b92474" providerId="ADAL" clId="{A436842E-EA5C-4A6D-B51D-DDAE8BC6E9BD}" dt="2023-11-08T21:56:34.440" v="81119" actId="478"/>
          <ac:spMkLst>
            <pc:docMk/>
            <pc:sldMk cId="3290693362" sldId="428"/>
            <ac:spMk id="5" creationId="{1920D074-25CF-842E-7D57-67FDCF7E5E94}"/>
          </ac:spMkLst>
        </pc:spChg>
        <pc:spChg chg="add mod">
          <ac:chgData name="Tan, Roger" userId="f6f33758-bd69-4951-8148-181de3b92474" providerId="ADAL" clId="{A436842E-EA5C-4A6D-B51D-DDAE8BC6E9BD}" dt="2023-11-08T22:16:34.089" v="81326"/>
          <ac:spMkLst>
            <pc:docMk/>
            <pc:sldMk cId="3290693362" sldId="428"/>
            <ac:spMk id="6" creationId="{0E52A658-1D8D-D5BC-F641-02160D5710B3}"/>
          </ac:spMkLst>
        </pc:spChg>
        <pc:grpChg chg="del">
          <ac:chgData name="Tan, Roger" userId="f6f33758-bd69-4951-8148-181de3b92474" providerId="ADAL" clId="{A436842E-EA5C-4A6D-B51D-DDAE8BC6E9BD}" dt="2023-11-07T18:06:19.223" v="74878" actId="478"/>
          <ac:grpSpMkLst>
            <pc:docMk/>
            <pc:sldMk cId="3290693362" sldId="428"/>
            <ac:grpSpMk id="92" creationId="{3A085A4D-EB37-D4E8-F5B7-4E6CF2F01A52}"/>
          </ac:grpSpMkLst>
        </pc:grpChg>
        <pc:graphicFrameChg chg="add mod modGraphic">
          <ac:chgData name="Tan, Roger" userId="f6f33758-bd69-4951-8148-181de3b92474" providerId="ADAL" clId="{A436842E-EA5C-4A6D-B51D-DDAE8BC6E9BD}" dt="2023-11-07T18:07:27.374" v="74893" actId="113"/>
          <ac:graphicFrameMkLst>
            <pc:docMk/>
            <pc:sldMk cId="3290693362" sldId="428"/>
            <ac:graphicFrameMk id="2" creationId="{EB0964D0-F261-0707-96A1-4E835F96F826}"/>
          </ac:graphicFrameMkLst>
        </pc:graphicFrame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23" creationId="{887BB39C-F1D6-35AC-7EFC-F4C1AF34BF6A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24" creationId="{E7361201-262F-5055-06D5-AC2A43F46759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25" creationId="{FBF62BD7-E661-3246-3C8B-C493A1B4AF56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38" creationId="{29043455-84F7-D0CB-E7FF-8AD68A4542D7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42" creationId="{B9FFEBCD-1C98-CDBE-014A-65FAA8CC000D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44" creationId="{8A72ED83-6D8D-55EF-707F-8FC9DDE08019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46" creationId="{62240D32-4D8F-37FB-C2CC-0450623D5B68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48" creationId="{FCCA49F2-3A95-674D-C464-6E22684B6453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49" creationId="{B3243590-4B26-DBD0-F7C9-375F330E6FDA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63" creationId="{C1839C42-0101-6738-D260-4A51F569815A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77" creationId="{CD5DAF67-2E91-FEA9-086E-AF24783A11E4}"/>
          </ac:cxnSpMkLst>
        </pc:cxnChg>
        <pc:cxnChg chg="mod">
          <ac:chgData name="Tan, Roger" userId="f6f33758-bd69-4951-8148-181de3b92474" providerId="ADAL" clId="{A436842E-EA5C-4A6D-B51D-DDAE8BC6E9BD}" dt="2023-11-07T18:06:19.223" v="74878" actId="478"/>
          <ac:cxnSpMkLst>
            <pc:docMk/>
            <pc:sldMk cId="3290693362" sldId="428"/>
            <ac:cxnSpMk id="89" creationId="{4F2675BE-C48E-8CB0-0FE2-3421E4205681}"/>
          </ac:cxnSpMkLst>
        </pc:cxnChg>
      </pc:sldChg>
      <pc:sldChg chg="addSp delSp modSp new add mod">
        <pc:chgData name="Tan, Roger" userId="f6f33758-bd69-4951-8148-181de3b92474" providerId="ADAL" clId="{A436842E-EA5C-4A6D-B51D-DDAE8BC6E9BD}" dt="2023-11-08T22:16:34.906" v="81327"/>
        <pc:sldMkLst>
          <pc:docMk/>
          <pc:sldMk cId="1671997131" sldId="429"/>
        </pc:sldMkLst>
        <pc:spChg chg="add mod">
          <ac:chgData name="Tan, Roger" userId="f6f33758-bd69-4951-8148-181de3b92474" providerId="ADAL" clId="{A436842E-EA5C-4A6D-B51D-DDAE8BC6E9BD}" dt="2023-11-08T17:40:42.692" v="77916" actId="20577"/>
          <ac:spMkLst>
            <pc:docMk/>
            <pc:sldMk cId="1671997131" sldId="429"/>
            <ac:spMk id="2" creationId="{ADC56487-B60C-63E9-1026-733869B06F57}"/>
          </ac:spMkLst>
        </pc:spChg>
        <pc:spChg chg="add del mod">
          <ac:chgData name="Tan, Roger" userId="f6f33758-bd69-4951-8148-181de3b92474" providerId="ADAL" clId="{A436842E-EA5C-4A6D-B51D-DDAE8BC6E9BD}" dt="2023-11-08T21:56:36.032" v="81120" actId="478"/>
          <ac:spMkLst>
            <pc:docMk/>
            <pc:sldMk cId="1671997131" sldId="429"/>
            <ac:spMk id="4" creationId="{24E774A0-80A1-15B5-781F-93E69A0884C5}"/>
          </ac:spMkLst>
        </pc:spChg>
        <pc:spChg chg="add mod">
          <ac:chgData name="Tan, Roger" userId="f6f33758-bd69-4951-8148-181de3b92474" providerId="ADAL" clId="{A436842E-EA5C-4A6D-B51D-DDAE8BC6E9BD}" dt="2023-11-08T22:16:34.906" v="81327"/>
          <ac:spMkLst>
            <pc:docMk/>
            <pc:sldMk cId="1671997131" sldId="429"/>
            <ac:spMk id="5" creationId="{8CE0E244-DB36-514D-A629-BBEC00DCA13E}"/>
          </ac:spMkLst>
        </pc:spChg>
        <pc:spChg chg="add del">
          <ac:chgData name="Tan, Roger" userId="f6f33758-bd69-4951-8148-181de3b92474" providerId="ADAL" clId="{A436842E-EA5C-4A6D-B51D-DDAE8BC6E9BD}" dt="2023-11-07T18:09:25.511" v="74931" actId="22"/>
          <ac:spMkLst>
            <pc:docMk/>
            <pc:sldMk cId="1671997131" sldId="429"/>
            <ac:spMk id="5" creationId="{D1C756DF-32B8-795D-F206-17FF7D692C99}"/>
          </ac:spMkLst>
        </pc:spChg>
        <pc:spChg chg="add mod">
          <ac:chgData name="Tan, Roger" userId="f6f33758-bd69-4951-8148-181de3b92474" providerId="ADAL" clId="{A436842E-EA5C-4A6D-B51D-DDAE8BC6E9BD}" dt="2023-11-07T18:10:36.699" v="74954" actId="113"/>
          <ac:spMkLst>
            <pc:docMk/>
            <pc:sldMk cId="1671997131" sldId="429"/>
            <ac:spMk id="7" creationId="{0FAC2A42-EC52-34FA-3233-BCED39821B57}"/>
          </ac:spMkLst>
        </pc:spChg>
        <pc:spChg chg="add mod">
          <ac:chgData name="Tan, Roger" userId="f6f33758-bd69-4951-8148-181de3b92474" providerId="ADAL" clId="{A436842E-EA5C-4A6D-B51D-DDAE8BC6E9BD}" dt="2023-11-07T18:10:10.049" v="74949" actId="693"/>
          <ac:spMkLst>
            <pc:docMk/>
            <pc:sldMk cId="1671997131" sldId="429"/>
            <ac:spMk id="8" creationId="{84727B6A-0D3F-E32C-0EC3-69F07F3E4A60}"/>
          </ac:spMkLst>
        </pc:spChg>
        <pc:picChg chg="add mod">
          <ac:chgData name="Tan, Roger" userId="f6f33758-bd69-4951-8148-181de3b92474" providerId="ADAL" clId="{A436842E-EA5C-4A6D-B51D-DDAE8BC6E9BD}" dt="2023-11-07T18:09:34.245" v="74937" actId="1076"/>
          <ac:picMkLst>
            <pc:docMk/>
            <pc:sldMk cId="1671997131" sldId="429"/>
            <ac:picMk id="3" creationId="{8D659A2B-C3EB-8C68-E36E-BF648C245B2E}"/>
          </ac:picMkLst>
        </pc:picChg>
      </pc:sldChg>
      <pc:sldChg chg="addSp delSp modSp new add mod">
        <pc:chgData name="Tan, Roger" userId="f6f33758-bd69-4951-8148-181de3b92474" providerId="ADAL" clId="{A436842E-EA5C-4A6D-B51D-DDAE8BC6E9BD}" dt="2023-11-08T22:16:35.736" v="81328"/>
        <pc:sldMkLst>
          <pc:docMk/>
          <pc:sldMk cId="491186124" sldId="430"/>
        </pc:sldMkLst>
        <pc:spChg chg="add mod">
          <ac:chgData name="Tan, Roger" userId="f6f33758-bd69-4951-8148-181de3b92474" providerId="ADAL" clId="{A436842E-EA5C-4A6D-B51D-DDAE8BC6E9BD}" dt="2023-11-08T17:40:44.783" v="77917" actId="20577"/>
          <ac:spMkLst>
            <pc:docMk/>
            <pc:sldMk cId="491186124" sldId="430"/>
            <ac:spMk id="2" creationId="{5399C03E-7465-CA2F-740F-EDC2138B2594}"/>
          </ac:spMkLst>
        </pc:spChg>
        <pc:spChg chg="add del mod">
          <ac:chgData name="Tan, Roger" userId="f6f33758-bd69-4951-8148-181de3b92474" providerId="ADAL" clId="{A436842E-EA5C-4A6D-B51D-DDAE8BC6E9BD}" dt="2023-11-08T21:56:38.302" v="81121" actId="478"/>
          <ac:spMkLst>
            <pc:docMk/>
            <pc:sldMk cId="491186124" sldId="430"/>
            <ac:spMk id="5" creationId="{7EE2769B-FFE8-6150-445B-70A8778FCCA8}"/>
          </ac:spMkLst>
        </pc:spChg>
        <pc:spChg chg="add mod">
          <ac:chgData name="Tan, Roger" userId="f6f33758-bd69-4951-8148-181de3b92474" providerId="ADAL" clId="{A436842E-EA5C-4A6D-B51D-DDAE8BC6E9BD}" dt="2023-11-08T22:16:35.736" v="81328"/>
          <ac:spMkLst>
            <pc:docMk/>
            <pc:sldMk cId="491186124" sldId="430"/>
            <ac:spMk id="6" creationId="{D9044557-6072-DEA0-E24F-2C40B5252EED}"/>
          </ac:spMkLst>
        </pc:spChg>
        <pc:picChg chg="add mod">
          <ac:chgData name="Tan, Roger" userId="f6f33758-bd69-4951-8148-181de3b92474" providerId="ADAL" clId="{A436842E-EA5C-4A6D-B51D-DDAE8BC6E9BD}" dt="2023-11-07T18:11:09.969" v="74977" actId="1076"/>
          <ac:picMkLst>
            <pc:docMk/>
            <pc:sldMk cId="491186124" sldId="430"/>
            <ac:picMk id="3" creationId="{47EAB283-3500-D7EA-23E9-C06F18D46409}"/>
          </ac:picMkLst>
        </pc:picChg>
      </pc:sldChg>
      <pc:sldChg chg="addSp delSp modSp add mod">
        <pc:chgData name="Tan, Roger" userId="f6f33758-bd69-4951-8148-181de3b92474" providerId="ADAL" clId="{A436842E-EA5C-4A6D-B51D-DDAE8BC6E9BD}" dt="2023-11-08T22:16:44.415" v="81329"/>
        <pc:sldMkLst>
          <pc:docMk/>
          <pc:sldMk cId="2498983597" sldId="431"/>
        </pc:sldMkLst>
        <pc:spChg chg="mod">
          <ac:chgData name="Tan, Roger" userId="f6f33758-bd69-4951-8148-181de3b92474" providerId="ADAL" clId="{A436842E-EA5C-4A6D-B51D-DDAE8BC6E9BD}" dt="2023-11-08T17:40:47.029" v="77918" actId="20577"/>
          <ac:spMkLst>
            <pc:docMk/>
            <pc:sldMk cId="2498983597" sldId="431"/>
            <ac:spMk id="2" creationId="{5399C03E-7465-CA2F-740F-EDC2138B2594}"/>
          </ac:spMkLst>
        </pc:spChg>
        <pc:spChg chg="add del mod">
          <ac:chgData name="Tan, Roger" userId="f6f33758-bd69-4951-8148-181de3b92474" providerId="ADAL" clId="{A436842E-EA5C-4A6D-B51D-DDAE8BC6E9BD}" dt="2023-11-08T21:56:41.341" v="81122" actId="478"/>
          <ac:spMkLst>
            <pc:docMk/>
            <pc:sldMk cId="2498983597" sldId="431"/>
            <ac:spMk id="3" creationId="{E51D2F50-014B-45F0-5D16-B71D8539D51E}"/>
          </ac:spMkLst>
        </pc:spChg>
        <pc:spChg chg="add mod">
          <ac:chgData name="Tan, Roger" userId="f6f33758-bd69-4951-8148-181de3b92474" providerId="ADAL" clId="{A436842E-EA5C-4A6D-B51D-DDAE8BC6E9BD}" dt="2023-11-08T22:16:44.415" v="81329"/>
          <ac:spMkLst>
            <pc:docMk/>
            <pc:sldMk cId="2498983597" sldId="431"/>
            <ac:spMk id="6" creationId="{05F3AA00-D15C-3CAA-1B65-73C712911279}"/>
          </ac:spMkLst>
        </pc:spChg>
        <pc:picChg chg="del">
          <ac:chgData name="Tan, Roger" userId="f6f33758-bd69-4951-8148-181de3b92474" providerId="ADAL" clId="{A436842E-EA5C-4A6D-B51D-DDAE8BC6E9BD}" dt="2023-11-07T18:11:53.362" v="75044" actId="478"/>
          <ac:picMkLst>
            <pc:docMk/>
            <pc:sldMk cId="2498983597" sldId="431"/>
            <ac:picMk id="3" creationId="{47EAB283-3500-D7EA-23E9-C06F18D46409}"/>
          </ac:picMkLst>
        </pc:picChg>
        <pc:picChg chg="add mod">
          <ac:chgData name="Tan, Roger" userId="f6f33758-bd69-4951-8148-181de3b92474" providerId="ADAL" clId="{A436842E-EA5C-4A6D-B51D-DDAE8BC6E9BD}" dt="2023-11-07T18:12:03.799" v="75048" actId="14100"/>
          <ac:picMkLst>
            <pc:docMk/>
            <pc:sldMk cId="2498983597" sldId="431"/>
            <ac:picMk id="4" creationId="{FE70C641-D076-D6A8-C4AE-C370596F77AD}"/>
          </ac:picMkLst>
        </pc:picChg>
      </pc:sldChg>
      <pc:sldChg chg="addSp delSp modSp add mod modClrScheme chgLayout">
        <pc:chgData name="Tan, Roger" userId="f6f33758-bd69-4951-8148-181de3b92474" providerId="ADAL" clId="{A436842E-EA5C-4A6D-B51D-DDAE8BC6E9BD}" dt="2023-11-08T22:16:50.303" v="81331"/>
        <pc:sldMkLst>
          <pc:docMk/>
          <pc:sldMk cId="3937141441" sldId="432"/>
        </pc:sldMkLst>
        <pc:spChg chg="mod">
          <ac:chgData name="Tan, Roger" userId="f6f33758-bd69-4951-8148-181de3b92474" providerId="ADAL" clId="{A436842E-EA5C-4A6D-B51D-DDAE8BC6E9BD}" dt="2023-11-08T17:40:49.220" v="77919" actId="20577"/>
          <ac:spMkLst>
            <pc:docMk/>
            <pc:sldMk cId="3937141441" sldId="432"/>
            <ac:spMk id="2" creationId="{5399C03E-7465-CA2F-740F-EDC2138B2594}"/>
          </ac:spMkLst>
        </pc:spChg>
        <pc:spChg chg="add del mod">
          <ac:chgData name="Tan, Roger" userId="f6f33758-bd69-4951-8148-181de3b92474" providerId="ADAL" clId="{A436842E-EA5C-4A6D-B51D-DDAE8BC6E9BD}" dt="2023-11-08T21:56:42.698" v="81123" actId="478"/>
          <ac:spMkLst>
            <pc:docMk/>
            <pc:sldMk cId="3937141441" sldId="432"/>
            <ac:spMk id="5" creationId="{6FD85F4A-B516-A638-61BA-D2EC4A232944}"/>
          </ac:spMkLst>
        </pc:spChg>
        <pc:spChg chg="add mod">
          <ac:chgData name="Tan, Roger" userId="f6f33758-bd69-4951-8148-181de3b92474" providerId="ADAL" clId="{A436842E-EA5C-4A6D-B51D-DDAE8BC6E9BD}" dt="2023-11-08T22:16:50.303" v="81331"/>
          <ac:spMkLst>
            <pc:docMk/>
            <pc:sldMk cId="3937141441" sldId="432"/>
            <ac:spMk id="6" creationId="{0628A8E4-6C1F-F1B2-5D19-ECD8C17CB1F3}"/>
          </ac:spMkLst>
        </pc:spChg>
        <pc:picChg chg="mod">
          <ac:chgData name="Tan, Roger" userId="f6f33758-bd69-4951-8148-181de3b92474" providerId="ADAL" clId="{A436842E-EA5C-4A6D-B51D-DDAE8BC6E9BD}" dt="2023-11-07T18:19:53.195" v="75087" actId="1076"/>
          <ac:picMkLst>
            <pc:docMk/>
            <pc:sldMk cId="3937141441" sldId="432"/>
            <ac:picMk id="4" creationId="{FE70C641-D076-D6A8-C4AE-C370596F77AD}"/>
          </ac:picMkLst>
        </pc:picChg>
      </pc:sldChg>
      <pc:sldChg chg="addSp delSp modSp add mod modClrScheme chgLayout">
        <pc:chgData name="Tan, Roger" userId="f6f33758-bd69-4951-8148-181de3b92474" providerId="ADAL" clId="{A436842E-EA5C-4A6D-B51D-DDAE8BC6E9BD}" dt="2023-11-08T22:16:47.285" v="81330"/>
        <pc:sldMkLst>
          <pc:docMk/>
          <pc:sldMk cId="1221767676" sldId="433"/>
        </pc:sldMkLst>
        <pc:spChg chg="mod">
          <ac:chgData name="Tan, Roger" userId="f6f33758-bd69-4951-8148-181de3b92474" providerId="ADAL" clId="{A436842E-EA5C-4A6D-B51D-DDAE8BC6E9BD}" dt="2023-11-08T21:55:22.898" v="81108" actId="20577"/>
          <ac:spMkLst>
            <pc:docMk/>
            <pc:sldMk cId="1221767676" sldId="433"/>
            <ac:spMk id="2" creationId="{5399C03E-7465-CA2F-740F-EDC2138B2594}"/>
          </ac:spMkLst>
        </pc:spChg>
        <pc:spChg chg="add del mod">
          <ac:chgData name="Tan, Roger" userId="f6f33758-bd69-4951-8148-181de3b92474" providerId="ADAL" clId="{A436842E-EA5C-4A6D-B51D-DDAE8BC6E9BD}" dt="2023-11-08T21:56:44.291" v="81124" actId="478"/>
          <ac:spMkLst>
            <pc:docMk/>
            <pc:sldMk cId="1221767676" sldId="433"/>
            <ac:spMk id="5" creationId="{14BC53AD-7180-0C19-9E13-020C0BED0970}"/>
          </ac:spMkLst>
        </pc:spChg>
        <pc:spChg chg="add mod">
          <ac:chgData name="Tan, Roger" userId="f6f33758-bd69-4951-8148-181de3b92474" providerId="ADAL" clId="{A436842E-EA5C-4A6D-B51D-DDAE8BC6E9BD}" dt="2023-11-08T22:16:47.285" v="81330"/>
          <ac:spMkLst>
            <pc:docMk/>
            <pc:sldMk cId="1221767676" sldId="433"/>
            <ac:spMk id="6" creationId="{53721E01-E578-1540-2E71-419E2A78BA20}"/>
          </ac:spMkLst>
        </pc:spChg>
        <pc:picChg chg="mod">
          <ac:chgData name="Tan, Roger" userId="f6f33758-bd69-4951-8148-181de3b92474" providerId="ADAL" clId="{A436842E-EA5C-4A6D-B51D-DDAE8BC6E9BD}" dt="2023-11-07T18:20:20.593" v="75094" actId="14826"/>
          <ac:picMkLst>
            <pc:docMk/>
            <pc:sldMk cId="1221767676" sldId="433"/>
            <ac:picMk id="4" creationId="{FE70C641-D076-D6A8-C4AE-C370596F77AD}"/>
          </ac:picMkLst>
        </pc:picChg>
      </pc:sldChg>
      <pc:sldChg chg="addSp delSp modSp new add mod">
        <pc:chgData name="Tan, Roger" userId="f6f33758-bd69-4951-8148-181de3b92474" providerId="ADAL" clId="{A436842E-EA5C-4A6D-B51D-DDAE8BC6E9BD}" dt="2023-11-08T22:16:53.803" v="81333"/>
        <pc:sldMkLst>
          <pc:docMk/>
          <pc:sldMk cId="2084510560" sldId="434"/>
        </pc:sldMkLst>
        <pc:spChg chg="add mod">
          <ac:chgData name="Tan, Roger" userId="f6f33758-bd69-4951-8148-181de3b92474" providerId="ADAL" clId="{A436842E-EA5C-4A6D-B51D-DDAE8BC6E9BD}" dt="2023-11-08T17:41:11.754" v="77920" actId="20577"/>
          <ac:spMkLst>
            <pc:docMk/>
            <pc:sldMk cId="2084510560" sldId="434"/>
            <ac:spMk id="2" creationId="{E7F44E44-B4A2-3239-030E-CC17D25A9990}"/>
          </ac:spMkLst>
        </pc:spChg>
        <pc:spChg chg="add del mod">
          <ac:chgData name="Tan, Roger" userId="f6f33758-bd69-4951-8148-181de3b92474" providerId="ADAL" clId="{A436842E-EA5C-4A6D-B51D-DDAE8BC6E9BD}" dt="2023-11-08T21:56:59.328" v="81132" actId="478"/>
          <ac:spMkLst>
            <pc:docMk/>
            <pc:sldMk cId="2084510560" sldId="434"/>
            <ac:spMk id="5" creationId="{E25A64A4-F4C7-6061-4852-83A502A5525C}"/>
          </ac:spMkLst>
        </pc:spChg>
        <pc:spChg chg="add mod">
          <ac:chgData name="Tan, Roger" userId="f6f33758-bd69-4951-8148-181de3b92474" providerId="ADAL" clId="{A436842E-EA5C-4A6D-B51D-DDAE8BC6E9BD}" dt="2023-11-08T22:16:53.803" v="81333"/>
          <ac:spMkLst>
            <pc:docMk/>
            <pc:sldMk cId="2084510560" sldId="434"/>
            <ac:spMk id="6" creationId="{274FEBC9-3E17-53D7-1921-C47248EFC41A}"/>
          </ac:spMkLst>
        </pc:spChg>
        <pc:graphicFrameChg chg="add mod modGraphic">
          <ac:chgData name="Tan, Roger" userId="f6f33758-bd69-4951-8148-181de3b92474" providerId="ADAL" clId="{A436842E-EA5C-4A6D-B51D-DDAE8BC6E9BD}" dt="2023-11-08T17:43:27.588" v="77937" actId="27107"/>
          <ac:graphicFrameMkLst>
            <pc:docMk/>
            <pc:sldMk cId="2084510560" sldId="434"/>
            <ac:graphicFrameMk id="3" creationId="{DF96594D-CAD9-9C59-D531-8C01290DDEEA}"/>
          </ac:graphicFrameMkLst>
        </pc:graphicFrameChg>
      </pc:sldChg>
      <pc:sldChg chg="addSp delSp modSp add del mod">
        <pc:chgData name="Tan, Roger" userId="f6f33758-bd69-4951-8148-181de3b92474" providerId="ADAL" clId="{A436842E-EA5C-4A6D-B51D-DDAE8BC6E9BD}" dt="2023-11-08T18:19:28.410" v="78466" actId="47"/>
        <pc:sldMkLst>
          <pc:docMk/>
          <pc:sldMk cId="2150908605" sldId="435"/>
        </pc:sldMkLst>
        <pc:spChg chg="add del">
          <ac:chgData name="Tan, Roger" userId="f6f33758-bd69-4951-8148-181de3b92474" providerId="ADAL" clId="{A436842E-EA5C-4A6D-B51D-DDAE8BC6E9BD}" dt="2023-11-07T18:24:55.757" v="75261" actId="22"/>
          <ac:spMkLst>
            <pc:docMk/>
            <pc:sldMk cId="2150908605" sldId="435"/>
            <ac:spMk id="4" creationId="{04E39E4B-E60E-AED3-9AC0-1CE9192465B3}"/>
          </ac:spMkLst>
        </pc:spChg>
        <pc:spChg chg="add del mod">
          <ac:chgData name="Tan, Roger" userId="f6f33758-bd69-4951-8148-181de3b92474" providerId="ADAL" clId="{A436842E-EA5C-4A6D-B51D-DDAE8BC6E9BD}" dt="2023-11-07T18:26:12.590" v="75297" actId="20577"/>
          <ac:spMkLst>
            <pc:docMk/>
            <pc:sldMk cId="2150908605" sldId="435"/>
            <ac:spMk id="6" creationId="{7F24B19F-F6EC-9C3D-C026-CAD0AA47D2D9}"/>
          </ac:spMkLst>
        </pc:spChg>
        <pc:spChg chg="mod">
          <ac:chgData name="Tan, Roger" userId="f6f33758-bd69-4951-8148-181de3b92474" providerId="ADAL" clId="{A436842E-EA5C-4A6D-B51D-DDAE8BC6E9BD}" dt="2023-11-08T18:06:39.034" v="78166" actId="20577"/>
          <ac:spMkLst>
            <pc:docMk/>
            <pc:sldMk cId="2150908605" sldId="435"/>
            <ac:spMk id="25" creationId="{91448A82-D3F1-BCEF-9863-30B9F919645B}"/>
          </ac:spMkLst>
        </pc:spChg>
        <pc:graphicFrameChg chg="del">
          <ac:chgData name="Tan, Roger" userId="f6f33758-bd69-4951-8148-181de3b92474" providerId="ADAL" clId="{A436842E-EA5C-4A6D-B51D-DDAE8BC6E9BD}" dt="2023-11-07T18:24:35.345" v="75258" actId="478"/>
          <ac:graphicFrameMkLst>
            <pc:docMk/>
            <pc:sldMk cId="2150908605" sldId="435"/>
            <ac:graphicFrameMk id="24" creationId="{34DEFDFB-8146-D96A-B75B-2B1A24CF99CC}"/>
          </ac:graphicFrameMkLst>
        </pc:graphicFrameChg>
        <pc:picChg chg="del">
          <ac:chgData name="Tan, Roger" userId="f6f33758-bd69-4951-8148-181de3b92474" providerId="ADAL" clId="{A436842E-EA5C-4A6D-B51D-DDAE8BC6E9BD}" dt="2023-11-07T18:24:35.345" v="75258" actId="478"/>
          <ac:picMkLst>
            <pc:docMk/>
            <pc:sldMk cId="2150908605" sldId="435"/>
            <ac:picMk id="2" creationId="{DA796D4D-1D57-2B8F-983E-767CF419309D}"/>
          </ac:picMkLst>
        </pc:picChg>
        <pc:picChg chg="del">
          <ac:chgData name="Tan, Roger" userId="f6f33758-bd69-4951-8148-181de3b92474" providerId="ADAL" clId="{A436842E-EA5C-4A6D-B51D-DDAE8BC6E9BD}" dt="2023-11-07T18:24:35.345" v="75258" actId="478"/>
          <ac:picMkLst>
            <pc:docMk/>
            <pc:sldMk cId="2150908605" sldId="435"/>
            <ac:picMk id="23" creationId="{50D6DDB8-DF9E-49E0-5ABB-B8180B49D82A}"/>
          </ac:picMkLst>
        </pc:picChg>
      </pc:sldChg>
      <pc:sldChg chg="addSp delSp modSp add mod">
        <pc:chgData name="Tan, Roger" userId="f6f33758-bd69-4951-8148-181de3b92474" providerId="ADAL" clId="{A436842E-EA5C-4A6D-B51D-DDAE8BC6E9BD}" dt="2023-11-08T22:17:01.167" v="81340"/>
        <pc:sldMkLst>
          <pc:docMk/>
          <pc:sldMk cId="1986792322" sldId="436"/>
        </pc:sldMkLst>
        <pc:spChg chg="add del mod">
          <ac:chgData name="Tan, Roger" userId="f6f33758-bd69-4951-8148-181de3b92474" providerId="ADAL" clId="{A436842E-EA5C-4A6D-B51D-DDAE8BC6E9BD}" dt="2023-11-08T21:57:06.569" v="81135" actId="478"/>
          <ac:spMkLst>
            <pc:docMk/>
            <pc:sldMk cId="1986792322" sldId="436"/>
            <ac:spMk id="5" creationId="{FD24A4A3-C96E-CCBD-8E17-66EA6EB56F4A}"/>
          </ac:spMkLst>
        </pc:spChg>
        <pc:spChg chg="del">
          <ac:chgData name="Tan, Roger" userId="f6f33758-bd69-4951-8148-181de3b92474" providerId="ADAL" clId="{A436842E-EA5C-4A6D-B51D-DDAE8BC6E9BD}" dt="2023-11-07T18:26:25.630" v="75299" actId="478"/>
          <ac:spMkLst>
            <pc:docMk/>
            <pc:sldMk cId="1986792322" sldId="436"/>
            <ac:spMk id="6" creationId="{7F24B19F-F6EC-9C3D-C026-CAD0AA47D2D9}"/>
          </ac:spMkLst>
        </pc:spChg>
        <pc:spChg chg="add del mod">
          <ac:chgData name="Tan, Roger" userId="f6f33758-bd69-4951-8148-181de3b92474" providerId="ADAL" clId="{A436842E-EA5C-4A6D-B51D-DDAE8BC6E9BD}" dt="2023-11-08T21:54:32.522" v="81088"/>
          <ac:spMkLst>
            <pc:docMk/>
            <pc:sldMk cId="1986792322" sldId="436"/>
            <ac:spMk id="7" creationId="{A0F1CCEB-61A0-9644-9FFD-F6C93EB9F64C}"/>
          </ac:spMkLst>
        </pc:spChg>
        <pc:spChg chg="add mod">
          <ac:chgData name="Tan, Roger" userId="f6f33758-bd69-4951-8148-181de3b92474" providerId="ADAL" clId="{A436842E-EA5C-4A6D-B51D-DDAE8BC6E9BD}" dt="2023-11-08T22:17:01.167" v="81340"/>
          <ac:spMkLst>
            <pc:docMk/>
            <pc:sldMk cId="1986792322" sldId="436"/>
            <ac:spMk id="8" creationId="{24E00B08-063A-282F-79BD-2B4E2EE12C77}"/>
          </ac:spMkLst>
        </pc:spChg>
        <pc:spChg chg="mod">
          <ac:chgData name="Tan, Roger" userId="f6f33758-bd69-4951-8148-181de3b92474" providerId="ADAL" clId="{A436842E-EA5C-4A6D-B51D-DDAE8BC6E9BD}" dt="2023-11-08T18:19:24.981" v="78465" actId="20577"/>
          <ac:spMkLst>
            <pc:docMk/>
            <pc:sldMk cId="1986792322" sldId="436"/>
            <ac:spMk id="25" creationId="{91448A82-D3F1-BCEF-9863-30B9F919645B}"/>
          </ac:spMkLst>
        </pc:spChg>
        <pc:picChg chg="add mod">
          <ac:chgData name="Tan, Roger" userId="f6f33758-bd69-4951-8148-181de3b92474" providerId="ADAL" clId="{A436842E-EA5C-4A6D-B51D-DDAE8BC6E9BD}" dt="2023-11-07T18:26:31.510" v="75302" actId="1076"/>
          <ac:picMkLst>
            <pc:docMk/>
            <pc:sldMk cId="1986792322" sldId="436"/>
            <ac:picMk id="2" creationId="{3F3FC441-01FB-424B-1AF7-A2D4A1B0D910}"/>
          </ac:picMkLst>
        </pc:picChg>
      </pc:sldChg>
      <pc:sldChg chg="addSp delSp modSp add mod modNotes">
        <pc:chgData name="Tan, Roger" userId="f6f33758-bd69-4951-8148-181de3b92474" providerId="ADAL" clId="{A436842E-EA5C-4A6D-B51D-DDAE8BC6E9BD}" dt="2023-11-08T22:17:06.486" v="81346"/>
        <pc:sldMkLst>
          <pc:docMk/>
          <pc:sldMk cId="4287056248" sldId="437"/>
        </pc:sldMkLst>
        <pc:spChg chg="add del mod">
          <ac:chgData name="Tan, Roger" userId="f6f33758-bd69-4951-8148-181de3b92474" providerId="ADAL" clId="{A436842E-EA5C-4A6D-B51D-DDAE8BC6E9BD}" dt="2023-11-08T21:57:16.648" v="81141" actId="478"/>
          <ac:spMkLst>
            <pc:docMk/>
            <pc:sldMk cId="4287056248" sldId="437"/>
            <ac:spMk id="2" creationId="{C6297C9C-00CE-BBCF-3641-A2206E8C390B}"/>
          </ac:spMkLst>
        </pc:spChg>
        <pc:spChg chg="add del mod">
          <ac:chgData name="Tan, Roger" userId="f6f33758-bd69-4951-8148-181de3b92474" providerId="ADAL" clId="{A436842E-EA5C-4A6D-B51D-DDAE8BC6E9BD}" dt="2023-11-08T18:24:02.622" v="79526" actId="20577"/>
          <ac:spMkLst>
            <pc:docMk/>
            <pc:sldMk cId="4287056248" sldId="437"/>
            <ac:spMk id="4" creationId="{135905BC-4088-D08F-E866-0501D81834C1}"/>
          </ac:spMkLst>
        </pc:spChg>
        <pc:spChg chg="add mod">
          <ac:chgData name="Tan, Roger" userId="f6f33758-bd69-4951-8148-181de3b92474" providerId="ADAL" clId="{A436842E-EA5C-4A6D-B51D-DDAE8BC6E9BD}" dt="2023-11-08T22:17:06.486" v="81346"/>
          <ac:spMkLst>
            <pc:docMk/>
            <pc:sldMk cId="4287056248" sldId="437"/>
            <ac:spMk id="5" creationId="{944FDD2B-432E-2772-A15B-F967B52AC2E4}"/>
          </ac:spMkLst>
        </pc:spChg>
        <pc:spChg chg="add del mod">
          <ac:chgData name="Tan, Roger" userId="f6f33758-bd69-4951-8148-181de3b92474" providerId="ADAL" clId="{A436842E-EA5C-4A6D-B51D-DDAE8BC6E9BD}" dt="2023-11-07T18:33:35.334" v="75579" actId="478"/>
          <ac:spMkLst>
            <pc:docMk/>
            <pc:sldMk cId="4287056248" sldId="437"/>
            <ac:spMk id="5" creationId="{E9E62B9B-362B-A513-9B98-3600DB6A1CD2}"/>
          </ac:spMkLst>
        </pc:spChg>
        <pc:spChg chg="add del">
          <ac:chgData name="Tan, Roger" userId="f6f33758-bd69-4951-8148-181de3b92474" providerId="ADAL" clId="{A436842E-EA5C-4A6D-B51D-DDAE8BC6E9BD}" dt="2023-11-08T18:22:20.425" v="78561" actId="22"/>
          <ac:spMkLst>
            <pc:docMk/>
            <pc:sldMk cId="4287056248" sldId="437"/>
            <ac:spMk id="5" creationId="{EF3B9ACE-EE81-ED93-C6FE-CDE7A9AB8D93}"/>
          </ac:spMkLst>
        </pc:spChg>
        <pc:spChg chg="add del mod">
          <ac:chgData name="Tan, Roger" userId="f6f33758-bd69-4951-8148-181de3b92474" providerId="ADAL" clId="{A436842E-EA5C-4A6D-B51D-DDAE8BC6E9BD}" dt="2023-11-08T18:24:29.603" v="79530" actId="207"/>
          <ac:spMkLst>
            <pc:docMk/>
            <pc:sldMk cId="4287056248" sldId="437"/>
            <ac:spMk id="6" creationId="{7A77AE8C-2497-BD2A-90BF-79CFBF20A959}"/>
          </ac:spMkLst>
        </pc:spChg>
        <pc:spChg chg="add del mod">
          <ac:chgData name="Tan, Roger" userId="f6f33758-bd69-4951-8148-181de3b92474" providerId="ADAL" clId="{A436842E-EA5C-4A6D-B51D-DDAE8BC6E9BD}" dt="2023-11-08T18:24:26.925" v="79529" actId="207"/>
          <ac:spMkLst>
            <pc:docMk/>
            <pc:sldMk cId="4287056248" sldId="437"/>
            <ac:spMk id="9" creationId="{BAD9E7E4-0841-D715-463C-E8B5FB195AB2}"/>
          </ac:spMkLst>
        </pc:spChg>
        <pc:spChg chg="add del mod">
          <ac:chgData name="Tan, Roger" userId="f6f33758-bd69-4951-8148-181de3b92474" providerId="ADAL" clId="{A436842E-EA5C-4A6D-B51D-DDAE8BC6E9BD}" dt="2023-11-08T18:22:22.656" v="78566" actId="22"/>
          <ac:spMkLst>
            <pc:docMk/>
            <pc:sldMk cId="4287056248" sldId="437"/>
            <ac:spMk id="11" creationId="{F9BD38D9-455A-C220-9D9D-7D85C93E7495}"/>
          </ac:spMkLst>
        </pc:spChg>
        <pc:spChg chg="add mod">
          <ac:chgData name="Tan, Roger" userId="f6f33758-bd69-4951-8148-181de3b92474" providerId="ADAL" clId="{A436842E-EA5C-4A6D-B51D-DDAE8BC6E9BD}" dt="2023-11-08T18:23:35.724" v="79521"/>
          <ac:spMkLst>
            <pc:docMk/>
            <pc:sldMk cId="4287056248" sldId="437"/>
            <ac:spMk id="13" creationId="{C73CF0D1-F8CB-B225-F277-DFC0BEC3F111}"/>
          </ac:spMkLst>
        </pc:spChg>
        <pc:spChg chg="mod">
          <ac:chgData name="Tan, Roger" userId="f6f33758-bd69-4951-8148-181de3b92474" providerId="ADAL" clId="{A436842E-EA5C-4A6D-B51D-DDAE8BC6E9BD}" dt="2023-11-08T18:20:01.233" v="78481" actId="20577"/>
          <ac:spMkLst>
            <pc:docMk/>
            <pc:sldMk cId="4287056248" sldId="437"/>
            <ac:spMk id="25" creationId="{91448A82-D3F1-BCEF-9863-30B9F919645B}"/>
          </ac:spMkLst>
        </pc:spChg>
        <pc:graphicFrameChg chg="add mod modGraphic">
          <ac:chgData name="Tan, Roger" userId="f6f33758-bd69-4951-8148-181de3b92474" providerId="ADAL" clId="{A436842E-EA5C-4A6D-B51D-DDAE8BC6E9BD}" dt="2023-11-08T21:04:39.335" v="80162" actId="14734"/>
          <ac:graphicFrameMkLst>
            <pc:docMk/>
            <pc:sldMk cId="4287056248" sldId="437"/>
            <ac:graphicFrameMk id="3" creationId="{B604447E-CDB2-16E2-1900-C1D8C261E548}"/>
          </ac:graphicFrameMkLst>
        </pc:graphicFrameChg>
        <pc:graphicFrameChg chg="add mod ord modVis replST">
          <ac:chgData name="Tan, Roger" userId="f6f33758-bd69-4951-8148-181de3b92474" providerId="ADAL" clId="{A436842E-EA5C-4A6D-B51D-DDAE8BC6E9BD}" dt="2023-11-07T18:28:00.614" v="75343"/>
          <ac:graphicFrameMkLst>
            <pc:docMk/>
            <pc:sldMk cId="4287056248" sldId="437"/>
            <ac:graphicFrameMk id="7" creationId="{06E0E659-F10C-660E-8B07-57879BBE75BC}"/>
          </ac:graphicFrameMkLst>
        </pc:graphicFrameChg>
        <pc:picChg chg="del">
          <ac:chgData name="Tan, Roger" userId="f6f33758-bd69-4951-8148-181de3b92474" providerId="ADAL" clId="{A436842E-EA5C-4A6D-B51D-DDAE8BC6E9BD}" dt="2023-11-07T18:26:48.375" v="75306" actId="478"/>
          <ac:picMkLst>
            <pc:docMk/>
            <pc:sldMk cId="4287056248" sldId="437"/>
            <ac:picMk id="2" creationId="{3F3FC441-01FB-424B-1AF7-A2D4A1B0D910}"/>
          </ac:picMkLst>
        </pc:picChg>
      </pc:sldChg>
      <pc:sldChg chg="addSp delSp modSp add mod modNotes">
        <pc:chgData name="Tan, Roger" userId="f6f33758-bd69-4951-8148-181de3b92474" providerId="ADAL" clId="{A436842E-EA5C-4A6D-B51D-DDAE8BC6E9BD}" dt="2023-11-08T22:17:09.124" v="81349"/>
        <pc:sldMkLst>
          <pc:docMk/>
          <pc:sldMk cId="437343606" sldId="438"/>
        </pc:sldMkLst>
        <pc:spChg chg="add del mod">
          <ac:chgData name="Tan, Roger" userId="f6f33758-bd69-4951-8148-181de3b92474" providerId="ADAL" clId="{A436842E-EA5C-4A6D-B51D-DDAE8BC6E9BD}" dt="2023-11-08T21:57:20.481" v="81144" actId="478"/>
          <ac:spMkLst>
            <pc:docMk/>
            <pc:sldMk cId="437343606" sldId="438"/>
            <ac:spMk id="3" creationId="{48789187-08E8-1BE6-9F87-88A54A247246}"/>
          </ac:spMkLst>
        </pc:spChg>
        <pc:spChg chg="del">
          <ac:chgData name="Tan, Roger" userId="f6f33758-bd69-4951-8148-181de3b92474" providerId="ADAL" clId="{A436842E-EA5C-4A6D-B51D-DDAE8BC6E9BD}" dt="2023-11-07T18:31:06.138" v="75522" actId="478"/>
          <ac:spMkLst>
            <pc:docMk/>
            <pc:sldMk cId="437343606" sldId="438"/>
            <ac:spMk id="4" creationId="{135905BC-4088-D08F-E866-0501D81834C1}"/>
          </ac:spMkLst>
        </pc:spChg>
        <pc:spChg chg="add mod">
          <ac:chgData name="Tan, Roger" userId="f6f33758-bd69-4951-8148-181de3b92474" providerId="ADAL" clId="{A436842E-EA5C-4A6D-B51D-DDAE8BC6E9BD}" dt="2023-11-08T22:17:09.124" v="81349"/>
          <ac:spMkLst>
            <pc:docMk/>
            <pc:sldMk cId="437343606" sldId="438"/>
            <ac:spMk id="4" creationId="{B5D679E6-8F16-3378-5AA3-CCD6BCB995AE}"/>
          </ac:spMkLst>
        </pc:spChg>
        <pc:spChg chg="add del">
          <ac:chgData name="Tan, Roger" userId="f6f33758-bd69-4951-8148-181de3b92474" providerId="ADAL" clId="{A436842E-EA5C-4A6D-B51D-DDAE8BC6E9BD}" dt="2023-11-08T18:28:20.260" v="79597" actId="478"/>
          <ac:spMkLst>
            <pc:docMk/>
            <pc:sldMk cId="437343606" sldId="438"/>
            <ac:spMk id="5" creationId="{E9E62B9B-362B-A513-9B98-3600DB6A1CD2}"/>
          </ac:spMkLst>
        </pc:spChg>
        <pc:spChg chg="del">
          <ac:chgData name="Tan, Roger" userId="f6f33758-bd69-4951-8148-181de3b92474" providerId="ADAL" clId="{A436842E-EA5C-4A6D-B51D-DDAE8BC6E9BD}" dt="2023-11-07T18:31:06.138" v="75522" actId="478"/>
          <ac:spMkLst>
            <pc:docMk/>
            <pc:sldMk cId="437343606" sldId="438"/>
            <ac:spMk id="6" creationId="{7A77AE8C-2497-BD2A-90BF-79CFBF20A959}"/>
          </ac:spMkLst>
        </pc:spChg>
        <pc:spChg chg="add del mod">
          <ac:chgData name="Tan, Roger" userId="f6f33758-bd69-4951-8148-181de3b92474" providerId="ADAL" clId="{A436842E-EA5C-4A6D-B51D-DDAE8BC6E9BD}" dt="2023-11-08T18:28:13.887" v="79596" actId="478"/>
          <ac:spMkLst>
            <pc:docMk/>
            <pc:sldMk cId="437343606" sldId="438"/>
            <ac:spMk id="8" creationId="{7841A06D-8729-24BE-2DD7-F08F33DB5A46}"/>
          </ac:spMkLst>
        </pc:spChg>
        <pc:spChg chg="del">
          <ac:chgData name="Tan, Roger" userId="f6f33758-bd69-4951-8148-181de3b92474" providerId="ADAL" clId="{A436842E-EA5C-4A6D-B51D-DDAE8BC6E9BD}" dt="2023-11-07T18:31:06.138" v="75522" actId="478"/>
          <ac:spMkLst>
            <pc:docMk/>
            <pc:sldMk cId="437343606" sldId="438"/>
            <ac:spMk id="9" creationId="{BAD9E7E4-0841-D715-463C-E8B5FB195AB2}"/>
          </ac:spMkLst>
        </pc:spChg>
        <pc:spChg chg="add del mod">
          <ac:chgData name="Tan, Roger" userId="f6f33758-bd69-4951-8148-181de3b92474" providerId="ADAL" clId="{A436842E-EA5C-4A6D-B51D-DDAE8BC6E9BD}" dt="2023-11-07T18:31:55.034" v="75544" actId="478"/>
          <ac:spMkLst>
            <pc:docMk/>
            <pc:sldMk cId="437343606" sldId="438"/>
            <ac:spMk id="10" creationId="{B106E9ED-CF6A-1230-E215-AE867D70EAA9}"/>
          </ac:spMkLst>
        </pc:spChg>
        <pc:spChg chg="add del mod">
          <ac:chgData name="Tan, Roger" userId="f6f33758-bd69-4951-8148-181de3b92474" providerId="ADAL" clId="{A436842E-EA5C-4A6D-B51D-DDAE8BC6E9BD}" dt="2023-11-07T18:32:13.420" v="75553"/>
          <ac:spMkLst>
            <pc:docMk/>
            <pc:sldMk cId="437343606" sldId="438"/>
            <ac:spMk id="11" creationId="{F95D0A33-C622-9DA5-19C5-454BBBA80E01}"/>
          </ac:spMkLst>
        </pc:spChg>
        <pc:spChg chg="add del">
          <ac:chgData name="Tan, Roger" userId="f6f33758-bd69-4951-8148-181de3b92474" providerId="ADAL" clId="{A436842E-EA5C-4A6D-B51D-DDAE8BC6E9BD}" dt="2023-11-08T18:28:13.887" v="79596" actId="478"/>
          <ac:spMkLst>
            <pc:docMk/>
            <pc:sldMk cId="437343606" sldId="438"/>
            <ac:spMk id="12" creationId="{C844F870-2E27-8ED6-BD88-D7E8CA478E1B}"/>
          </ac:spMkLst>
        </pc:spChg>
        <pc:spChg chg="add del mod">
          <ac:chgData name="Tan, Roger" userId="f6f33758-bd69-4951-8148-181de3b92474" providerId="ADAL" clId="{A436842E-EA5C-4A6D-B51D-DDAE8BC6E9BD}" dt="2023-11-08T18:28:13.887" v="79596" actId="478"/>
          <ac:spMkLst>
            <pc:docMk/>
            <pc:sldMk cId="437343606" sldId="438"/>
            <ac:spMk id="25" creationId="{91448A82-D3F1-BCEF-9863-30B9F919645B}"/>
          </ac:spMkLst>
        </pc:spChg>
        <pc:graphicFrameChg chg="add del mod modGraphic">
          <ac:chgData name="Tan, Roger" userId="f6f33758-bd69-4951-8148-181de3b92474" providerId="ADAL" clId="{A436842E-EA5C-4A6D-B51D-DDAE8BC6E9BD}" dt="2023-11-08T18:28:13.887" v="79596" actId="478"/>
          <ac:graphicFrameMkLst>
            <pc:docMk/>
            <pc:sldMk cId="437343606" sldId="438"/>
            <ac:graphicFrameMk id="2" creationId="{F2AB7348-CC4F-6283-C070-BAA546EEAA9F}"/>
          </ac:graphicFrameMkLst>
        </pc:graphicFrameChg>
        <pc:graphicFrameChg chg="del">
          <ac:chgData name="Tan, Roger" userId="f6f33758-bd69-4951-8148-181de3b92474" providerId="ADAL" clId="{A436842E-EA5C-4A6D-B51D-DDAE8BC6E9BD}" dt="2023-11-07T18:31:06.138" v="75522" actId="478"/>
          <ac:graphicFrameMkLst>
            <pc:docMk/>
            <pc:sldMk cId="437343606" sldId="438"/>
            <ac:graphicFrameMk id="3" creationId="{B604447E-CDB2-16E2-1900-C1D8C261E548}"/>
          </ac:graphicFrameMkLst>
        </pc:graphicFrameChg>
        <pc:graphicFrameChg chg="mod">
          <ac:chgData name="Tan, Roger" userId="f6f33758-bd69-4951-8148-181de3b92474" providerId="ADAL" clId="{A436842E-EA5C-4A6D-B51D-DDAE8BC6E9BD}" dt="2023-11-07T18:31:50.676" v="75542"/>
          <ac:graphicFrameMkLst>
            <pc:docMk/>
            <pc:sldMk cId="437343606" sldId="438"/>
            <ac:graphicFrameMk id="7" creationId="{06E0E659-F10C-660E-8B07-57879BBE75BC}"/>
          </ac:graphicFrameMkLst>
        </pc:graphicFrameChg>
      </pc:sldChg>
      <pc:sldChg chg="modSp mod">
        <pc:chgData name="Tan, Roger" userId="f6f33758-bd69-4951-8148-181de3b92474" providerId="ADAL" clId="{A436842E-EA5C-4A6D-B51D-DDAE8BC6E9BD}" dt="2023-11-08T22:32:08.738" v="85811" actId="20577"/>
        <pc:sldMkLst>
          <pc:docMk/>
          <pc:sldMk cId="745781653" sldId="440"/>
        </pc:sldMkLst>
        <pc:spChg chg="mod">
          <ac:chgData name="Tan, Roger" userId="f6f33758-bd69-4951-8148-181de3b92474" providerId="ADAL" clId="{A436842E-EA5C-4A6D-B51D-DDAE8BC6E9BD}" dt="2023-11-08T22:32:08.738" v="85811" actId="20577"/>
          <ac:spMkLst>
            <pc:docMk/>
            <pc:sldMk cId="745781653" sldId="440"/>
            <ac:spMk id="109" creationId="{53E505FA-8833-1BF1-80AE-8108A4D17FA5}"/>
          </ac:spMkLst>
        </pc:spChg>
        <pc:graphicFrameChg chg="mod">
          <ac:chgData name="Tan, Roger" userId="f6f33758-bd69-4951-8148-181de3b92474" providerId="ADAL" clId="{A436842E-EA5C-4A6D-B51D-DDAE8BC6E9BD}" dt="2023-11-08T02:21:59.562" v="76267"/>
          <ac:graphicFrameMkLst>
            <pc:docMk/>
            <pc:sldMk cId="745781653" sldId="440"/>
            <ac:graphicFrameMk id="4" creationId="{FD4A65FB-339A-B2BC-4155-257FFC3BBBB9}"/>
          </ac:graphicFrameMkLst>
        </pc:graphicFrameChg>
      </pc:sldChg>
      <pc:sldChg chg="addSp delSp modSp mod delAnim modAnim">
        <pc:chgData name="Tan, Roger" userId="f6f33758-bd69-4951-8148-181de3b92474" providerId="ADAL" clId="{A436842E-EA5C-4A6D-B51D-DDAE8BC6E9BD}" dt="2023-11-09T03:43:57.775" v="85877" actId="14861"/>
        <pc:sldMkLst>
          <pc:docMk/>
          <pc:sldMk cId="333158483" sldId="442"/>
        </pc:sldMkLst>
        <pc:spChg chg="mod ord">
          <ac:chgData name="Tan, Roger" userId="f6f33758-bd69-4951-8148-181de3b92474" providerId="ADAL" clId="{A436842E-EA5C-4A6D-B51D-DDAE8BC6E9BD}" dt="2023-11-09T03:43:46.795" v="85869"/>
          <ac:spMkLst>
            <pc:docMk/>
            <pc:sldMk cId="333158483" sldId="442"/>
            <ac:spMk id="10" creationId="{4B0A9A20-7824-D4BD-0D42-07DBBA2D4A66}"/>
          </ac:spMkLst>
        </pc:spChg>
        <pc:spChg chg="mod ord">
          <ac:chgData name="Tan, Roger" userId="f6f33758-bd69-4951-8148-181de3b92474" providerId="ADAL" clId="{A436842E-EA5C-4A6D-B51D-DDAE8BC6E9BD}" dt="2023-11-09T03:43:46.795" v="85871"/>
          <ac:spMkLst>
            <pc:docMk/>
            <pc:sldMk cId="333158483" sldId="442"/>
            <ac:spMk id="11" creationId="{57103DDA-C77F-9490-A2E5-6C9BA7C93070}"/>
          </ac:spMkLst>
        </pc:spChg>
        <pc:spChg chg="mod ord">
          <ac:chgData name="Tan, Roger" userId="f6f33758-bd69-4951-8148-181de3b92474" providerId="ADAL" clId="{A436842E-EA5C-4A6D-B51D-DDAE8BC6E9BD}" dt="2023-11-09T03:43:46.794" v="85865"/>
          <ac:spMkLst>
            <pc:docMk/>
            <pc:sldMk cId="333158483" sldId="442"/>
            <ac:spMk id="134" creationId="{F2767D1E-3B45-C15D-2353-D39EFD8AC6D3}"/>
          </ac:spMkLst>
        </pc:spChg>
        <pc:grpChg chg="mod ord">
          <ac:chgData name="Tan, Roger" userId="f6f33758-bd69-4951-8148-181de3b92474" providerId="ADAL" clId="{A436842E-EA5C-4A6D-B51D-DDAE8BC6E9BD}" dt="2023-11-09T03:43:46.792" v="85857"/>
          <ac:grpSpMkLst>
            <pc:docMk/>
            <pc:sldMk cId="333158483" sldId="442"/>
            <ac:grpSpMk id="7" creationId="{97EBD3F7-7EDC-CC0E-7146-51749E324977}"/>
          </ac:grpSpMkLst>
        </pc:grpChg>
        <pc:grpChg chg="mod ord">
          <ac:chgData name="Tan, Roger" userId="f6f33758-bd69-4951-8148-181de3b92474" providerId="ADAL" clId="{A436842E-EA5C-4A6D-B51D-DDAE8BC6E9BD}" dt="2023-11-09T03:43:46.792" v="85859"/>
          <ac:grpSpMkLst>
            <pc:docMk/>
            <pc:sldMk cId="333158483" sldId="442"/>
            <ac:grpSpMk id="124" creationId="{E7D2C619-61B2-B23C-73AC-3D13368B5EB2}"/>
          </ac:grpSpMkLst>
        </pc:grpChg>
        <pc:grpChg chg="mod ord">
          <ac:chgData name="Tan, Roger" userId="f6f33758-bd69-4951-8148-181de3b92474" providerId="ADAL" clId="{A436842E-EA5C-4A6D-B51D-DDAE8BC6E9BD}" dt="2023-11-09T03:43:46.793" v="85861"/>
          <ac:grpSpMkLst>
            <pc:docMk/>
            <pc:sldMk cId="333158483" sldId="442"/>
            <ac:grpSpMk id="125" creationId="{0935608E-171B-9C69-2680-321FDE459128}"/>
          </ac:grpSpMkLst>
        </pc:grpChg>
        <pc:grpChg chg="mod ord">
          <ac:chgData name="Tan, Roger" userId="f6f33758-bd69-4951-8148-181de3b92474" providerId="ADAL" clId="{A436842E-EA5C-4A6D-B51D-DDAE8BC6E9BD}" dt="2023-11-09T03:43:46.793" v="85863"/>
          <ac:grpSpMkLst>
            <pc:docMk/>
            <pc:sldMk cId="333158483" sldId="442"/>
            <ac:grpSpMk id="131" creationId="{F52FE948-865D-55E1-9E61-BEF423C6217C}"/>
          </ac:grpSpMkLst>
        </pc:grpChg>
        <pc:grpChg chg="mod ord">
          <ac:chgData name="Tan, Roger" userId="f6f33758-bd69-4951-8148-181de3b92474" providerId="ADAL" clId="{A436842E-EA5C-4A6D-B51D-DDAE8BC6E9BD}" dt="2023-11-09T03:43:46.791" v="85855"/>
          <ac:grpSpMkLst>
            <pc:docMk/>
            <pc:sldMk cId="333158483" sldId="442"/>
            <ac:grpSpMk id="133" creationId="{C861B0B2-E791-3013-64DB-D5AA67A78B3A}"/>
          </ac:grpSpMkLst>
        </pc:grpChg>
        <pc:graphicFrameChg chg="mod">
          <ac:chgData name="Tan, Roger" userId="f6f33758-bd69-4951-8148-181de3b92474" providerId="ADAL" clId="{A436842E-EA5C-4A6D-B51D-DDAE8BC6E9BD}" dt="2023-11-09T03:43:46.799" v="85875"/>
          <ac:graphicFrameMkLst>
            <pc:docMk/>
            <pc:sldMk cId="333158483" sldId="442"/>
            <ac:graphicFrameMk id="4" creationId="{FD4A65FB-339A-B2BC-4155-257FFC3BBBB9}"/>
          </ac:graphicFrameMkLst>
        </pc:graphicFrameChg>
        <pc:picChg chg="del mod ord">
          <ac:chgData name="Tan, Roger" userId="f6f33758-bd69-4951-8148-181de3b92474" providerId="ADAL" clId="{A436842E-EA5C-4A6D-B51D-DDAE8BC6E9BD}" dt="2023-11-09T03:43:47.947" v="85876" actId="478"/>
          <ac:picMkLst>
            <pc:docMk/>
            <pc:sldMk cId="333158483" sldId="442"/>
            <ac:picMk id="2" creationId="{83D969DE-87D8-029E-2676-32839E1B3148}"/>
          </ac:picMkLst>
        </pc:picChg>
        <pc:picChg chg="add mod ord">
          <ac:chgData name="Tan, Roger" userId="f6f33758-bd69-4951-8148-181de3b92474" providerId="ADAL" clId="{A436842E-EA5C-4A6D-B51D-DDAE8BC6E9BD}" dt="2023-11-09T03:43:57.775" v="85877" actId="14861"/>
          <ac:picMkLst>
            <pc:docMk/>
            <pc:sldMk cId="333158483" sldId="442"/>
            <ac:picMk id="3" creationId="{DCE0EEE8-C0A5-1071-2FFD-C48D4ACDEC4D}"/>
          </ac:picMkLst>
        </pc:picChg>
      </pc:sldChg>
      <pc:sldChg chg="addSp modSp mod modTransition modShow">
        <pc:chgData name="Tan, Roger" userId="f6f33758-bd69-4951-8148-181de3b92474" providerId="ADAL" clId="{A436842E-EA5C-4A6D-B51D-DDAE8BC6E9BD}" dt="2023-11-08T22:32:24.808" v="85813" actId="20577"/>
        <pc:sldMkLst>
          <pc:docMk/>
          <pc:sldMk cId="1824581935" sldId="444"/>
        </pc:sldMkLst>
        <pc:spChg chg="mod">
          <ac:chgData name="Tan, Roger" userId="f6f33758-bd69-4951-8148-181de3b92474" providerId="ADAL" clId="{A436842E-EA5C-4A6D-B51D-DDAE8BC6E9BD}" dt="2023-11-08T22:32:24.808" v="85813" actId="20577"/>
          <ac:spMkLst>
            <pc:docMk/>
            <pc:sldMk cId="1824581935" sldId="444"/>
            <ac:spMk id="109" creationId="{53E505FA-8833-1BF1-80AE-8108A4D17FA5}"/>
          </ac:spMkLst>
        </pc:spChg>
        <pc:graphicFrameChg chg="mod">
          <ac:chgData name="Tan, Roger" userId="f6f33758-bd69-4951-8148-181de3b92474" providerId="ADAL" clId="{A436842E-EA5C-4A6D-B51D-DDAE8BC6E9BD}" dt="2023-11-08T08:28:38.415" v="77369"/>
          <ac:graphicFrameMkLst>
            <pc:docMk/>
            <pc:sldMk cId="1824581935" sldId="444"/>
            <ac:graphicFrameMk id="4" creationId="{FD4A65FB-339A-B2BC-4155-257FFC3BBBB9}"/>
          </ac:graphicFrameMkLst>
        </pc:graphicFrameChg>
        <pc:cxnChg chg="add mod">
          <ac:chgData name="Tan, Roger" userId="f6f33758-bd69-4951-8148-181de3b92474" providerId="ADAL" clId="{A436842E-EA5C-4A6D-B51D-DDAE8BC6E9BD}" dt="2023-11-08T08:33:49.327" v="77375" actId="693"/>
          <ac:cxnSpMkLst>
            <pc:docMk/>
            <pc:sldMk cId="1824581935" sldId="444"/>
            <ac:cxnSpMk id="3" creationId="{938C628D-11D0-D8CB-491A-87E2297ED780}"/>
          </ac:cxnSpMkLst>
        </pc:cxnChg>
      </pc:sldChg>
      <pc:sldChg chg="addSp delSp modSp mod delAnim modAnim">
        <pc:chgData name="Tan, Roger" userId="f6f33758-bd69-4951-8148-181de3b92474" providerId="ADAL" clId="{A436842E-EA5C-4A6D-B51D-DDAE8BC6E9BD}" dt="2023-11-09T03:42:43.694" v="85846"/>
        <pc:sldMkLst>
          <pc:docMk/>
          <pc:sldMk cId="3583304053" sldId="445"/>
        </pc:sldMkLst>
        <pc:graphicFrameChg chg="mod">
          <ac:chgData name="Tan, Roger" userId="f6f33758-bd69-4951-8148-181de3b92474" providerId="ADAL" clId="{A436842E-EA5C-4A6D-B51D-DDAE8BC6E9BD}" dt="2023-11-08T08:47:26.897" v="77381"/>
          <ac:graphicFrameMkLst>
            <pc:docMk/>
            <pc:sldMk cId="3583304053" sldId="445"/>
            <ac:graphicFrameMk id="4" creationId="{FD4A65FB-339A-B2BC-4155-257FFC3BBBB9}"/>
          </ac:graphicFrameMkLst>
        </pc:graphicFrameChg>
        <pc:picChg chg="add mod">
          <ac:chgData name="Tan, Roger" userId="f6f33758-bd69-4951-8148-181de3b92474" providerId="ADAL" clId="{A436842E-EA5C-4A6D-B51D-DDAE8BC6E9BD}" dt="2023-11-09T03:38:46.635" v="85844" actId="14861"/>
          <ac:picMkLst>
            <pc:docMk/>
            <pc:sldMk cId="3583304053" sldId="445"/>
            <ac:picMk id="2" creationId="{F7634A5C-11AA-BAAC-0C84-F6A0EF5F0C98}"/>
          </ac:picMkLst>
        </pc:picChg>
        <pc:picChg chg="del">
          <ac:chgData name="Tan, Roger" userId="f6f33758-bd69-4951-8148-181de3b92474" providerId="ADAL" clId="{A436842E-EA5C-4A6D-B51D-DDAE8BC6E9BD}" dt="2023-11-09T03:38:30.960" v="85839" actId="478"/>
          <ac:picMkLst>
            <pc:docMk/>
            <pc:sldMk cId="3583304053" sldId="445"/>
            <ac:picMk id="8" creationId="{2977465B-29D7-7F4F-AE37-4CE2CE5D760B}"/>
          </ac:picMkLst>
        </pc:picChg>
      </pc:sldChg>
      <pc:sldChg chg="modSp mod">
        <pc:chgData name="Tan, Roger" userId="f6f33758-bd69-4951-8148-181de3b92474" providerId="ADAL" clId="{A436842E-EA5C-4A6D-B51D-DDAE8BC6E9BD}" dt="2023-11-08T02:21:59.531" v="76265"/>
        <pc:sldMkLst>
          <pc:docMk/>
          <pc:sldMk cId="3012727066" sldId="446"/>
        </pc:sldMkLst>
        <pc:graphicFrameChg chg="mod">
          <ac:chgData name="Tan, Roger" userId="f6f33758-bd69-4951-8148-181de3b92474" providerId="ADAL" clId="{A436842E-EA5C-4A6D-B51D-DDAE8BC6E9BD}" dt="2023-11-08T02:21:59.531" v="76265"/>
          <ac:graphicFrameMkLst>
            <pc:docMk/>
            <pc:sldMk cId="3012727066" sldId="446"/>
            <ac:graphicFrameMk id="4" creationId="{FD4A65FB-339A-B2BC-4155-257FFC3BBBB9}"/>
          </ac:graphicFrameMkLst>
        </pc:graphicFrameChg>
      </pc:sldChg>
      <pc:sldChg chg="modSp mod modAnim">
        <pc:chgData name="Tan, Roger" userId="f6f33758-bd69-4951-8148-181de3b92474" providerId="ADAL" clId="{A436842E-EA5C-4A6D-B51D-DDAE8BC6E9BD}" dt="2023-11-09T03:08:47.683" v="85828"/>
        <pc:sldMkLst>
          <pc:docMk/>
          <pc:sldMk cId="4235022131" sldId="448"/>
        </pc:sldMkLst>
        <pc:spChg chg="mod">
          <ac:chgData name="Tan, Roger" userId="f6f33758-bd69-4951-8148-181de3b92474" providerId="ADAL" clId="{A436842E-EA5C-4A6D-B51D-DDAE8BC6E9BD}" dt="2023-11-08T22:30:53.949" v="85807" actId="20577"/>
          <ac:spMkLst>
            <pc:docMk/>
            <pc:sldMk cId="4235022131" sldId="448"/>
            <ac:spMk id="422" creationId="{4AECBF77-60C8-FE2F-20BE-9C888A509250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06:10.434" v="81195" actId="2710"/>
        <pc:sldMkLst>
          <pc:docMk/>
          <pc:sldMk cId="3461975783" sldId="449"/>
        </pc:sldMkLst>
        <pc:spChg chg="add del mod">
          <ac:chgData name="Tan, Roger" userId="f6f33758-bd69-4951-8148-181de3b92474" providerId="ADAL" clId="{A436842E-EA5C-4A6D-B51D-DDAE8BC6E9BD}" dt="2023-11-08T21:51:39.298" v="81014" actId="478"/>
          <ac:spMkLst>
            <pc:docMk/>
            <pc:sldMk cId="3461975783" sldId="449"/>
            <ac:spMk id="2" creationId="{4280E4DF-1A0E-49F4-DBD6-EF57A6156AAA}"/>
          </ac:spMkLst>
        </pc:spChg>
        <pc:spChg chg="mod">
          <ac:chgData name="Tan, Roger" userId="f6f33758-bd69-4951-8148-181de3b92474" providerId="ADAL" clId="{A436842E-EA5C-4A6D-B51D-DDAE8BC6E9BD}" dt="2023-11-08T22:05:59.575" v="81190" actId="948"/>
          <ac:spMkLst>
            <pc:docMk/>
            <pc:sldMk cId="3461975783" sldId="449"/>
            <ac:spMk id="3" creationId="{72E3E6EA-111F-56AA-553A-86DC36436039}"/>
          </ac:spMkLst>
        </pc:spChg>
        <pc:spChg chg="add del mod">
          <ac:chgData name="Tan, Roger" userId="f6f33758-bd69-4951-8148-181de3b92474" providerId="ADAL" clId="{A436842E-EA5C-4A6D-B51D-DDAE8BC6E9BD}" dt="2023-11-08T21:52:33.358" v="81041" actId="21"/>
          <ac:spMkLst>
            <pc:docMk/>
            <pc:sldMk cId="3461975783" sldId="449"/>
            <ac:spMk id="5" creationId="{BC2D82CB-3254-B305-1A6C-D8E8F94AB7B7}"/>
          </ac:spMkLst>
        </pc:spChg>
        <pc:spChg chg="add mod">
          <ac:chgData name="Tan, Roger" userId="f6f33758-bd69-4951-8148-181de3b92474" providerId="ADAL" clId="{A436842E-EA5C-4A6D-B51D-DDAE8BC6E9BD}" dt="2023-11-08T22:06:10.434" v="81195" actId="2710"/>
          <ac:spMkLst>
            <pc:docMk/>
            <pc:sldMk cId="3461975783" sldId="449"/>
            <ac:spMk id="7" creationId="{45F5DD74-13F2-B635-4FB8-CBDEE0D05D3D}"/>
          </ac:spMkLst>
        </pc:spChg>
        <pc:graphicFrameChg chg="mod">
          <ac:chgData name="Tan, Roger" userId="f6f33758-bd69-4951-8148-181de3b92474" providerId="ADAL" clId="{A436842E-EA5C-4A6D-B51D-DDAE8BC6E9BD}" dt="2023-11-08T22:05:59.580" v="81194"/>
          <ac:graphicFrameMkLst>
            <pc:docMk/>
            <pc:sldMk cId="3461975783" sldId="449"/>
            <ac:graphicFrameMk id="4" creationId="{ECE92B82-86F3-9DAE-CCB0-A8B46E3F36BF}"/>
          </ac:graphicFrameMkLst>
        </pc:graphicFrameChg>
        <pc:cxnChg chg="mod">
          <ac:chgData name="Tan, Roger" userId="f6f33758-bd69-4951-8148-181de3b92474" providerId="ADAL" clId="{A436842E-EA5C-4A6D-B51D-DDAE8BC6E9BD}" dt="2023-11-08T22:05:58.198" v="81189" actId="1035"/>
          <ac:cxnSpMkLst>
            <pc:docMk/>
            <pc:sldMk cId="3461975783" sldId="449"/>
            <ac:cxnSpMk id="6" creationId="{0720BBE8-E596-B9A7-45B8-8DA2E0F1DD2F}"/>
          </ac:cxnSpMkLst>
        </pc:cxnChg>
      </pc:sldChg>
      <pc:sldChg chg="delSp modSp mod modNotesTx">
        <pc:chgData name="Tan, Roger" userId="f6f33758-bd69-4951-8148-181de3b92474" providerId="ADAL" clId="{A436842E-EA5C-4A6D-B51D-DDAE8BC6E9BD}" dt="2023-11-08T22:23:58.072" v="81394" actId="14100"/>
        <pc:sldMkLst>
          <pc:docMk/>
          <pc:sldMk cId="3130399512" sldId="450"/>
        </pc:sldMkLst>
        <pc:spChg chg="mod">
          <ac:chgData name="Tan, Roger" userId="f6f33758-bd69-4951-8148-181de3b92474" providerId="ADAL" clId="{A436842E-EA5C-4A6D-B51D-DDAE8BC6E9BD}" dt="2023-11-08T22:23:37.929" v="81393" actId="1076"/>
          <ac:spMkLst>
            <pc:docMk/>
            <pc:sldMk cId="3130399512" sldId="450"/>
            <ac:spMk id="37" creationId="{439FC097-85EB-CA53-776E-44365FB5FB91}"/>
          </ac:spMkLst>
        </pc:spChg>
        <pc:spChg chg="mod">
          <ac:chgData name="Tan, Roger" userId="f6f33758-bd69-4951-8148-181de3b92474" providerId="ADAL" clId="{A436842E-EA5C-4A6D-B51D-DDAE8BC6E9BD}" dt="2023-11-08T22:23:58.072" v="81394" actId="14100"/>
          <ac:spMkLst>
            <pc:docMk/>
            <pc:sldMk cId="3130399512" sldId="450"/>
            <ac:spMk id="39" creationId="{E155505F-2FA3-E458-A59F-70D11671E789}"/>
          </ac:spMkLst>
        </pc:spChg>
        <pc:spChg chg="del">
          <ac:chgData name="Tan, Roger" userId="f6f33758-bd69-4951-8148-181de3b92474" providerId="ADAL" clId="{A436842E-EA5C-4A6D-B51D-DDAE8BC6E9BD}" dt="2023-11-08T22:21:49.732" v="81361" actId="478"/>
          <ac:spMkLst>
            <pc:docMk/>
            <pc:sldMk cId="3130399512" sldId="450"/>
            <ac:spMk id="63" creationId="{39E0A385-1312-7D08-484E-0AD96EC2E227}"/>
          </ac:spMkLst>
        </pc:spChg>
        <pc:grpChg chg="mod">
          <ac:chgData name="Tan, Roger" userId="f6f33758-bd69-4951-8148-181de3b92474" providerId="ADAL" clId="{A436842E-EA5C-4A6D-B51D-DDAE8BC6E9BD}" dt="2023-11-08T22:22:06.624" v="81363" actId="1076"/>
          <ac:grpSpMkLst>
            <pc:docMk/>
            <pc:sldMk cId="3130399512" sldId="450"/>
            <ac:grpSpMk id="3" creationId="{93B3E554-BABF-B432-F988-AF0ADA4D4D78}"/>
          </ac:grpSpMkLst>
        </pc:grpChg>
        <pc:grpChg chg="mod">
          <ac:chgData name="Tan, Roger" userId="f6f33758-bd69-4951-8148-181de3b92474" providerId="ADAL" clId="{A436842E-EA5C-4A6D-B51D-DDAE8BC6E9BD}" dt="2023-11-08T22:23:06.552" v="81390" actId="1038"/>
          <ac:grpSpMkLst>
            <pc:docMk/>
            <pc:sldMk cId="3130399512" sldId="450"/>
            <ac:grpSpMk id="43" creationId="{16CAA7BF-D41C-EE43-F04E-0ED5D57A1F32}"/>
          </ac:grpSpMkLst>
        </pc:grpChg>
        <pc:graphicFrameChg chg="mod">
          <ac:chgData name="Tan, Roger" userId="f6f33758-bd69-4951-8148-181de3b92474" providerId="ADAL" clId="{A436842E-EA5C-4A6D-B51D-DDAE8BC6E9BD}" dt="2023-11-08T03:23:13.210" v="76307"/>
          <ac:graphicFrameMkLst>
            <pc:docMk/>
            <pc:sldMk cId="3130399512" sldId="450"/>
            <ac:graphicFrameMk id="2" creationId="{AD821E07-0C78-9EAC-03E8-B886F21594F7}"/>
          </ac:graphicFrameMkLst>
        </pc:graphicFrameChg>
        <pc:picChg chg="mod">
          <ac:chgData name="Tan, Roger" userId="f6f33758-bd69-4951-8148-181de3b92474" providerId="ADAL" clId="{A436842E-EA5C-4A6D-B51D-DDAE8BC6E9BD}" dt="2023-11-08T22:23:06.552" v="81390" actId="1038"/>
          <ac:picMkLst>
            <pc:docMk/>
            <pc:sldMk cId="3130399512" sldId="450"/>
            <ac:picMk id="60" creationId="{4566E9E7-D007-29EC-AA8B-798CF2520E15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38:59.912" v="85821" actId="478"/>
        <pc:sldMkLst>
          <pc:docMk/>
          <pc:sldMk cId="3061916073" sldId="451"/>
        </pc:sldMkLst>
        <pc:spChg chg="add del mod">
          <ac:chgData name="Tan, Roger" userId="f6f33758-bd69-4951-8148-181de3b92474" providerId="ADAL" clId="{A436842E-EA5C-4A6D-B51D-DDAE8BC6E9BD}" dt="2023-11-08T22:38:59.912" v="85821" actId="478"/>
          <ac:spMkLst>
            <pc:docMk/>
            <pc:sldMk cId="3061916073" sldId="451"/>
            <ac:spMk id="9" creationId="{1898C9A5-0321-8FBC-7D99-5D6A20A6602E}"/>
          </ac:spMkLst>
        </pc:spChg>
      </pc:sldChg>
      <pc:sldChg chg="delSp modSp add mod">
        <pc:chgData name="Tan, Roger" userId="f6f33758-bd69-4951-8148-181de3b92474" providerId="ADAL" clId="{A436842E-EA5C-4A6D-B51D-DDAE8BC6E9BD}" dt="2023-11-08T05:24:58.912" v="76873" actId="478"/>
        <pc:sldMkLst>
          <pc:docMk/>
          <pc:sldMk cId="637327513" sldId="452"/>
        </pc:sldMkLst>
        <pc:spChg chg="mod">
          <ac:chgData name="Tan, Roger" userId="f6f33758-bd69-4951-8148-181de3b92474" providerId="ADAL" clId="{A436842E-EA5C-4A6D-B51D-DDAE8BC6E9BD}" dt="2023-11-08T05:24:56.759" v="76872" actId="20577"/>
          <ac:spMkLst>
            <pc:docMk/>
            <pc:sldMk cId="637327513" sldId="452"/>
            <ac:spMk id="4" creationId="{81D2832F-70CB-55FD-FEDF-22EA36D5525D}"/>
          </ac:spMkLst>
        </pc:spChg>
        <pc:picChg chg="del">
          <ac:chgData name="Tan, Roger" userId="f6f33758-bd69-4951-8148-181de3b92474" providerId="ADAL" clId="{A436842E-EA5C-4A6D-B51D-DDAE8BC6E9BD}" dt="2023-11-08T05:24:58.912" v="76873" actId="478"/>
          <ac:picMkLst>
            <pc:docMk/>
            <pc:sldMk cId="637327513" sldId="452"/>
            <ac:picMk id="5" creationId="{0FAAF111-4F34-542D-85B6-56E01378333F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05:09.766" v="81158" actId="20577"/>
        <pc:sldMkLst>
          <pc:docMk/>
          <pc:sldMk cId="1971886041" sldId="453"/>
        </pc:sldMkLst>
        <pc:spChg chg="add del">
          <ac:chgData name="Tan, Roger" userId="f6f33758-bd69-4951-8148-181de3b92474" providerId="ADAL" clId="{A436842E-EA5C-4A6D-B51D-DDAE8BC6E9BD}" dt="2023-11-08T21:50:56.609" v="80963" actId="21"/>
          <ac:spMkLst>
            <pc:docMk/>
            <pc:sldMk cId="1971886041" sldId="453"/>
            <ac:spMk id="4" creationId="{A530FF90-887E-B8B9-5178-02BB2E64BC83}"/>
          </ac:spMkLst>
        </pc:spChg>
        <pc:spChg chg="mod">
          <ac:chgData name="Tan, Roger" userId="f6f33758-bd69-4951-8148-181de3b92474" providerId="ADAL" clId="{A436842E-EA5C-4A6D-B51D-DDAE8BC6E9BD}" dt="2023-11-08T22:05:09.766" v="81158" actId="20577"/>
          <ac:spMkLst>
            <pc:docMk/>
            <pc:sldMk cId="1971886041" sldId="453"/>
            <ac:spMk id="5" creationId="{5C5361B4-484F-F8E7-34B0-3203444AFF00}"/>
          </ac:spMkLst>
        </pc:spChg>
      </pc:sldChg>
      <pc:sldChg chg="addSp delSp modSp mod">
        <pc:chgData name="Tan, Roger" userId="f6f33758-bd69-4951-8148-181de3b92474" providerId="ADAL" clId="{A436842E-EA5C-4A6D-B51D-DDAE8BC6E9BD}" dt="2023-11-08T09:18:57.894" v="77909"/>
        <pc:sldMkLst>
          <pc:docMk/>
          <pc:sldMk cId="1877260670" sldId="454"/>
        </pc:sldMkLst>
        <pc:spChg chg="add del mod">
          <ac:chgData name="Tan, Roger" userId="f6f33758-bd69-4951-8148-181de3b92474" providerId="ADAL" clId="{A436842E-EA5C-4A6D-B51D-DDAE8BC6E9BD}" dt="2023-11-08T09:14:33.248" v="77547" actId="478"/>
          <ac:spMkLst>
            <pc:docMk/>
            <pc:sldMk cId="1877260670" sldId="454"/>
            <ac:spMk id="2" creationId="{FD65132E-D900-0C2B-C4A2-53B7BF02A652}"/>
          </ac:spMkLst>
        </pc:spChg>
        <pc:spChg chg="mod ord">
          <ac:chgData name="Tan, Roger" userId="f6f33758-bd69-4951-8148-181de3b92474" providerId="ADAL" clId="{A436842E-EA5C-4A6D-B51D-DDAE8BC6E9BD}" dt="2023-11-08T09:18:57.876" v="77884" actId="948"/>
          <ac:spMkLst>
            <pc:docMk/>
            <pc:sldMk cId="1877260670" sldId="454"/>
            <ac:spMk id="3" creationId="{72E3E6EA-111F-56AA-553A-86DC36436039}"/>
          </ac:spMkLst>
        </pc:spChg>
        <pc:spChg chg="del">
          <ac:chgData name="Tan, Roger" userId="f6f33758-bd69-4951-8148-181de3b92474" providerId="ADAL" clId="{A436842E-EA5C-4A6D-B51D-DDAE8BC6E9BD}" dt="2023-11-08T09:05:47.075" v="77398" actId="478"/>
          <ac:spMkLst>
            <pc:docMk/>
            <pc:sldMk cId="1877260670" sldId="454"/>
            <ac:spMk id="7" creationId="{3E9BAB54-1122-74F9-ABAC-9F2E172B1FE5}"/>
          </ac:spMkLst>
        </pc:spChg>
        <pc:spChg chg="add mod ord">
          <ac:chgData name="Tan, Roger" userId="f6f33758-bd69-4951-8148-181de3b92474" providerId="ADAL" clId="{A436842E-EA5C-4A6D-B51D-DDAE8BC6E9BD}" dt="2023-11-08T09:18:40.247" v="77803"/>
          <ac:spMkLst>
            <pc:docMk/>
            <pc:sldMk cId="1877260670" sldId="454"/>
            <ac:spMk id="8" creationId="{EDF34244-66A6-FC1C-C055-8D1D9893023C}"/>
          </ac:spMkLst>
        </pc:spChg>
        <pc:spChg chg="mod ord">
          <ac:chgData name="Tan, Roger" userId="f6f33758-bd69-4951-8148-181de3b92474" providerId="ADAL" clId="{A436842E-EA5C-4A6D-B51D-DDAE8BC6E9BD}" dt="2023-11-08T09:18:40.247" v="77801"/>
          <ac:spMkLst>
            <pc:docMk/>
            <pc:sldMk cId="1877260670" sldId="454"/>
            <ac:spMk id="9" creationId="{7FCDA691-BC7F-370F-B224-E52484633B7A}"/>
          </ac:spMkLst>
        </pc:spChg>
        <pc:spChg chg="add mod ord">
          <ac:chgData name="Tan, Roger" userId="f6f33758-bd69-4951-8148-181de3b92474" providerId="ADAL" clId="{A436842E-EA5C-4A6D-B51D-DDAE8BC6E9BD}" dt="2023-11-08T09:18:40.248" v="77805"/>
          <ac:spMkLst>
            <pc:docMk/>
            <pc:sldMk cId="1877260670" sldId="454"/>
            <ac:spMk id="10" creationId="{A630DADF-AD80-4875-CD1F-93697289D4E6}"/>
          </ac:spMkLst>
        </pc:spChg>
        <pc:spChg chg="add mod ord">
          <ac:chgData name="Tan, Roger" userId="f6f33758-bd69-4951-8148-181de3b92474" providerId="ADAL" clId="{A436842E-EA5C-4A6D-B51D-DDAE8BC6E9BD}" dt="2023-11-08T09:18:40.248" v="77807"/>
          <ac:spMkLst>
            <pc:docMk/>
            <pc:sldMk cId="1877260670" sldId="454"/>
            <ac:spMk id="11" creationId="{6FF49E31-F050-39EB-4395-A658E348917C}"/>
          </ac:spMkLst>
        </pc:spChg>
        <pc:spChg chg="add del mod modVis">
          <ac:chgData name="Tan, Roger" userId="f6f33758-bd69-4951-8148-181de3b92474" providerId="ADAL" clId="{A436842E-EA5C-4A6D-B51D-DDAE8BC6E9BD}" dt="2023-11-08T09:17:41.646" v="77700"/>
          <ac:spMkLst>
            <pc:docMk/>
            <pc:sldMk cId="1877260670" sldId="454"/>
            <ac:spMk id="12" creationId="{51D1C7C6-C58D-9ED1-4F36-BA52CDAD5A08}"/>
          </ac:spMkLst>
        </pc:spChg>
        <pc:spChg chg="add mod ord">
          <ac:chgData name="Tan, Roger" userId="f6f33758-bd69-4951-8148-181de3b92474" providerId="ADAL" clId="{A436842E-EA5C-4A6D-B51D-DDAE8BC6E9BD}" dt="2023-11-08T09:18:40.249" v="77810"/>
          <ac:spMkLst>
            <pc:docMk/>
            <pc:sldMk cId="1877260670" sldId="454"/>
            <ac:spMk id="13" creationId="{6D64455E-0F21-D311-F794-CBE43BE2CA4B}"/>
          </ac:spMkLst>
        </pc:spChg>
        <pc:spChg chg="add del mod modVis">
          <ac:chgData name="Tan, Roger" userId="f6f33758-bd69-4951-8148-181de3b92474" providerId="ADAL" clId="{A436842E-EA5C-4A6D-B51D-DDAE8BC6E9BD}" dt="2023-11-08T09:18:52.475" v="77865" actId="962"/>
          <ac:spMkLst>
            <pc:docMk/>
            <pc:sldMk cId="1877260670" sldId="454"/>
            <ac:spMk id="14" creationId="{53148DD0-1658-6368-D109-D5796FC53CD9}"/>
          </ac:spMkLst>
        </pc:spChg>
        <pc:spChg chg="add del mod modVis">
          <ac:chgData name="Tan, Roger" userId="f6f33758-bd69-4951-8148-181de3b92474" providerId="ADAL" clId="{A436842E-EA5C-4A6D-B51D-DDAE8BC6E9BD}" dt="2023-11-08T09:18:57.893" v="77907"/>
          <ac:spMkLst>
            <pc:docMk/>
            <pc:sldMk cId="1877260670" sldId="454"/>
            <ac:spMk id="15" creationId="{E4DB39D5-778A-5DBE-F35F-A07E3D7CE8A5}"/>
          </ac:spMkLst>
        </pc:spChg>
        <pc:graphicFrameChg chg="mod">
          <ac:chgData name="Tan, Roger" userId="f6f33758-bd69-4951-8148-181de3b92474" providerId="ADAL" clId="{A436842E-EA5C-4A6D-B51D-DDAE8BC6E9BD}" dt="2023-11-08T09:18:57.894" v="77909"/>
          <ac:graphicFrameMkLst>
            <pc:docMk/>
            <pc:sldMk cId="1877260670" sldId="454"/>
            <ac:graphicFrameMk id="4" creationId="{ECE92B82-86F3-9DAE-CCB0-A8B46E3F36BF}"/>
          </ac:graphicFrameMkLst>
        </pc:graphicFrameChg>
        <pc:picChg chg="add del">
          <ac:chgData name="Tan, Roger" userId="f6f33758-bd69-4951-8148-181de3b92474" providerId="ADAL" clId="{A436842E-EA5C-4A6D-B51D-DDAE8BC6E9BD}" dt="2023-11-08T09:08:35.201" v="77418"/>
          <ac:picMkLst>
            <pc:docMk/>
            <pc:sldMk cId="1877260670" sldId="454"/>
            <ac:picMk id="5" creationId="{ABDB64BB-126A-E3F8-3DD3-BF36C7E897DA}"/>
          </ac:picMkLst>
        </pc:picChg>
        <pc:picChg chg="add mod">
          <ac:chgData name="Tan, Roger" userId="f6f33758-bd69-4951-8148-181de3b92474" providerId="ADAL" clId="{A436842E-EA5C-4A6D-B51D-DDAE8BC6E9BD}" dt="2023-11-08T09:18:40.249" v="77812"/>
          <ac:picMkLst>
            <pc:docMk/>
            <pc:sldMk cId="1877260670" sldId="454"/>
            <ac:picMk id="1026" creationId="{6BA4887F-DF66-0876-48B8-25E0E8A0115E}"/>
          </ac:picMkLst>
        </pc:picChg>
        <pc:picChg chg="add mod">
          <ac:chgData name="Tan, Roger" userId="f6f33758-bd69-4951-8148-181de3b92474" providerId="ADAL" clId="{A436842E-EA5C-4A6D-B51D-DDAE8BC6E9BD}" dt="2023-11-08T09:18:40.250" v="77813"/>
          <ac:picMkLst>
            <pc:docMk/>
            <pc:sldMk cId="1877260670" sldId="454"/>
            <ac:picMk id="1028" creationId="{3A4CB70D-FD64-E792-5267-DA8ECB9FFA7F}"/>
          </ac:picMkLst>
        </pc:picChg>
        <pc:picChg chg="add mod">
          <ac:chgData name="Tan, Roger" userId="f6f33758-bd69-4951-8148-181de3b92474" providerId="ADAL" clId="{A436842E-EA5C-4A6D-B51D-DDAE8BC6E9BD}" dt="2023-11-08T09:18:40.248" v="77808"/>
          <ac:picMkLst>
            <pc:docMk/>
            <pc:sldMk cId="1877260670" sldId="454"/>
            <ac:picMk id="1030" creationId="{323F26C5-6081-723A-34BC-3080FD9E1097}"/>
          </ac:picMkLst>
        </pc:picChg>
        <pc:picChg chg="add del mod">
          <ac:chgData name="Tan, Roger" userId="f6f33758-bd69-4951-8148-181de3b92474" providerId="ADAL" clId="{A436842E-EA5C-4A6D-B51D-DDAE8BC6E9BD}" dt="2023-11-08T09:18:40.249" v="77811"/>
          <ac:picMkLst>
            <pc:docMk/>
            <pc:sldMk cId="1877260670" sldId="454"/>
            <ac:picMk id="1032" creationId="{14361B67-38C9-BD8B-3901-D007EE81BC7C}"/>
          </ac:picMkLst>
        </pc:picChg>
        <pc:cxnChg chg="mod ord">
          <ac:chgData name="Tan, Roger" userId="f6f33758-bd69-4951-8148-181de3b92474" providerId="ADAL" clId="{A436842E-EA5C-4A6D-B51D-DDAE8BC6E9BD}" dt="2023-11-08T09:18:57.344" v="77883" actId="1035"/>
          <ac:cxnSpMkLst>
            <pc:docMk/>
            <pc:sldMk cId="1877260670" sldId="454"/>
            <ac:cxnSpMk id="6" creationId="{0720BBE8-E596-B9A7-45B8-8DA2E0F1DD2F}"/>
          </ac:cxnSpMkLst>
        </pc:cxnChg>
      </pc:sldChg>
      <pc:sldChg chg="addSp delSp modSp add mod setBg modAnim">
        <pc:chgData name="Tan, Roger" userId="f6f33758-bd69-4951-8148-181de3b92474" providerId="ADAL" clId="{A436842E-EA5C-4A6D-B51D-DDAE8BC6E9BD}" dt="2023-11-08T08:27:36.690" v="77367"/>
        <pc:sldMkLst>
          <pc:docMk/>
          <pc:sldMk cId="1422633457" sldId="457"/>
        </pc:sldMkLst>
        <pc:spChg chg="add mod ord">
          <ac:chgData name="Tan, Roger" userId="f6f33758-bd69-4951-8148-181de3b92474" providerId="ADAL" clId="{A436842E-EA5C-4A6D-B51D-DDAE8BC6E9BD}" dt="2023-11-08T06:34:27.725" v="77247" actId="1036"/>
          <ac:spMkLst>
            <pc:docMk/>
            <pc:sldMk cId="1422633457" sldId="457"/>
            <ac:spMk id="3" creationId="{C3830DD9-D472-F8F4-4799-5123DC7D9DB6}"/>
          </ac:spMkLst>
        </pc:spChg>
        <pc:spChg chg="add mod ord">
          <ac:chgData name="Tan, Roger" userId="f6f33758-bd69-4951-8148-181de3b92474" providerId="ADAL" clId="{A436842E-EA5C-4A6D-B51D-DDAE8BC6E9BD}" dt="2023-11-08T06:20:18.882" v="77005" actId="14100"/>
          <ac:spMkLst>
            <pc:docMk/>
            <pc:sldMk cId="1422633457" sldId="457"/>
            <ac:spMk id="5" creationId="{358991CB-5AE6-65E9-D857-D970944A1826}"/>
          </ac:spMkLst>
        </pc:spChg>
        <pc:spChg chg="add del mod">
          <ac:chgData name="Tan, Roger" userId="f6f33758-bd69-4951-8148-181de3b92474" providerId="ADAL" clId="{A436842E-EA5C-4A6D-B51D-DDAE8BC6E9BD}" dt="2023-11-08T06:20:48.956" v="77015" actId="478"/>
          <ac:spMkLst>
            <pc:docMk/>
            <pc:sldMk cId="1422633457" sldId="457"/>
            <ac:spMk id="7" creationId="{90077133-9CBE-7AAF-FB2B-DF2BBEA609EC}"/>
          </ac:spMkLst>
        </pc:spChg>
        <pc:spChg chg="add mod">
          <ac:chgData name="Tan, Roger" userId="f6f33758-bd69-4951-8148-181de3b92474" providerId="ADAL" clId="{A436842E-EA5C-4A6D-B51D-DDAE8BC6E9BD}" dt="2023-11-08T06:34:16.405" v="77237" actId="1076"/>
          <ac:spMkLst>
            <pc:docMk/>
            <pc:sldMk cId="1422633457" sldId="457"/>
            <ac:spMk id="9" creationId="{05174B72-DA4B-74A5-D1E1-FD3E2B58C91C}"/>
          </ac:spMkLst>
        </pc:spChg>
        <pc:spChg chg="del">
          <ac:chgData name="Tan, Roger" userId="f6f33758-bd69-4951-8148-181de3b92474" providerId="ADAL" clId="{A436842E-EA5C-4A6D-B51D-DDAE8BC6E9BD}" dt="2023-11-08T07:56:11.597" v="77328" actId="478"/>
          <ac:spMkLst>
            <pc:docMk/>
            <pc:sldMk cId="1422633457" sldId="457"/>
            <ac:spMk id="10" creationId="{A08D63B4-13D4-1002-6E81-1DDBF3006E49}"/>
          </ac:spMkLst>
        </pc:spChg>
        <pc:spChg chg="mod ord">
          <ac:chgData name="Tan, Roger" userId="f6f33758-bd69-4951-8148-181de3b92474" providerId="ADAL" clId="{A436842E-EA5C-4A6D-B51D-DDAE8BC6E9BD}" dt="2023-11-08T06:34:09.213" v="77232" actId="20577"/>
          <ac:spMkLst>
            <pc:docMk/>
            <pc:sldMk cId="1422633457" sldId="457"/>
            <ac:spMk id="395" creationId="{00000000-0000-0000-0000-000000000000}"/>
          </ac:spMkLst>
        </pc:spChg>
        <pc:spChg chg="del mod ord">
          <ac:chgData name="Tan, Roger" userId="f6f33758-bd69-4951-8148-181de3b92474" providerId="ADAL" clId="{A436842E-EA5C-4A6D-B51D-DDAE8BC6E9BD}" dt="2023-11-08T06:20:32.340" v="77007" actId="478"/>
          <ac:spMkLst>
            <pc:docMk/>
            <pc:sldMk cId="1422633457" sldId="457"/>
            <ac:spMk id="396" creationId="{00000000-0000-0000-0000-000000000000}"/>
          </ac:spMkLst>
        </pc:spChg>
        <pc:spChg chg="del">
          <ac:chgData name="Tan, Roger" userId="f6f33758-bd69-4951-8148-181de3b92474" providerId="ADAL" clId="{A436842E-EA5C-4A6D-B51D-DDAE8BC6E9BD}" dt="2023-11-08T06:14:33.818" v="76904" actId="478"/>
          <ac:spMkLst>
            <pc:docMk/>
            <pc:sldMk cId="1422633457" sldId="457"/>
            <ac:spMk id="397" creationId="{00000000-0000-0000-0000-000000000000}"/>
          </ac:spMkLst>
        </pc:spChg>
        <pc:spChg chg="del">
          <ac:chgData name="Tan, Roger" userId="f6f33758-bd69-4951-8148-181de3b92474" providerId="ADAL" clId="{A436842E-EA5C-4A6D-B51D-DDAE8BC6E9BD}" dt="2023-11-08T06:14:34.648" v="76905" actId="478"/>
          <ac:spMkLst>
            <pc:docMk/>
            <pc:sldMk cId="1422633457" sldId="457"/>
            <ac:spMk id="398" creationId="{00000000-0000-0000-0000-000000000000}"/>
          </ac:spMkLst>
        </pc:spChg>
        <pc:spChg chg="del">
          <ac:chgData name="Tan, Roger" userId="f6f33758-bd69-4951-8148-181de3b92474" providerId="ADAL" clId="{A436842E-EA5C-4A6D-B51D-DDAE8BC6E9BD}" dt="2023-11-08T06:14:33.366" v="76903" actId="478"/>
          <ac:spMkLst>
            <pc:docMk/>
            <pc:sldMk cId="1422633457" sldId="457"/>
            <ac:spMk id="399" creationId="{00000000-0000-0000-0000-000000000000}"/>
          </ac:spMkLst>
        </pc:spChg>
        <pc:spChg chg="del">
          <ac:chgData name="Tan, Roger" userId="f6f33758-bd69-4951-8148-181de3b92474" providerId="ADAL" clId="{A436842E-EA5C-4A6D-B51D-DDAE8BC6E9BD}" dt="2023-11-08T06:14:32.431" v="76902" actId="478"/>
          <ac:spMkLst>
            <pc:docMk/>
            <pc:sldMk cId="1422633457" sldId="457"/>
            <ac:spMk id="400" creationId="{00000000-0000-0000-0000-000000000000}"/>
          </ac:spMkLst>
        </pc:spChg>
        <pc:spChg chg="del">
          <ac:chgData name="Tan, Roger" userId="f6f33758-bd69-4951-8148-181de3b92474" providerId="ADAL" clId="{A436842E-EA5C-4A6D-B51D-DDAE8BC6E9BD}" dt="2023-11-08T06:14:31.929" v="76901" actId="478"/>
          <ac:spMkLst>
            <pc:docMk/>
            <pc:sldMk cId="1422633457" sldId="457"/>
            <ac:spMk id="401" creationId="{00000000-0000-0000-0000-000000000000}"/>
          </ac:spMkLst>
        </pc:spChg>
        <pc:grpChg chg="del">
          <ac:chgData name="Tan, Roger" userId="f6f33758-bd69-4951-8148-181de3b92474" providerId="ADAL" clId="{A436842E-EA5C-4A6D-B51D-DDAE8BC6E9BD}" dt="2023-11-08T06:14:30.421" v="76900" actId="478"/>
          <ac:grpSpMkLst>
            <pc:docMk/>
            <pc:sldMk cId="1422633457" sldId="457"/>
            <ac:grpSpMk id="319" creationId="{00000000-0000-0000-0000-000000000000}"/>
          </ac:grpSpMkLst>
        </pc:grpChg>
        <pc:graphicFrameChg chg="add mod ord modVis replST">
          <ac:chgData name="Tan, Roger" userId="f6f33758-bd69-4951-8148-181de3b92474" providerId="ADAL" clId="{A436842E-EA5C-4A6D-B51D-DDAE8BC6E9BD}" dt="2023-11-08T06:34:09.730" v="77236"/>
          <ac:graphicFrameMkLst>
            <pc:docMk/>
            <pc:sldMk cId="1422633457" sldId="457"/>
            <ac:graphicFrameMk id="2" creationId="{6DFFB782-796B-7F40-EEAB-5FB33E92F1A5}"/>
          </ac:graphicFrameMkLst>
        </pc:graphicFrameChg>
        <pc:picChg chg="mod">
          <ac:chgData name="Tan, Roger" userId="f6f33758-bd69-4951-8148-181de3b92474" providerId="ADAL" clId="{A436842E-EA5C-4A6D-B51D-DDAE8BC6E9BD}" dt="2023-11-08T06:21:03.637" v="77024" actId="1036"/>
          <ac:picMkLst>
            <pc:docMk/>
            <pc:sldMk cId="1422633457" sldId="457"/>
            <ac:picMk id="7170" creationId="{15DE2139-05DF-873B-F356-7B241597BF3C}"/>
          </ac:picMkLst>
        </pc:picChg>
        <pc:picChg chg="mod">
          <ac:chgData name="Tan, Roger" userId="f6f33758-bd69-4951-8148-181de3b92474" providerId="ADAL" clId="{A436842E-EA5C-4A6D-B51D-DDAE8BC6E9BD}" dt="2023-11-08T06:34:44.988" v="77248" actId="732"/>
          <ac:picMkLst>
            <pc:docMk/>
            <pc:sldMk cId="1422633457" sldId="457"/>
            <ac:picMk id="7172" creationId="{83F27859-7B42-DD80-A1C9-3C248999B7A1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17:24.803" v="81359"/>
        <pc:sldMkLst>
          <pc:docMk/>
          <pc:sldMk cId="3654279583" sldId="461"/>
        </pc:sldMkLst>
        <pc:spChg chg="add del mod">
          <ac:chgData name="Tan, Roger" userId="f6f33758-bd69-4951-8148-181de3b92474" providerId="ADAL" clId="{A436842E-EA5C-4A6D-B51D-DDAE8BC6E9BD}" dt="2023-11-08T21:57:33.416" v="81153" actId="478"/>
          <ac:spMkLst>
            <pc:docMk/>
            <pc:sldMk cId="3654279583" sldId="461"/>
            <ac:spMk id="7" creationId="{B074953C-6508-C6F3-2FA9-C9537FD8FC32}"/>
          </ac:spMkLst>
        </pc:spChg>
        <pc:spChg chg="add mod">
          <ac:chgData name="Tan, Roger" userId="f6f33758-bd69-4951-8148-181de3b92474" providerId="ADAL" clId="{A436842E-EA5C-4A6D-B51D-DDAE8BC6E9BD}" dt="2023-11-08T22:17:24.803" v="81359"/>
          <ac:spMkLst>
            <pc:docMk/>
            <pc:sldMk cId="3654279583" sldId="461"/>
            <ac:spMk id="8" creationId="{65A4D6F0-1DC4-EE5F-221C-168B5CFE4FB4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17.765" v="81354"/>
        <pc:sldMkLst>
          <pc:docMk/>
          <pc:sldMk cId="1487745011" sldId="466"/>
        </pc:sldMkLst>
        <pc:spChg chg="add del mod">
          <ac:chgData name="Tan, Roger" userId="f6f33758-bd69-4951-8148-181de3b92474" providerId="ADAL" clId="{A436842E-EA5C-4A6D-B51D-DDAE8BC6E9BD}" dt="2023-11-08T21:57:26.133" v="81148" actId="478"/>
          <ac:spMkLst>
            <pc:docMk/>
            <pc:sldMk cId="1487745011" sldId="466"/>
            <ac:spMk id="43" creationId="{28EA6B53-F693-89D6-7DF7-37114F5059BC}"/>
          </ac:spMkLst>
        </pc:spChg>
        <pc:spChg chg="add mod">
          <ac:chgData name="Tan, Roger" userId="f6f33758-bd69-4951-8148-181de3b92474" providerId="ADAL" clId="{A436842E-EA5C-4A6D-B51D-DDAE8BC6E9BD}" dt="2023-11-08T22:17:17.765" v="81354"/>
          <ac:spMkLst>
            <pc:docMk/>
            <pc:sldMk cId="1487745011" sldId="466"/>
            <ac:spMk id="44" creationId="{7D51928A-FA97-8FD7-663D-12136335D83E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26.089" v="81360"/>
        <pc:sldMkLst>
          <pc:docMk/>
          <pc:sldMk cId="3887858075" sldId="467"/>
        </pc:sldMkLst>
        <pc:spChg chg="add del mod">
          <ac:chgData name="Tan, Roger" userId="f6f33758-bd69-4951-8148-181de3b92474" providerId="ADAL" clId="{A436842E-EA5C-4A6D-B51D-DDAE8BC6E9BD}" dt="2023-11-08T21:57:35.452" v="81154" actId="478"/>
          <ac:spMkLst>
            <pc:docMk/>
            <pc:sldMk cId="3887858075" sldId="467"/>
            <ac:spMk id="2" creationId="{B1ECAB3B-3CD4-49FC-B818-817E3BDD319D}"/>
          </ac:spMkLst>
        </pc:spChg>
        <pc:spChg chg="add mod">
          <ac:chgData name="Tan, Roger" userId="f6f33758-bd69-4951-8148-181de3b92474" providerId="ADAL" clId="{A436842E-EA5C-4A6D-B51D-DDAE8BC6E9BD}" dt="2023-11-08T22:17:26.089" v="81360"/>
          <ac:spMkLst>
            <pc:docMk/>
            <pc:sldMk cId="3887858075" sldId="467"/>
            <ac:spMk id="3" creationId="{401806A5-6A48-43C0-CF83-2A0FD907F1B8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23.788" v="81358"/>
        <pc:sldMkLst>
          <pc:docMk/>
          <pc:sldMk cId="1476599744" sldId="468"/>
        </pc:sldMkLst>
        <pc:spChg chg="add del mod">
          <ac:chgData name="Tan, Roger" userId="f6f33758-bd69-4951-8148-181de3b92474" providerId="ADAL" clId="{A436842E-EA5C-4A6D-B51D-DDAE8BC6E9BD}" dt="2023-11-08T21:57:31.918" v="81152" actId="478"/>
          <ac:spMkLst>
            <pc:docMk/>
            <pc:sldMk cId="1476599744" sldId="468"/>
            <ac:spMk id="2" creationId="{2FA19A53-17F5-249E-563F-3245449F704D}"/>
          </ac:spMkLst>
        </pc:spChg>
        <pc:spChg chg="add mod">
          <ac:chgData name="Tan, Roger" userId="f6f33758-bd69-4951-8148-181de3b92474" providerId="ADAL" clId="{A436842E-EA5C-4A6D-B51D-DDAE8BC6E9BD}" dt="2023-11-08T22:17:23.788" v="81358"/>
          <ac:spMkLst>
            <pc:docMk/>
            <pc:sldMk cId="1476599744" sldId="468"/>
            <ac:spMk id="10" creationId="{637D611C-E622-92ED-319F-B02A313FB5A3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20.107" v="81356"/>
        <pc:sldMkLst>
          <pc:docMk/>
          <pc:sldMk cId="503182321" sldId="469"/>
        </pc:sldMkLst>
        <pc:spChg chg="add del mod">
          <ac:chgData name="Tan, Roger" userId="f6f33758-bd69-4951-8148-181de3b92474" providerId="ADAL" clId="{A436842E-EA5C-4A6D-B51D-DDAE8BC6E9BD}" dt="2023-11-08T21:57:29.007" v="81150" actId="478"/>
          <ac:spMkLst>
            <pc:docMk/>
            <pc:sldMk cId="503182321" sldId="469"/>
            <ac:spMk id="2" creationId="{99043753-A5C0-B0DD-49E1-A0F3F31CADE6}"/>
          </ac:spMkLst>
        </pc:spChg>
        <pc:spChg chg="add mod">
          <ac:chgData name="Tan, Roger" userId="f6f33758-bd69-4951-8148-181de3b92474" providerId="ADAL" clId="{A436842E-EA5C-4A6D-B51D-DDAE8BC6E9BD}" dt="2023-11-08T22:17:20.107" v="81356"/>
          <ac:spMkLst>
            <pc:docMk/>
            <pc:sldMk cId="503182321" sldId="469"/>
            <ac:spMk id="5" creationId="{7E635266-C0D6-3276-74D9-DEBC2036B20C}"/>
          </ac:spMkLst>
        </pc:spChg>
      </pc:sldChg>
      <pc:sldChg chg="addSp delSp modSp mod">
        <pc:chgData name="Tan, Roger" userId="f6f33758-bd69-4951-8148-181de3b92474" providerId="ADAL" clId="{A436842E-EA5C-4A6D-B51D-DDAE8BC6E9BD}" dt="2023-11-08T18:55:17.238" v="80039" actId="14100"/>
        <pc:sldMkLst>
          <pc:docMk/>
          <pc:sldMk cId="3153307447" sldId="470"/>
        </pc:sldMkLst>
        <pc:spChg chg="add del">
          <ac:chgData name="Tan, Roger" userId="f6f33758-bd69-4951-8148-181de3b92474" providerId="ADAL" clId="{A436842E-EA5C-4A6D-B51D-DDAE8BC6E9BD}" dt="2023-11-08T18:54:17.281" v="80013" actId="22"/>
          <ac:spMkLst>
            <pc:docMk/>
            <pc:sldMk cId="3153307447" sldId="470"/>
            <ac:spMk id="5" creationId="{8722BCBA-07C6-E8D1-5303-DC7A0925680E}"/>
          </ac:spMkLst>
        </pc:spChg>
        <pc:spChg chg="add del">
          <ac:chgData name="Tan, Roger" userId="f6f33758-bd69-4951-8148-181de3b92474" providerId="ADAL" clId="{A436842E-EA5C-4A6D-B51D-DDAE8BC6E9BD}" dt="2023-11-08T18:54:18.007" v="80016" actId="22"/>
          <ac:spMkLst>
            <pc:docMk/>
            <pc:sldMk cId="3153307447" sldId="470"/>
            <ac:spMk id="7" creationId="{C9237085-BC45-6F2F-3031-6633C1DD6053}"/>
          </ac:spMkLst>
        </pc:spChg>
        <pc:spChg chg="add mod">
          <ac:chgData name="Tan, Roger" userId="f6f33758-bd69-4951-8148-181de3b92474" providerId="ADAL" clId="{A436842E-EA5C-4A6D-B51D-DDAE8BC6E9BD}" dt="2023-11-08T18:55:17.238" v="80039" actId="14100"/>
          <ac:spMkLst>
            <pc:docMk/>
            <pc:sldMk cId="3153307447" sldId="470"/>
            <ac:spMk id="9" creationId="{51CFCE15-F8FD-C854-B641-53D0E6EEA05A}"/>
          </ac:spMkLst>
        </pc:spChg>
        <pc:graphicFrameChg chg="add mod">
          <ac:chgData name="Tan, Roger" userId="f6f33758-bd69-4951-8148-181de3b92474" providerId="ADAL" clId="{A436842E-EA5C-4A6D-B51D-DDAE8BC6E9BD}" dt="2023-11-08T18:55:11.804" v="80037" actId="1076"/>
          <ac:graphicFrameMkLst>
            <pc:docMk/>
            <pc:sldMk cId="3153307447" sldId="470"/>
            <ac:graphicFrameMk id="3" creationId="{134D21F6-90FE-7848-A0A1-89DF693B0533}"/>
          </ac:graphicFrameMkLst>
        </pc:graphicFrameChg>
        <pc:graphicFrameChg chg="mod">
          <ac:chgData name="Tan, Roger" userId="f6f33758-bd69-4951-8148-181de3b92474" providerId="ADAL" clId="{A436842E-EA5C-4A6D-B51D-DDAE8BC6E9BD}" dt="2023-11-08T08:58:13.429" v="77397"/>
          <ac:graphicFrameMkLst>
            <pc:docMk/>
            <pc:sldMk cId="3153307447" sldId="470"/>
            <ac:graphicFrameMk id="38" creationId="{0648CCD8-7309-CC0A-A621-001F5A7CAF43}"/>
          </ac:graphicFrameMkLst>
        </pc:graphicFrameChg>
      </pc:sldChg>
      <pc:sldChg chg="addSp delSp modSp mod">
        <pc:chgData name="Tan, Roger" userId="f6f33758-bd69-4951-8148-181de3b92474" providerId="ADAL" clId="{A436842E-EA5C-4A6D-B51D-DDAE8BC6E9BD}" dt="2023-11-08T22:16:58.235" v="81337"/>
        <pc:sldMkLst>
          <pc:docMk/>
          <pc:sldMk cId="3899210753" sldId="470"/>
        </pc:sldMkLst>
        <pc:spChg chg="add del mod">
          <ac:chgData name="Tan, Roger" userId="f6f33758-bd69-4951-8148-181de3b92474" providerId="ADAL" clId="{A436842E-EA5C-4A6D-B51D-DDAE8BC6E9BD}" dt="2023-11-08T21:56:47.940" v="81126" actId="478"/>
          <ac:spMkLst>
            <pc:docMk/>
            <pc:sldMk cId="3899210753" sldId="470"/>
            <ac:spMk id="4" creationId="{749300E6-5349-5396-5504-4A64B73A0E3E}"/>
          </ac:spMkLst>
        </pc:spChg>
        <pc:spChg chg="add mod">
          <ac:chgData name="Tan, Roger" userId="f6f33758-bd69-4951-8148-181de3b92474" providerId="ADAL" clId="{A436842E-EA5C-4A6D-B51D-DDAE8BC6E9BD}" dt="2023-11-08T22:16:58.235" v="81337"/>
          <ac:spMkLst>
            <pc:docMk/>
            <pc:sldMk cId="3899210753" sldId="470"/>
            <ac:spMk id="5" creationId="{43672749-F008-8B5F-9867-64E88EEE7F5E}"/>
          </ac:spMkLst>
        </pc:spChg>
      </pc:sldChg>
      <pc:sldChg chg="addSp delSp modSp mod">
        <pc:chgData name="Tan, Roger" userId="f6f33758-bd69-4951-8148-181de3b92474" providerId="ADAL" clId="{A436842E-EA5C-4A6D-B51D-DDAE8BC6E9BD}" dt="2023-11-08T21:56:55.811" v="81130" actId="478"/>
        <pc:sldMkLst>
          <pc:docMk/>
          <pc:sldMk cId="1884393572" sldId="472"/>
        </pc:sldMkLst>
        <pc:spChg chg="add del mod">
          <ac:chgData name="Tan, Roger" userId="f6f33758-bd69-4951-8148-181de3b92474" providerId="ADAL" clId="{A436842E-EA5C-4A6D-B51D-DDAE8BC6E9BD}" dt="2023-11-08T21:56:55.811" v="81130" actId="478"/>
          <ac:spMkLst>
            <pc:docMk/>
            <pc:sldMk cId="1884393572" sldId="472"/>
            <ac:spMk id="4" creationId="{D1881758-3F30-7DAB-D49C-59754E5C4F87}"/>
          </ac:spMkLst>
        </pc:spChg>
        <pc:spChg chg="mod">
          <ac:chgData name="Tan, Roger" userId="f6f33758-bd69-4951-8148-181de3b92474" providerId="ADAL" clId="{A436842E-EA5C-4A6D-B51D-DDAE8BC6E9BD}" dt="2023-11-08T17:54:58.792" v="77941" actId="120"/>
          <ac:spMkLst>
            <pc:docMk/>
            <pc:sldMk cId="1884393572" sldId="472"/>
            <ac:spMk id="93" creationId="{C19FBD3A-9BCC-3DDD-8395-CE1EB3AE2C98}"/>
          </ac:spMkLst>
        </pc:spChg>
        <pc:graphicFrameChg chg="mod modGraphic">
          <ac:chgData name="Tan, Roger" userId="f6f33758-bd69-4951-8148-181de3b92474" providerId="ADAL" clId="{A436842E-EA5C-4A6D-B51D-DDAE8BC6E9BD}" dt="2023-11-08T18:06:21.150" v="78163" actId="207"/>
          <ac:graphicFrameMkLst>
            <pc:docMk/>
            <pc:sldMk cId="1884393572" sldId="472"/>
            <ac:graphicFrameMk id="3" creationId="{BF097ADF-6D25-CFB0-A3F1-36D1A6243C30}"/>
          </ac:graphicFrameMkLst>
        </pc:graphicFrameChg>
      </pc:sldChg>
      <pc:sldChg chg="addSp delSp modSp add mod">
        <pc:chgData name="Tan, Roger" userId="f6f33758-bd69-4951-8148-181de3b92474" providerId="ADAL" clId="{A436842E-EA5C-4A6D-B51D-DDAE8BC6E9BD}" dt="2023-11-08T22:17:00.302" v="81339"/>
        <pc:sldMkLst>
          <pc:docMk/>
          <pc:sldMk cId="3496700648" sldId="473"/>
        </pc:sldMkLst>
        <pc:spChg chg="add del mod">
          <ac:chgData name="Tan, Roger" userId="f6f33758-bd69-4951-8148-181de3b92474" providerId="ADAL" clId="{A436842E-EA5C-4A6D-B51D-DDAE8BC6E9BD}" dt="2023-11-08T21:57:04.596" v="81134" actId="478"/>
          <ac:spMkLst>
            <pc:docMk/>
            <pc:sldMk cId="3496700648" sldId="473"/>
            <ac:spMk id="2" creationId="{32124ED7-2F08-8E7A-C314-80074E02392B}"/>
          </ac:spMkLst>
        </pc:spChg>
        <pc:spChg chg="add mod">
          <ac:chgData name="Tan, Roger" userId="f6f33758-bd69-4951-8148-181de3b92474" providerId="ADAL" clId="{A436842E-EA5C-4A6D-B51D-DDAE8BC6E9BD}" dt="2023-11-08T22:17:00.302" v="81339"/>
          <ac:spMkLst>
            <pc:docMk/>
            <pc:sldMk cId="3496700648" sldId="473"/>
            <ac:spMk id="4" creationId="{F5769222-9A55-D526-7D2E-C2548FCEFBFB}"/>
          </ac:spMkLst>
        </pc:spChg>
        <pc:spChg chg="del">
          <ac:chgData name="Tan, Roger" userId="f6f33758-bd69-4951-8148-181de3b92474" providerId="ADAL" clId="{A436842E-EA5C-4A6D-B51D-DDAE8BC6E9BD}" dt="2023-11-08T18:09:53.116" v="78169" actId="478"/>
          <ac:spMkLst>
            <pc:docMk/>
            <pc:sldMk cId="3496700648" sldId="473"/>
            <ac:spMk id="6" creationId="{7F24B19F-F6EC-9C3D-C026-CAD0AA47D2D9}"/>
          </ac:spMkLst>
        </pc:spChg>
        <pc:spChg chg="add mod">
          <ac:chgData name="Tan, Roger" userId="f6f33758-bd69-4951-8148-181de3b92474" providerId="ADAL" clId="{A436842E-EA5C-4A6D-B51D-DDAE8BC6E9BD}" dt="2023-11-08T18:19:00.632" v="78464" actId="12"/>
          <ac:spMkLst>
            <pc:docMk/>
            <pc:sldMk cId="3496700648" sldId="473"/>
            <ac:spMk id="8" creationId="{41780354-602E-0AF0-D2E9-381C9EE8F332}"/>
          </ac:spMkLst>
        </pc:spChg>
        <pc:spChg chg="mod">
          <ac:chgData name="Tan, Roger" userId="f6f33758-bd69-4951-8148-181de3b92474" providerId="ADAL" clId="{A436842E-EA5C-4A6D-B51D-DDAE8BC6E9BD}" dt="2023-11-08T18:11:31.648" v="78193" actId="1076"/>
          <ac:spMkLst>
            <pc:docMk/>
            <pc:sldMk cId="3496700648" sldId="473"/>
            <ac:spMk id="25" creationId="{91448A82-D3F1-BCEF-9863-30B9F919645B}"/>
          </ac:spMkLst>
        </pc:spChg>
        <pc:picChg chg="add del mod">
          <ac:chgData name="Tan, Roger" userId="f6f33758-bd69-4951-8148-181de3b92474" providerId="ADAL" clId="{A436842E-EA5C-4A6D-B51D-DDAE8BC6E9BD}" dt="2023-11-08T18:11:58.684" v="78198" actId="1076"/>
          <ac:picMkLst>
            <pc:docMk/>
            <pc:sldMk cId="3496700648" sldId="473"/>
            <ac:picMk id="3" creationId="{24B22B4B-E618-87F6-6BA4-DCD915FDF011}"/>
          </ac:picMkLst>
        </pc:picChg>
        <pc:picChg chg="add del mod modCrop">
          <ac:chgData name="Tan, Roger" userId="f6f33758-bd69-4951-8148-181de3b92474" providerId="ADAL" clId="{A436842E-EA5C-4A6D-B51D-DDAE8BC6E9BD}" dt="2023-11-08T18:11:11.934" v="78185" actId="22"/>
          <ac:picMkLst>
            <pc:docMk/>
            <pc:sldMk cId="3496700648" sldId="473"/>
            <ac:picMk id="5" creationId="{182A6708-4FD7-5CFC-660D-FA13458950B9}"/>
          </ac:picMkLst>
        </pc:picChg>
      </pc:sldChg>
      <pc:sldChg chg="addSp delSp modSp add mod ord">
        <pc:chgData name="Tan, Roger" userId="f6f33758-bd69-4951-8148-181de3b92474" providerId="ADAL" clId="{A436842E-EA5C-4A6D-B51D-DDAE8BC6E9BD}" dt="2023-11-08T22:16:32.429" v="81324"/>
        <pc:sldMkLst>
          <pc:docMk/>
          <pc:sldMk cId="1844015214" sldId="474"/>
        </pc:sldMkLst>
        <pc:spChg chg="add del mod">
          <ac:chgData name="Tan, Roger" userId="f6f33758-bd69-4951-8148-181de3b92474" providerId="ADAL" clId="{A436842E-EA5C-4A6D-B51D-DDAE8BC6E9BD}" dt="2023-11-08T21:56:31.734" v="81117" actId="478"/>
          <ac:spMkLst>
            <pc:docMk/>
            <pc:sldMk cId="1844015214" sldId="474"/>
            <ac:spMk id="4" creationId="{51E36516-4B4D-EB11-488F-4D7F5806A66C}"/>
          </ac:spMkLst>
        </pc:spChg>
        <pc:spChg chg="add mod">
          <ac:chgData name="Tan, Roger" userId="f6f33758-bd69-4951-8148-181de3b92474" providerId="ADAL" clId="{A436842E-EA5C-4A6D-B51D-DDAE8BC6E9BD}" dt="2023-11-08T22:16:32.429" v="81324"/>
          <ac:spMkLst>
            <pc:docMk/>
            <pc:sldMk cId="1844015214" sldId="474"/>
            <ac:spMk id="5" creationId="{136400FC-BC06-9734-4D4F-0AD47CB47172}"/>
          </ac:spMkLst>
        </pc:spChg>
        <pc:spChg chg="del mod">
          <ac:chgData name="Tan, Roger" userId="f6f33758-bd69-4951-8148-181de3b92474" providerId="ADAL" clId="{A436842E-EA5C-4A6D-B51D-DDAE8BC6E9BD}" dt="2023-11-08T18:37:44.829" v="79791" actId="478"/>
          <ac:spMkLst>
            <pc:docMk/>
            <pc:sldMk cId="1844015214" sldId="474"/>
            <ac:spMk id="5" creationId="{F98E0085-1B2F-8FCC-5104-FE58AE5DF7E0}"/>
          </ac:spMkLst>
        </pc:spChg>
        <pc:graphicFrameChg chg="add mod modGraphic">
          <ac:chgData name="Tan, Roger" userId="f6f33758-bd69-4951-8148-181de3b92474" providerId="ADAL" clId="{A436842E-EA5C-4A6D-B51D-DDAE8BC6E9BD}" dt="2023-11-08T18:40:58.276" v="79858" actId="20577"/>
          <ac:graphicFrameMkLst>
            <pc:docMk/>
            <pc:sldMk cId="1844015214" sldId="474"/>
            <ac:graphicFrameMk id="2" creationId="{E9E2ECDC-2043-1F79-3795-CCD7F70E7340}"/>
          </ac:graphicFrameMkLst>
        </pc:graphicFrameChg>
      </pc:sldChg>
      <pc:sldChg chg="add ord">
        <pc:chgData name="Tan, Roger" userId="f6f33758-bd69-4951-8148-181de3b92474" providerId="ADAL" clId="{A436842E-EA5C-4A6D-B51D-DDAE8BC6E9BD}" dt="2023-11-08T18:52:39.332" v="80008"/>
        <pc:sldMkLst>
          <pc:docMk/>
          <pc:sldMk cId="3182170248" sldId="475"/>
        </pc:sldMkLst>
      </pc:sldChg>
      <pc:sldChg chg="addSp delSp modSp add mod ord">
        <pc:chgData name="Tan, Roger" userId="f6f33758-bd69-4951-8148-181de3b92474" providerId="ADAL" clId="{A436842E-EA5C-4A6D-B51D-DDAE8BC6E9BD}" dt="2023-11-08T22:16:52.842" v="81332"/>
        <pc:sldMkLst>
          <pc:docMk/>
          <pc:sldMk cId="261374360" sldId="476"/>
        </pc:sldMkLst>
        <pc:spChg chg="mod">
          <ac:chgData name="Tan, Roger" userId="f6f33758-bd69-4951-8148-181de3b92474" providerId="ADAL" clId="{A436842E-EA5C-4A6D-B51D-DDAE8BC6E9BD}" dt="2023-11-08T20:51:21.117" v="80152" actId="20577"/>
          <ac:spMkLst>
            <pc:docMk/>
            <pc:sldMk cId="261374360" sldId="476"/>
            <ac:spMk id="2" creationId="{E7F44E44-B4A2-3239-030E-CC17D25A9990}"/>
          </ac:spMkLst>
        </pc:spChg>
        <pc:spChg chg="add del mod">
          <ac:chgData name="Tan, Roger" userId="f6f33758-bd69-4951-8148-181de3b92474" providerId="ADAL" clId="{A436842E-EA5C-4A6D-B51D-DDAE8BC6E9BD}" dt="2023-11-08T21:56:57.396" v="81131" actId="478"/>
          <ac:spMkLst>
            <pc:docMk/>
            <pc:sldMk cId="261374360" sldId="476"/>
            <ac:spMk id="9" creationId="{FD455EAC-F343-B8E9-3422-D8D6B6AA01C0}"/>
          </ac:spMkLst>
        </pc:spChg>
        <pc:spChg chg="add mod">
          <ac:chgData name="Tan, Roger" userId="f6f33758-bd69-4951-8148-181de3b92474" providerId="ADAL" clId="{A436842E-EA5C-4A6D-B51D-DDAE8BC6E9BD}" dt="2023-11-08T22:16:52.842" v="81332"/>
          <ac:spMkLst>
            <pc:docMk/>
            <pc:sldMk cId="261374360" sldId="476"/>
            <ac:spMk id="10" creationId="{54B7EF50-DC3F-D8F0-8164-9E409CD1E935}"/>
          </ac:spMkLst>
        </pc:spChg>
        <pc:graphicFrameChg chg="del">
          <ac:chgData name="Tan, Roger" userId="f6f33758-bd69-4951-8148-181de3b92474" providerId="ADAL" clId="{A436842E-EA5C-4A6D-B51D-DDAE8BC6E9BD}" dt="2023-11-08T20:48:27.125" v="80106" actId="478"/>
          <ac:graphicFrameMkLst>
            <pc:docMk/>
            <pc:sldMk cId="261374360" sldId="476"/>
            <ac:graphicFrameMk id="3" creationId="{DF96594D-CAD9-9C59-D531-8C01290DDEEA}"/>
          </ac:graphicFrameMkLst>
        </pc:graphicFrameChg>
        <pc:picChg chg="add del mod modCrop">
          <ac:chgData name="Tan, Roger" userId="f6f33758-bd69-4951-8148-181de3b92474" providerId="ADAL" clId="{A436842E-EA5C-4A6D-B51D-DDAE8BC6E9BD}" dt="2023-11-08T20:50:57.440" v="80142" actId="478"/>
          <ac:picMkLst>
            <pc:docMk/>
            <pc:sldMk cId="261374360" sldId="476"/>
            <ac:picMk id="6" creationId="{0A7EA947-22F7-14B5-BEEE-B5DEFB01DC4D}"/>
          </ac:picMkLst>
        </pc:picChg>
        <pc:picChg chg="add mod modCrop">
          <ac:chgData name="Tan, Roger" userId="f6f33758-bd69-4951-8148-181de3b92474" providerId="ADAL" clId="{A436842E-EA5C-4A6D-B51D-DDAE8BC6E9BD}" dt="2023-11-08T20:51:09.043" v="80147" actId="1076"/>
          <ac:picMkLst>
            <pc:docMk/>
            <pc:sldMk cId="261374360" sldId="476"/>
            <ac:picMk id="8" creationId="{E9429180-A6FB-E9D9-928B-9943738FDF4C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17:11.525" v="81351"/>
        <pc:sldMkLst>
          <pc:docMk/>
          <pc:sldMk cId="111284301" sldId="477"/>
        </pc:sldMkLst>
        <pc:spChg chg="add del mod">
          <ac:chgData name="Tan, Roger" userId="f6f33758-bd69-4951-8148-181de3b92474" providerId="ADAL" clId="{A436842E-EA5C-4A6D-B51D-DDAE8BC6E9BD}" dt="2023-11-08T21:57:23.152" v="81146" actId="478"/>
          <ac:spMkLst>
            <pc:docMk/>
            <pc:sldMk cId="111284301" sldId="477"/>
            <ac:spMk id="4" creationId="{6128475C-767D-FDB0-A002-C7B40488B48A}"/>
          </ac:spMkLst>
        </pc:spChg>
        <pc:spChg chg="add mod">
          <ac:chgData name="Tan, Roger" userId="f6f33758-bd69-4951-8148-181de3b92474" providerId="ADAL" clId="{A436842E-EA5C-4A6D-B51D-DDAE8BC6E9BD}" dt="2023-11-08T22:17:11.525" v="81351"/>
          <ac:spMkLst>
            <pc:docMk/>
            <pc:sldMk cId="111284301" sldId="477"/>
            <ac:spMk id="7" creationId="{B484C0F3-32ED-F2E3-CE90-03ADB6A3690B}"/>
          </ac:spMkLst>
        </pc:spChg>
      </pc:sldChg>
      <pc:sldChg chg="addSp delSp modSp add mod">
        <pc:chgData name="Tan, Roger" userId="f6f33758-bd69-4951-8148-181de3b92474" providerId="ADAL" clId="{A436842E-EA5C-4A6D-B51D-DDAE8BC6E9BD}" dt="2023-11-08T22:17:08.212" v="81348"/>
        <pc:sldMkLst>
          <pc:docMk/>
          <pc:sldMk cId="281762496" sldId="478"/>
        </pc:sldMkLst>
        <pc:spChg chg="del">
          <ac:chgData name="Tan, Roger" userId="f6f33758-bd69-4951-8148-181de3b92474" providerId="ADAL" clId="{A436842E-EA5C-4A6D-B51D-DDAE8BC6E9BD}" dt="2023-11-08T21:04:08.564" v="80155" actId="478"/>
          <ac:spMkLst>
            <pc:docMk/>
            <pc:sldMk cId="281762496" sldId="478"/>
            <ac:spMk id="4" creationId="{135905BC-4088-D08F-E866-0501D81834C1}"/>
          </ac:spMkLst>
        </pc:spChg>
        <pc:spChg chg="del">
          <ac:chgData name="Tan, Roger" userId="f6f33758-bd69-4951-8148-181de3b92474" providerId="ADAL" clId="{A436842E-EA5C-4A6D-B51D-DDAE8BC6E9BD}" dt="2023-11-08T21:04:24.008" v="80160" actId="478"/>
          <ac:spMkLst>
            <pc:docMk/>
            <pc:sldMk cId="281762496" sldId="478"/>
            <ac:spMk id="6" creationId="{7A77AE8C-2497-BD2A-90BF-79CFBF20A959}"/>
          </ac:spMkLst>
        </pc:spChg>
        <pc:spChg chg="add del mod">
          <ac:chgData name="Tan, Roger" userId="f6f33758-bd69-4951-8148-181de3b92474" providerId="ADAL" clId="{A436842E-EA5C-4A6D-B51D-DDAE8BC6E9BD}" dt="2023-11-08T21:57:19.370" v="81143" actId="478"/>
          <ac:spMkLst>
            <pc:docMk/>
            <pc:sldMk cId="281762496" sldId="478"/>
            <ac:spMk id="8" creationId="{7909E911-6A80-2A9E-01C1-5D58FFB706A1}"/>
          </ac:spMkLst>
        </pc:spChg>
        <pc:spChg chg="del">
          <ac:chgData name="Tan, Roger" userId="f6f33758-bd69-4951-8148-181de3b92474" providerId="ADAL" clId="{A436842E-EA5C-4A6D-B51D-DDAE8BC6E9BD}" dt="2023-11-08T21:04:08.564" v="80155" actId="478"/>
          <ac:spMkLst>
            <pc:docMk/>
            <pc:sldMk cId="281762496" sldId="478"/>
            <ac:spMk id="9" creationId="{BAD9E7E4-0841-D715-463C-E8B5FB195AB2}"/>
          </ac:spMkLst>
        </pc:spChg>
        <pc:spChg chg="add mod">
          <ac:chgData name="Tan, Roger" userId="f6f33758-bd69-4951-8148-181de3b92474" providerId="ADAL" clId="{A436842E-EA5C-4A6D-B51D-DDAE8BC6E9BD}" dt="2023-11-08T22:17:08.212" v="81348"/>
          <ac:spMkLst>
            <pc:docMk/>
            <pc:sldMk cId="281762496" sldId="478"/>
            <ac:spMk id="11" creationId="{BAC7CDFF-07BD-2D9A-C524-06F3CF58DADC}"/>
          </ac:spMkLst>
        </pc:spChg>
        <pc:spChg chg="mod">
          <ac:chgData name="Tan, Roger" userId="f6f33758-bd69-4951-8148-181de3b92474" providerId="ADAL" clId="{A436842E-EA5C-4A6D-B51D-DDAE8BC6E9BD}" dt="2023-11-08T21:05:18.914" v="80183"/>
          <ac:spMkLst>
            <pc:docMk/>
            <pc:sldMk cId="281762496" sldId="478"/>
            <ac:spMk id="13" creationId="{C73CF0D1-F8CB-B225-F277-DFC0BEC3F111}"/>
          </ac:spMkLst>
        </pc:spChg>
        <pc:spChg chg="mod">
          <ac:chgData name="Tan, Roger" userId="f6f33758-bd69-4951-8148-181de3b92474" providerId="ADAL" clId="{A436842E-EA5C-4A6D-B51D-DDAE8BC6E9BD}" dt="2023-11-08T21:04:58.963" v="80180" actId="403"/>
          <ac:spMkLst>
            <pc:docMk/>
            <pc:sldMk cId="281762496" sldId="478"/>
            <ac:spMk id="25" creationId="{91448A82-D3F1-BCEF-9863-30B9F919645B}"/>
          </ac:spMkLst>
        </pc:spChg>
        <pc:graphicFrameChg chg="del">
          <ac:chgData name="Tan, Roger" userId="f6f33758-bd69-4951-8148-181de3b92474" providerId="ADAL" clId="{A436842E-EA5C-4A6D-B51D-DDAE8BC6E9BD}" dt="2023-11-08T21:04:08.564" v="80155" actId="478"/>
          <ac:graphicFrameMkLst>
            <pc:docMk/>
            <pc:sldMk cId="281762496" sldId="478"/>
            <ac:graphicFrameMk id="3" creationId="{B604447E-CDB2-16E2-1900-C1D8C261E548}"/>
          </ac:graphicFrameMkLst>
        </pc:graphicFrameChg>
        <pc:picChg chg="add mod">
          <ac:chgData name="Tan, Roger" userId="f6f33758-bd69-4951-8148-181de3b92474" providerId="ADAL" clId="{A436842E-EA5C-4A6D-B51D-DDAE8BC6E9BD}" dt="2023-11-08T21:04:18.090" v="80159" actId="1076"/>
          <ac:picMkLst>
            <pc:docMk/>
            <pc:sldMk cId="281762496" sldId="478"/>
            <ac:picMk id="5" creationId="{04461B1E-8DA9-E9C2-A376-D4B5AF064B3A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17:07.420" v="81347"/>
        <pc:sldMkLst>
          <pc:docMk/>
          <pc:sldMk cId="85616894" sldId="479"/>
        </pc:sldMkLst>
        <pc:spChg chg="add del mod">
          <ac:chgData name="Tan, Roger" userId="f6f33758-bd69-4951-8148-181de3b92474" providerId="ADAL" clId="{A436842E-EA5C-4A6D-B51D-DDAE8BC6E9BD}" dt="2023-11-08T21:57:18.052" v="81142" actId="478"/>
          <ac:spMkLst>
            <pc:docMk/>
            <pc:sldMk cId="85616894" sldId="479"/>
            <ac:spMk id="5" creationId="{8DEB108C-CF6E-61B9-3D11-E3539E4522AB}"/>
          </ac:spMkLst>
        </pc:spChg>
        <pc:spChg chg="add mod">
          <ac:chgData name="Tan, Roger" userId="f6f33758-bd69-4951-8148-181de3b92474" providerId="ADAL" clId="{A436842E-EA5C-4A6D-B51D-DDAE8BC6E9BD}" dt="2023-11-08T22:17:07.420" v="81347"/>
          <ac:spMkLst>
            <pc:docMk/>
            <pc:sldMk cId="85616894" sldId="479"/>
            <ac:spMk id="8" creationId="{6B61466A-62E7-FDC9-BF29-653C48E433C8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19.003" v="81355"/>
        <pc:sldMkLst>
          <pc:docMk/>
          <pc:sldMk cId="222537174" sldId="480"/>
        </pc:sldMkLst>
        <pc:spChg chg="add del mod">
          <ac:chgData name="Tan, Roger" userId="f6f33758-bd69-4951-8148-181de3b92474" providerId="ADAL" clId="{A436842E-EA5C-4A6D-B51D-DDAE8BC6E9BD}" dt="2023-11-08T21:57:27.522" v="81149" actId="478"/>
          <ac:spMkLst>
            <pc:docMk/>
            <pc:sldMk cId="222537174" sldId="480"/>
            <ac:spMk id="49" creationId="{C508E1CF-E855-2F21-21C3-B685C24749B2}"/>
          </ac:spMkLst>
        </pc:spChg>
        <pc:spChg chg="add mod">
          <ac:chgData name="Tan, Roger" userId="f6f33758-bd69-4951-8148-181de3b92474" providerId="ADAL" clId="{A436842E-EA5C-4A6D-B51D-DDAE8BC6E9BD}" dt="2023-11-08T22:17:19.003" v="81355"/>
          <ac:spMkLst>
            <pc:docMk/>
            <pc:sldMk cId="222537174" sldId="480"/>
            <ac:spMk id="50" creationId="{83BA8495-856E-ABC2-E4F2-F9EBFAB90B91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7:02.075" v="81341"/>
        <pc:sldMkLst>
          <pc:docMk/>
          <pc:sldMk cId="2918235384" sldId="481"/>
        </pc:sldMkLst>
        <pc:spChg chg="add del mod">
          <ac:chgData name="Tan, Roger" userId="f6f33758-bd69-4951-8148-181de3b92474" providerId="ADAL" clId="{A436842E-EA5C-4A6D-B51D-DDAE8BC6E9BD}" dt="2023-11-08T21:57:08.228" v="81136" actId="478"/>
          <ac:spMkLst>
            <pc:docMk/>
            <pc:sldMk cId="2918235384" sldId="481"/>
            <ac:spMk id="5" creationId="{6A2E7967-BCCA-619F-1484-430331FA0F9B}"/>
          </ac:spMkLst>
        </pc:spChg>
        <pc:spChg chg="add mod">
          <ac:chgData name="Tan, Roger" userId="f6f33758-bd69-4951-8148-181de3b92474" providerId="ADAL" clId="{A436842E-EA5C-4A6D-B51D-DDAE8BC6E9BD}" dt="2023-11-08T22:17:02.075" v="81341"/>
          <ac:spMkLst>
            <pc:docMk/>
            <pc:sldMk cId="2918235384" sldId="481"/>
            <ac:spMk id="10" creationId="{81EFC9FF-CF9A-AEE1-CF6F-19A0CB77F959}"/>
          </ac:spMkLst>
        </pc:spChg>
      </pc:sldChg>
      <pc:sldChg chg="addSp delSp modSp add mod">
        <pc:chgData name="Tan, Roger" userId="f6f33758-bd69-4951-8148-181de3b92474" providerId="ADAL" clId="{A436842E-EA5C-4A6D-B51D-DDAE8BC6E9BD}" dt="2023-11-08T22:17:03.919" v="81343"/>
        <pc:sldMkLst>
          <pc:docMk/>
          <pc:sldMk cId="396183122" sldId="482"/>
        </pc:sldMkLst>
        <pc:spChg chg="mod ord">
          <ac:chgData name="Tan, Roger" userId="f6f33758-bd69-4951-8148-181de3b92474" providerId="ADAL" clId="{A436842E-EA5C-4A6D-B51D-DDAE8BC6E9BD}" dt="2023-11-08T21:35:25.507" v="80528"/>
          <ac:spMkLst>
            <pc:docMk/>
            <pc:sldMk cId="396183122" sldId="482"/>
            <ac:spMk id="3" creationId="{5544BB12-BBAE-C0A0-5102-6FDA0AFDAA6D}"/>
          </ac:spMkLst>
        </pc:spChg>
        <pc:spChg chg="add del">
          <ac:chgData name="Tan, Roger" userId="f6f33758-bd69-4951-8148-181de3b92474" providerId="ADAL" clId="{A436842E-EA5C-4A6D-B51D-DDAE8BC6E9BD}" dt="2023-11-08T21:15:50.364" v="80194" actId="22"/>
          <ac:spMkLst>
            <pc:docMk/>
            <pc:sldMk cId="396183122" sldId="482"/>
            <ac:spMk id="6" creationId="{497761F1-06FB-A55E-EAC4-8EAAEE9D2E6D}"/>
          </ac:spMkLst>
        </pc:spChg>
        <pc:spChg chg="add mod ord">
          <ac:chgData name="Tan, Roger" userId="f6f33758-bd69-4951-8148-181de3b92474" providerId="ADAL" clId="{A436842E-EA5C-4A6D-B51D-DDAE8BC6E9BD}" dt="2023-11-08T21:35:25.508" v="80530"/>
          <ac:spMkLst>
            <pc:docMk/>
            <pc:sldMk cId="396183122" sldId="482"/>
            <ac:spMk id="8" creationId="{EFA63465-F601-61B3-A63D-52ABC791CFE5}"/>
          </ac:spMkLst>
        </pc:spChg>
        <pc:spChg chg="add mod ord">
          <ac:chgData name="Tan, Roger" userId="f6f33758-bd69-4951-8148-181de3b92474" providerId="ADAL" clId="{A436842E-EA5C-4A6D-B51D-DDAE8BC6E9BD}" dt="2023-11-08T21:35:25.510" v="80536"/>
          <ac:spMkLst>
            <pc:docMk/>
            <pc:sldMk cId="396183122" sldId="482"/>
            <ac:spMk id="16" creationId="{68488ED1-7B20-B142-6DEB-BEA5CBBD4C63}"/>
          </ac:spMkLst>
        </pc:spChg>
        <pc:spChg chg="add del mod">
          <ac:chgData name="Tan, Roger" userId="f6f33758-bd69-4951-8148-181de3b92474" providerId="ADAL" clId="{A436842E-EA5C-4A6D-B51D-DDAE8BC6E9BD}" dt="2023-11-08T21:57:11.962" v="81138" actId="478"/>
          <ac:spMkLst>
            <pc:docMk/>
            <pc:sldMk cId="396183122" sldId="482"/>
            <ac:spMk id="18" creationId="{194CFE5A-32A0-59E5-32E8-3A8CDBC64F42}"/>
          </ac:spMkLst>
        </pc:spChg>
        <pc:spChg chg="add mod">
          <ac:chgData name="Tan, Roger" userId="f6f33758-bd69-4951-8148-181de3b92474" providerId="ADAL" clId="{A436842E-EA5C-4A6D-B51D-DDAE8BC6E9BD}" dt="2023-11-08T22:17:03.919" v="81343"/>
          <ac:spMkLst>
            <pc:docMk/>
            <pc:sldMk cId="396183122" sldId="482"/>
            <ac:spMk id="19" creationId="{507D0E72-F23B-14F4-70D4-4DE8EA0BF1D0}"/>
          </ac:spMkLst>
        </pc:spChg>
        <pc:spChg chg="mod ord">
          <ac:chgData name="Tan, Roger" userId="f6f33758-bd69-4951-8148-181de3b92474" providerId="ADAL" clId="{A436842E-EA5C-4A6D-B51D-DDAE8BC6E9BD}" dt="2023-11-08T21:35:25.507" v="80526"/>
          <ac:spMkLst>
            <pc:docMk/>
            <pc:sldMk cId="396183122" sldId="482"/>
            <ac:spMk id="25" creationId="{91448A82-D3F1-BCEF-9863-30B9F919645B}"/>
          </ac:spMkLst>
        </pc:spChg>
        <pc:graphicFrameChg chg="add mod ord modGraphic">
          <ac:chgData name="Tan, Roger" userId="f6f33758-bd69-4951-8148-181de3b92474" providerId="ADAL" clId="{A436842E-EA5C-4A6D-B51D-DDAE8BC6E9BD}" dt="2023-11-08T21:35:25.509" v="80534"/>
          <ac:graphicFrameMkLst>
            <pc:docMk/>
            <pc:sldMk cId="396183122" sldId="482"/>
            <ac:graphicFrameMk id="11" creationId="{29720B1F-3D63-E446-8E42-9CE422D98BFC}"/>
          </ac:graphicFrameMkLst>
        </pc:graphicFrameChg>
        <pc:graphicFrameChg chg="add mod ord modVis replST">
          <ac:chgData name="Tan, Roger" userId="f6f33758-bd69-4951-8148-181de3b92474" providerId="ADAL" clId="{A436842E-EA5C-4A6D-B51D-DDAE8BC6E9BD}" dt="2023-11-08T21:35:25.513" v="80542"/>
          <ac:graphicFrameMkLst>
            <pc:docMk/>
            <pc:sldMk cId="396183122" sldId="482"/>
            <ac:graphicFrameMk id="17" creationId="{7DF53A55-4943-94D9-9BE1-3C193419CEC7}"/>
          </ac:graphicFrameMkLst>
        </pc:graphicFrameChg>
        <pc:picChg chg="add mod ord">
          <ac:chgData name="Tan, Roger" userId="f6f33758-bd69-4951-8148-181de3b92474" providerId="ADAL" clId="{A436842E-EA5C-4A6D-B51D-DDAE8BC6E9BD}" dt="2023-11-08T21:35:25.510" v="80538"/>
          <ac:picMkLst>
            <pc:docMk/>
            <pc:sldMk cId="396183122" sldId="482"/>
            <ac:picMk id="4" creationId="{D47FD956-81C2-6FC6-BC8D-161AAB7DFF39}"/>
          </ac:picMkLst>
        </pc:picChg>
        <pc:picChg chg="add mod ord">
          <ac:chgData name="Tan, Roger" userId="f6f33758-bd69-4951-8148-181de3b92474" providerId="ADAL" clId="{A436842E-EA5C-4A6D-B51D-DDAE8BC6E9BD}" dt="2023-11-08T21:35:25.508" v="80532"/>
          <ac:picMkLst>
            <pc:docMk/>
            <pc:sldMk cId="396183122" sldId="482"/>
            <ac:picMk id="10" creationId="{E36BCB3B-EDA8-BFF0-8E84-CE4DE530103E}"/>
          </ac:picMkLst>
        </pc:picChg>
        <pc:picChg chg="add mod ord">
          <ac:chgData name="Tan, Roger" userId="f6f33758-bd69-4951-8148-181de3b92474" providerId="ADAL" clId="{A436842E-EA5C-4A6D-B51D-DDAE8BC6E9BD}" dt="2023-11-08T21:35:25.506" v="80524"/>
          <ac:picMkLst>
            <pc:docMk/>
            <pc:sldMk cId="396183122" sldId="482"/>
            <ac:picMk id="13" creationId="{B84A2E3B-D119-ED04-09EA-A264645DE66D}"/>
          </ac:picMkLst>
        </pc:picChg>
        <pc:picChg chg="add mod ord">
          <ac:chgData name="Tan, Roger" userId="f6f33758-bd69-4951-8148-181de3b92474" providerId="ADAL" clId="{A436842E-EA5C-4A6D-B51D-DDAE8BC6E9BD}" dt="2023-11-08T21:35:25.505" v="80522"/>
          <ac:picMkLst>
            <pc:docMk/>
            <pc:sldMk cId="396183122" sldId="482"/>
            <ac:picMk id="15" creationId="{D87DDE7A-DDAD-6534-93D7-9B1632EE6051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17:02.924" v="81342"/>
        <pc:sldMkLst>
          <pc:docMk/>
          <pc:sldMk cId="2002536109" sldId="483"/>
        </pc:sldMkLst>
        <pc:spChg chg="add del mod">
          <ac:chgData name="Tan, Roger" userId="f6f33758-bd69-4951-8148-181de3b92474" providerId="ADAL" clId="{A436842E-EA5C-4A6D-B51D-DDAE8BC6E9BD}" dt="2023-11-08T21:57:10.284" v="81137" actId="478"/>
          <ac:spMkLst>
            <pc:docMk/>
            <pc:sldMk cId="2002536109" sldId="483"/>
            <ac:spMk id="2" creationId="{1492B7B0-C392-8836-3742-1255AE86E77C}"/>
          </ac:spMkLst>
        </pc:spChg>
        <pc:spChg chg="add mod">
          <ac:chgData name="Tan, Roger" userId="f6f33758-bd69-4951-8148-181de3b92474" providerId="ADAL" clId="{A436842E-EA5C-4A6D-B51D-DDAE8BC6E9BD}" dt="2023-11-08T22:17:02.924" v="81342"/>
          <ac:spMkLst>
            <pc:docMk/>
            <pc:sldMk cId="2002536109" sldId="483"/>
            <ac:spMk id="5" creationId="{81D3621E-2CA1-A212-DB6C-5205669EE1E2}"/>
          </ac:spMkLst>
        </pc:spChg>
      </pc:sldChg>
      <pc:sldChg chg="addSp delSp modSp add mod">
        <pc:chgData name="Tan, Roger" userId="f6f33758-bd69-4951-8148-181de3b92474" providerId="ADAL" clId="{A436842E-EA5C-4A6D-B51D-DDAE8BC6E9BD}" dt="2023-11-08T22:17:05.730" v="81345"/>
        <pc:sldMkLst>
          <pc:docMk/>
          <pc:sldMk cId="3565858118" sldId="484"/>
        </pc:sldMkLst>
        <pc:spChg chg="mod ord">
          <ac:chgData name="Tan, Roger" userId="f6f33758-bd69-4951-8148-181de3b92474" providerId="ADAL" clId="{A436842E-EA5C-4A6D-B51D-DDAE8BC6E9BD}" dt="2023-11-08T21:38:27.078" v="80574"/>
          <ac:spMkLst>
            <pc:docMk/>
            <pc:sldMk cId="3565858118" sldId="484"/>
            <ac:spMk id="3" creationId="{5544BB12-BBAE-C0A0-5102-6FDA0AFDAA6D}"/>
          </ac:spMkLst>
        </pc:spChg>
        <pc:spChg chg="mod ord">
          <ac:chgData name="Tan, Roger" userId="f6f33758-bd69-4951-8148-181de3b92474" providerId="ADAL" clId="{A436842E-EA5C-4A6D-B51D-DDAE8BC6E9BD}" dt="2023-11-08T21:47:04.764" v="80961" actId="1076"/>
          <ac:spMkLst>
            <pc:docMk/>
            <pc:sldMk cId="3565858118" sldId="484"/>
            <ac:spMk id="8" creationId="{EFA63465-F601-61B3-A63D-52ABC791CFE5}"/>
          </ac:spMkLst>
        </pc:spChg>
        <pc:spChg chg="del">
          <ac:chgData name="Tan, Roger" userId="f6f33758-bd69-4951-8148-181de3b92474" providerId="ADAL" clId="{A436842E-EA5C-4A6D-B51D-DDAE8BC6E9BD}" dt="2023-11-08T21:23:48.794" v="80308" actId="478"/>
          <ac:spMkLst>
            <pc:docMk/>
            <pc:sldMk cId="3565858118" sldId="484"/>
            <ac:spMk id="16" creationId="{68488ED1-7B20-B142-6DEB-BEA5CBBD4C63}"/>
          </ac:spMkLst>
        </pc:spChg>
        <pc:spChg chg="add mod">
          <ac:chgData name="Tan, Roger" userId="f6f33758-bd69-4951-8148-181de3b92474" providerId="ADAL" clId="{A436842E-EA5C-4A6D-B51D-DDAE8BC6E9BD}" dt="2023-11-08T21:39:54.483" v="80696" actId="1076"/>
          <ac:spMkLst>
            <pc:docMk/>
            <pc:sldMk cId="3565858118" sldId="484"/>
            <ac:spMk id="21" creationId="{2B2536BC-7B96-03F4-2435-0387C42854B5}"/>
          </ac:spMkLst>
        </pc:spChg>
        <pc:spChg chg="add mod">
          <ac:chgData name="Tan, Roger" userId="f6f33758-bd69-4951-8148-181de3b92474" providerId="ADAL" clId="{A436842E-EA5C-4A6D-B51D-DDAE8BC6E9BD}" dt="2023-11-08T21:41:01.871" v="80835" actId="1076"/>
          <ac:spMkLst>
            <pc:docMk/>
            <pc:sldMk cId="3565858118" sldId="484"/>
            <ac:spMk id="22" creationId="{52A056D2-318E-817B-2E07-4B05F9858132}"/>
          </ac:spMkLst>
        </pc:spChg>
        <pc:spChg chg="add del mod">
          <ac:chgData name="Tan, Roger" userId="f6f33758-bd69-4951-8148-181de3b92474" providerId="ADAL" clId="{A436842E-EA5C-4A6D-B51D-DDAE8BC6E9BD}" dt="2023-11-08T21:57:15.129" v="81140" actId="478"/>
          <ac:spMkLst>
            <pc:docMk/>
            <pc:sldMk cId="3565858118" sldId="484"/>
            <ac:spMk id="23" creationId="{3EA918D3-1EA9-4AEA-2BEB-37495937FEED}"/>
          </ac:spMkLst>
        </pc:spChg>
        <pc:spChg chg="add mod">
          <ac:chgData name="Tan, Roger" userId="f6f33758-bd69-4951-8148-181de3b92474" providerId="ADAL" clId="{A436842E-EA5C-4A6D-B51D-DDAE8BC6E9BD}" dt="2023-11-08T22:17:05.730" v="81345"/>
          <ac:spMkLst>
            <pc:docMk/>
            <pc:sldMk cId="3565858118" sldId="484"/>
            <ac:spMk id="24" creationId="{E114C355-17CC-EB94-926D-60794421BF11}"/>
          </ac:spMkLst>
        </pc:spChg>
        <pc:spChg chg="mod ord">
          <ac:chgData name="Tan, Roger" userId="f6f33758-bd69-4951-8148-181de3b92474" providerId="ADAL" clId="{A436842E-EA5C-4A6D-B51D-DDAE8BC6E9BD}" dt="2023-11-08T21:38:27.077" v="80572"/>
          <ac:spMkLst>
            <pc:docMk/>
            <pc:sldMk cId="3565858118" sldId="484"/>
            <ac:spMk id="25" creationId="{91448A82-D3F1-BCEF-9863-30B9F919645B}"/>
          </ac:spMkLst>
        </pc:spChg>
        <pc:graphicFrameChg chg="del">
          <ac:chgData name="Tan, Roger" userId="f6f33758-bd69-4951-8148-181de3b92474" providerId="ADAL" clId="{A436842E-EA5C-4A6D-B51D-DDAE8BC6E9BD}" dt="2023-11-08T21:23:48.794" v="80308" actId="478"/>
          <ac:graphicFrameMkLst>
            <pc:docMk/>
            <pc:sldMk cId="3565858118" sldId="484"/>
            <ac:graphicFrameMk id="11" creationId="{29720B1F-3D63-E446-8E42-9CE422D98BFC}"/>
          </ac:graphicFrameMkLst>
        </pc:graphicFrameChg>
        <pc:graphicFrameChg chg="add mod ord modVis replST">
          <ac:chgData name="Tan, Roger" userId="f6f33758-bd69-4951-8148-181de3b92474" providerId="ADAL" clId="{A436842E-EA5C-4A6D-B51D-DDAE8BC6E9BD}" dt="2023-11-08T21:38:27.106" v="80599"/>
          <ac:graphicFrameMkLst>
            <pc:docMk/>
            <pc:sldMk cId="3565858118" sldId="484"/>
            <ac:graphicFrameMk id="20" creationId="{447FFE96-1FB1-B9EB-8998-C35F0EF404E1}"/>
          </ac:graphicFrameMkLst>
        </pc:graphicFrameChg>
        <pc:picChg chg="del">
          <ac:chgData name="Tan, Roger" userId="f6f33758-bd69-4951-8148-181de3b92474" providerId="ADAL" clId="{A436842E-EA5C-4A6D-B51D-DDAE8BC6E9BD}" dt="2023-11-08T21:23:48.794" v="80308" actId="478"/>
          <ac:picMkLst>
            <pc:docMk/>
            <pc:sldMk cId="3565858118" sldId="484"/>
            <ac:picMk id="4" creationId="{D47FD956-81C2-6FC6-BC8D-161AAB7DFF39}"/>
          </ac:picMkLst>
        </pc:picChg>
        <pc:picChg chg="add del mod ord">
          <ac:chgData name="Tan, Roger" userId="f6f33758-bd69-4951-8148-181de3b92474" providerId="ADAL" clId="{A436842E-EA5C-4A6D-B51D-DDAE8BC6E9BD}" dt="2023-11-08T21:39:50.740" v="80695" actId="478"/>
          <ac:picMkLst>
            <pc:docMk/>
            <pc:sldMk cId="3565858118" sldId="484"/>
            <ac:picMk id="5" creationId="{6148EFED-0C34-A14D-6282-2D63262FC3E5}"/>
          </ac:picMkLst>
        </pc:picChg>
        <pc:picChg chg="add del mod ord">
          <ac:chgData name="Tan, Roger" userId="f6f33758-bd69-4951-8148-181de3b92474" providerId="ADAL" clId="{A436842E-EA5C-4A6D-B51D-DDAE8BC6E9BD}" dt="2023-11-08T21:39:49.832" v="80694" actId="478"/>
          <ac:picMkLst>
            <pc:docMk/>
            <pc:sldMk cId="3565858118" sldId="484"/>
            <ac:picMk id="7" creationId="{66D020DF-0C93-6A3A-F342-65FF7D5AF969}"/>
          </ac:picMkLst>
        </pc:picChg>
        <pc:picChg chg="del">
          <ac:chgData name="Tan, Roger" userId="f6f33758-bd69-4951-8148-181de3b92474" providerId="ADAL" clId="{A436842E-EA5C-4A6D-B51D-DDAE8BC6E9BD}" dt="2023-11-08T21:23:48.794" v="80308" actId="478"/>
          <ac:picMkLst>
            <pc:docMk/>
            <pc:sldMk cId="3565858118" sldId="484"/>
            <ac:picMk id="10" creationId="{E36BCB3B-EDA8-BFF0-8E84-CE4DE530103E}"/>
          </ac:picMkLst>
        </pc:picChg>
        <pc:picChg chg="add mod ord">
          <ac:chgData name="Tan, Roger" userId="f6f33758-bd69-4951-8148-181de3b92474" providerId="ADAL" clId="{A436842E-EA5C-4A6D-B51D-DDAE8BC6E9BD}" dt="2023-11-08T21:39:54.483" v="80696" actId="1076"/>
          <ac:picMkLst>
            <pc:docMk/>
            <pc:sldMk cId="3565858118" sldId="484"/>
            <ac:picMk id="12" creationId="{7CFDE74C-FA34-CB48-1B79-4A2C867A7C14}"/>
          </ac:picMkLst>
        </pc:picChg>
        <pc:picChg chg="del">
          <ac:chgData name="Tan, Roger" userId="f6f33758-bd69-4951-8148-181de3b92474" providerId="ADAL" clId="{A436842E-EA5C-4A6D-B51D-DDAE8BC6E9BD}" dt="2023-11-08T21:23:48.794" v="80308" actId="478"/>
          <ac:picMkLst>
            <pc:docMk/>
            <pc:sldMk cId="3565858118" sldId="484"/>
            <ac:picMk id="13" creationId="{B84A2E3B-D119-ED04-09EA-A264645DE66D}"/>
          </ac:picMkLst>
        </pc:picChg>
        <pc:picChg chg="del">
          <ac:chgData name="Tan, Roger" userId="f6f33758-bd69-4951-8148-181de3b92474" providerId="ADAL" clId="{A436842E-EA5C-4A6D-B51D-DDAE8BC6E9BD}" dt="2023-11-08T21:23:48.794" v="80308" actId="478"/>
          <ac:picMkLst>
            <pc:docMk/>
            <pc:sldMk cId="3565858118" sldId="484"/>
            <ac:picMk id="15" creationId="{D87DDE7A-DDAD-6534-93D7-9B1632EE6051}"/>
          </ac:picMkLst>
        </pc:picChg>
        <pc:picChg chg="add del mod">
          <ac:chgData name="Tan, Roger" userId="f6f33758-bd69-4951-8148-181de3b92474" providerId="ADAL" clId="{A436842E-EA5C-4A6D-B51D-DDAE8BC6E9BD}" dt="2023-11-08T21:37:31.738" v="80551" actId="478"/>
          <ac:picMkLst>
            <pc:docMk/>
            <pc:sldMk cId="3565858118" sldId="484"/>
            <ac:picMk id="17" creationId="{DA352E56-AE45-A53A-18F4-86DA6C854EB6}"/>
          </ac:picMkLst>
        </pc:picChg>
        <pc:picChg chg="add mod ord">
          <ac:chgData name="Tan, Roger" userId="f6f33758-bd69-4951-8148-181de3b92474" providerId="ADAL" clId="{A436842E-EA5C-4A6D-B51D-DDAE8BC6E9BD}" dt="2023-11-08T21:39:54.483" v="80696" actId="1076"/>
          <ac:picMkLst>
            <pc:docMk/>
            <pc:sldMk cId="3565858118" sldId="484"/>
            <ac:picMk id="19" creationId="{ABA9C81C-8473-615E-D4A8-5B8C832EFD1E}"/>
          </ac:picMkLst>
        </pc:picChg>
      </pc:sldChg>
      <pc:sldChg chg="addSp delSp modSp add mod ord">
        <pc:chgData name="Tan, Roger" userId="f6f33758-bd69-4951-8148-181de3b92474" providerId="ADAL" clId="{A436842E-EA5C-4A6D-B51D-DDAE8BC6E9BD}" dt="2023-11-08T22:17:04.716" v="81344"/>
        <pc:sldMkLst>
          <pc:docMk/>
          <pc:sldMk cId="1343251724" sldId="485"/>
        </pc:sldMkLst>
        <pc:spChg chg="mod ord">
          <ac:chgData name="Tan, Roger" userId="f6f33758-bd69-4951-8148-181de3b92474" providerId="ADAL" clId="{A436842E-EA5C-4A6D-B51D-DDAE8BC6E9BD}" dt="2023-11-08T21:46:03.698" v="80875"/>
          <ac:spMkLst>
            <pc:docMk/>
            <pc:sldMk cId="1343251724" sldId="485"/>
            <ac:spMk id="3" creationId="{5544BB12-BBAE-C0A0-5102-6FDA0AFDAA6D}"/>
          </ac:spMkLst>
        </pc:spChg>
        <pc:spChg chg="mod ord">
          <ac:chgData name="Tan, Roger" userId="f6f33758-bd69-4951-8148-181de3b92474" providerId="ADAL" clId="{A436842E-EA5C-4A6D-B51D-DDAE8BC6E9BD}" dt="2023-11-08T21:46:03.699" v="80877"/>
          <ac:spMkLst>
            <pc:docMk/>
            <pc:sldMk cId="1343251724" sldId="485"/>
            <ac:spMk id="8" creationId="{EFA63465-F601-61B3-A63D-52ABC791CFE5}"/>
          </ac:spMkLst>
        </pc:spChg>
        <pc:spChg chg="add mod ord">
          <ac:chgData name="Tan, Roger" userId="f6f33758-bd69-4951-8148-181de3b92474" providerId="ADAL" clId="{A436842E-EA5C-4A6D-B51D-DDAE8BC6E9BD}" dt="2023-11-08T21:46:03.700" v="80883"/>
          <ac:spMkLst>
            <pc:docMk/>
            <pc:sldMk cId="1343251724" sldId="485"/>
            <ac:spMk id="11" creationId="{BA5A7B9B-27D6-DF61-184D-1557F919FCB8}"/>
          </ac:spMkLst>
        </pc:spChg>
        <pc:spChg chg="add mod">
          <ac:chgData name="Tan, Roger" userId="f6f33758-bd69-4951-8148-181de3b92474" providerId="ADAL" clId="{A436842E-EA5C-4A6D-B51D-DDAE8BC6E9BD}" dt="2023-11-08T22:10:24.115" v="81274" actId="20577"/>
          <ac:spMkLst>
            <pc:docMk/>
            <pc:sldMk cId="1343251724" sldId="485"/>
            <ac:spMk id="18" creationId="{EE935792-28F2-3DF2-A930-BD982E0149CB}"/>
          </ac:spMkLst>
        </pc:spChg>
        <pc:spChg chg="add del mod">
          <ac:chgData name="Tan, Roger" userId="f6f33758-bd69-4951-8148-181de3b92474" providerId="ADAL" clId="{A436842E-EA5C-4A6D-B51D-DDAE8BC6E9BD}" dt="2023-11-08T22:07:43.279" v="81198" actId="478"/>
          <ac:spMkLst>
            <pc:docMk/>
            <pc:sldMk cId="1343251724" sldId="485"/>
            <ac:spMk id="19" creationId="{B66DA264-BF24-39CB-177D-33826EE08FF0}"/>
          </ac:spMkLst>
        </pc:spChg>
        <pc:spChg chg="add del mod">
          <ac:chgData name="Tan, Roger" userId="f6f33758-bd69-4951-8148-181de3b92474" providerId="ADAL" clId="{A436842E-EA5C-4A6D-B51D-DDAE8BC6E9BD}" dt="2023-11-08T21:57:13.861" v="81139" actId="478"/>
          <ac:spMkLst>
            <pc:docMk/>
            <pc:sldMk cId="1343251724" sldId="485"/>
            <ac:spMk id="20" creationId="{13F2FFA0-5D83-A071-3380-6108B106D64E}"/>
          </ac:spMkLst>
        </pc:spChg>
        <pc:spChg chg="add mod">
          <ac:chgData name="Tan, Roger" userId="f6f33758-bd69-4951-8148-181de3b92474" providerId="ADAL" clId="{A436842E-EA5C-4A6D-B51D-DDAE8BC6E9BD}" dt="2023-11-08T22:17:04.716" v="81344"/>
          <ac:spMkLst>
            <pc:docMk/>
            <pc:sldMk cId="1343251724" sldId="485"/>
            <ac:spMk id="21" creationId="{B68CDE80-C8B8-C606-DBA9-4434D2C72FBB}"/>
          </ac:spMkLst>
        </pc:spChg>
        <pc:spChg chg="mod ord">
          <ac:chgData name="Tan, Roger" userId="f6f33758-bd69-4951-8148-181de3b92474" providerId="ADAL" clId="{A436842E-EA5C-4A6D-B51D-DDAE8BC6E9BD}" dt="2023-11-08T21:46:03.698" v="80873"/>
          <ac:spMkLst>
            <pc:docMk/>
            <pc:sldMk cId="1343251724" sldId="485"/>
            <ac:spMk id="25" creationId="{91448A82-D3F1-BCEF-9863-30B9F919645B}"/>
          </ac:spMkLst>
        </pc:spChg>
        <pc:graphicFrameChg chg="add mod ord modGraphic">
          <ac:chgData name="Tan, Roger" userId="f6f33758-bd69-4951-8148-181de3b92474" providerId="ADAL" clId="{A436842E-EA5C-4A6D-B51D-DDAE8BC6E9BD}" dt="2023-11-08T21:46:03.700" v="80881"/>
          <ac:graphicFrameMkLst>
            <pc:docMk/>
            <pc:sldMk cId="1343251724" sldId="485"/>
            <ac:graphicFrameMk id="4" creationId="{8C2C94ED-017D-300C-E774-567F9E1C8416}"/>
          </ac:graphicFrameMkLst>
        </pc:graphicFrameChg>
        <pc:graphicFrameChg chg="add mod ord modVis replST">
          <ac:chgData name="Tan, Roger" userId="f6f33758-bd69-4951-8148-181de3b92474" providerId="ADAL" clId="{A436842E-EA5C-4A6D-B51D-DDAE8BC6E9BD}" dt="2023-11-08T21:46:03.703" v="80891"/>
          <ac:graphicFrameMkLst>
            <pc:docMk/>
            <pc:sldMk cId="1343251724" sldId="485"/>
            <ac:graphicFrameMk id="10" creationId="{D55C424B-D9DA-D1E3-51D9-188820D12EC3}"/>
          </ac:graphicFrameMkLst>
        </pc:graphicFrameChg>
        <pc:picChg chg="add mod ord">
          <ac:chgData name="Tan, Roger" userId="f6f33758-bd69-4951-8148-181de3b92474" providerId="ADAL" clId="{A436842E-EA5C-4A6D-B51D-DDAE8BC6E9BD}" dt="2023-11-08T21:46:03.699" v="80879"/>
          <ac:picMkLst>
            <pc:docMk/>
            <pc:sldMk cId="1343251724" sldId="485"/>
            <ac:picMk id="2" creationId="{4976E3AD-F280-58B7-3931-2C87386D04B8}"/>
          </ac:picMkLst>
        </pc:picChg>
        <pc:picChg chg="del">
          <ac:chgData name="Tan, Roger" userId="f6f33758-bd69-4951-8148-181de3b92474" providerId="ADAL" clId="{A436842E-EA5C-4A6D-B51D-DDAE8BC6E9BD}" dt="2023-11-08T21:28:05.639" v="80368" actId="478"/>
          <ac:picMkLst>
            <pc:docMk/>
            <pc:sldMk cId="1343251724" sldId="485"/>
            <ac:picMk id="5" creationId="{6148EFED-0C34-A14D-6282-2D63262FC3E5}"/>
          </ac:picMkLst>
        </pc:picChg>
        <pc:picChg chg="del">
          <ac:chgData name="Tan, Roger" userId="f6f33758-bd69-4951-8148-181de3b92474" providerId="ADAL" clId="{A436842E-EA5C-4A6D-B51D-DDAE8BC6E9BD}" dt="2023-11-08T21:28:05.037" v="80367" actId="478"/>
          <ac:picMkLst>
            <pc:docMk/>
            <pc:sldMk cId="1343251724" sldId="485"/>
            <ac:picMk id="7" creationId="{66D020DF-0C93-6A3A-F342-65FF7D5AF969}"/>
          </ac:picMkLst>
        </pc:picChg>
        <pc:picChg chg="add mod ord">
          <ac:chgData name="Tan, Roger" userId="f6f33758-bd69-4951-8148-181de3b92474" providerId="ADAL" clId="{A436842E-EA5C-4A6D-B51D-DDAE8BC6E9BD}" dt="2023-11-08T21:46:03.697" v="80871"/>
          <ac:picMkLst>
            <pc:docMk/>
            <pc:sldMk cId="1343251724" sldId="485"/>
            <ac:picMk id="9" creationId="{4A6CBF04-8DB2-A596-FE04-BAC00D92FB13}"/>
          </ac:picMkLst>
        </pc:picChg>
        <pc:picChg chg="del">
          <ac:chgData name="Tan, Roger" userId="f6f33758-bd69-4951-8148-181de3b92474" providerId="ADAL" clId="{A436842E-EA5C-4A6D-B51D-DDAE8BC6E9BD}" dt="2023-11-08T21:28:06.125" v="80369" actId="478"/>
          <ac:picMkLst>
            <pc:docMk/>
            <pc:sldMk cId="1343251724" sldId="485"/>
            <ac:picMk id="12" creationId="{7CFDE74C-FA34-CB48-1B79-4A2C867A7C14}"/>
          </ac:picMkLst>
        </pc:picChg>
        <pc:picChg chg="add del mod ord">
          <ac:chgData name="Tan, Roger" userId="f6f33758-bd69-4951-8148-181de3b92474" providerId="ADAL" clId="{A436842E-EA5C-4A6D-B51D-DDAE8BC6E9BD}" dt="2023-11-08T22:07:41.970" v="81196" actId="478"/>
          <ac:picMkLst>
            <pc:docMk/>
            <pc:sldMk cId="1343251724" sldId="485"/>
            <ac:picMk id="14" creationId="{28DCF641-929B-788B-C27E-699E229C7327}"/>
          </ac:picMkLst>
        </pc:picChg>
        <pc:picChg chg="add del mod ord">
          <ac:chgData name="Tan, Roger" userId="f6f33758-bd69-4951-8148-181de3b92474" providerId="ADAL" clId="{A436842E-EA5C-4A6D-B51D-DDAE8BC6E9BD}" dt="2023-11-08T22:07:42.748" v="81197" actId="478"/>
          <ac:picMkLst>
            <pc:docMk/>
            <pc:sldMk cId="1343251724" sldId="485"/>
            <ac:picMk id="16" creationId="{BF14B7DB-DCDD-CC57-35A9-A0A234EE5EF9}"/>
          </ac:picMkLst>
        </pc:picChg>
        <pc:picChg chg="del">
          <ac:chgData name="Tan, Roger" userId="f6f33758-bd69-4951-8148-181de3b92474" providerId="ADAL" clId="{A436842E-EA5C-4A6D-B51D-DDAE8BC6E9BD}" dt="2023-11-08T21:28:04.455" v="80366" actId="478"/>
          <ac:picMkLst>
            <pc:docMk/>
            <pc:sldMk cId="1343251724" sldId="485"/>
            <ac:picMk id="17" creationId="{DA352E56-AE45-A53A-18F4-86DA6C854EB6}"/>
          </ac:picMkLst>
        </pc:picChg>
      </pc:sldChg>
      <pc:sldChg chg="addSp delSp modSp mod">
        <pc:chgData name="Tan, Roger" userId="f6f33758-bd69-4951-8148-181de3b92474" providerId="ADAL" clId="{A436842E-EA5C-4A6D-B51D-DDAE8BC6E9BD}" dt="2023-11-08T22:17:22.074" v="81357"/>
        <pc:sldMkLst>
          <pc:docMk/>
          <pc:sldMk cId="2735697471" sldId="486"/>
        </pc:sldMkLst>
        <pc:spChg chg="add del mod">
          <ac:chgData name="Tan, Roger" userId="f6f33758-bd69-4951-8148-181de3b92474" providerId="ADAL" clId="{A436842E-EA5C-4A6D-B51D-DDAE8BC6E9BD}" dt="2023-11-08T21:57:30.356" v="81151" actId="478"/>
          <ac:spMkLst>
            <pc:docMk/>
            <pc:sldMk cId="2735697471" sldId="486"/>
            <ac:spMk id="2" creationId="{0DA24ADB-44F5-132D-F044-624376C9B742}"/>
          </ac:spMkLst>
        </pc:spChg>
        <pc:spChg chg="add mod">
          <ac:chgData name="Tan, Roger" userId="f6f33758-bd69-4951-8148-181de3b92474" providerId="ADAL" clId="{A436842E-EA5C-4A6D-B51D-DDAE8BC6E9BD}" dt="2023-11-08T22:17:22.074" v="81357"/>
          <ac:spMkLst>
            <pc:docMk/>
            <pc:sldMk cId="2735697471" sldId="486"/>
            <ac:spMk id="7" creationId="{D8DDD562-BAF4-38E7-98FD-CE4B18419C0C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6:55.709" v="81335"/>
        <pc:sldMkLst>
          <pc:docMk/>
          <pc:sldMk cId="1008347484" sldId="487"/>
        </pc:sldMkLst>
        <pc:spChg chg="add del mod">
          <ac:chgData name="Tan, Roger" userId="f6f33758-bd69-4951-8148-181de3b92474" providerId="ADAL" clId="{A436842E-EA5C-4A6D-B51D-DDAE8BC6E9BD}" dt="2023-11-08T21:56:46.264" v="81125" actId="478"/>
          <ac:spMkLst>
            <pc:docMk/>
            <pc:sldMk cId="1008347484" sldId="487"/>
            <ac:spMk id="4" creationId="{348FB2E3-89BF-2408-8F3E-BF043AF4D7B6}"/>
          </ac:spMkLst>
        </pc:spChg>
        <pc:spChg chg="add mod">
          <ac:chgData name="Tan, Roger" userId="f6f33758-bd69-4951-8148-181de3b92474" providerId="ADAL" clId="{A436842E-EA5C-4A6D-B51D-DDAE8BC6E9BD}" dt="2023-11-08T22:16:55.709" v="81335"/>
          <ac:spMkLst>
            <pc:docMk/>
            <pc:sldMk cId="1008347484" sldId="487"/>
            <ac:spMk id="5" creationId="{5B6E4F45-AD85-FD35-660D-F9D8DC0EEA0C}"/>
          </ac:spMkLst>
        </pc:spChg>
      </pc:sldChg>
      <pc:sldChg chg="addSp delSp modSp mod ord">
        <pc:chgData name="Tan, Roger" userId="f6f33758-bd69-4951-8148-181de3b92474" providerId="ADAL" clId="{A436842E-EA5C-4A6D-B51D-DDAE8BC6E9BD}" dt="2023-11-08T22:16:56.760" v="81336"/>
        <pc:sldMkLst>
          <pc:docMk/>
          <pc:sldMk cId="876163158" sldId="488"/>
        </pc:sldMkLst>
        <pc:spChg chg="add del mod">
          <ac:chgData name="Tan, Roger" userId="f6f33758-bd69-4951-8148-181de3b92474" providerId="ADAL" clId="{A436842E-EA5C-4A6D-B51D-DDAE8BC6E9BD}" dt="2023-11-08T21:56:49.680" v="81127" actId="478"/>
          <ac:spMkLst>
            <pc:docMk/>
            <pc:sldMk cId="876163158" sldId="488"/>
            <ac:spMk id="4" creationId="{E5B571A3-465C-BC4C-F7EF-35B607C917A3}"/>
          </ac:spMkLst>
        </pc:spChg>
        <pc:spChg chg="add mod">
          <ac:chgData name="Tan, Roger" userId="f6f33758-bd69-4951-8148-181de3b92474" providerId="ADAL" clId="{A436842E-EA5C-4A6D-B51D-DDAE8BC6E9BD}" dt="2023-11-08T22:16:56.760" v="81336"/>
          <ac:spMkLst>
            <pc:docMk/>
            <pc:sldMk cId="876163158" sldId="488"/>
            <ac:spMk id="6" creationId="{450E3D6F-6D57-C784-7A6D-40A7B9EA3147}"/>
          </ac:spMkLst>
        </pc:spChg>
      </pc:sldChg>
      <pc:sldChg chg="addSp delSp modSp mod">
        <pc:chgData name="Tan, Roger" userId="f6f33758-bd69-4951-8148-181de3b92474" providerId="ADAL" clId="{A436842E-EA5C-4A6D-B51D-DDAE8BC6E9BD}" dt="2023-11-08T22:16:59.209" v="81338"/>
        <pc:sldMkLst>
          <pc:docMk/>
          <pc:sldMk cId="53695002" sldId="489"/>
        </pc:sldMkLst>
        <pc:spChg chg="add del mod">
          <ac:chgData name="Tan, Roger" userId="f6f33758-bd69-4951-8148-181de3b92474" providerId="ADAL" clId="{A436842E-EA5C-4A6D-B51D-DDAE8BC6E9BD}" dt="2023-11-08T21:56:50.915" v="81128" actId="478"/>
          <ac:spMkLst>
            <pc:docMk/>
            <pc:sldMk cId="53695002" sldId="489"/>
            <ac:spMk id="4" creationId="{DE5358C6-CABE-0991-2EB7-C9CF12F3B900}"/>
          </ac:spMkLst>
        </pc:spChg>
        <pc:spChg chg="add mod">
          <ac:chgData name="Tan, Roger" userId="f6f33758-bd69-4951-8148-181de3b92474" providerId="ADAL" clId="{A436842E-EA5C-4A6D-B51D-DDAE8BC6E9BD}" dt="2023-11-08T22:16:59.209" v="81338"/>
          <ac:spMkLst>
            <pc:docMk/>
            <pc:sldMk cId="53695002" sldId="489"/>
            <ac:spMk id="5" creationId="{1A398B03-B878-72B4-5E3F-A235C285F435}"/>
          </ac:spMkLst>
        </pc:spChg>
      </pc:sldChg>
      <pc:sldChg chg="addSp delSp modSp mod">
        <pc:chgData name="Tan, Roger" userId="f6f33758-bd69-4951-8148-181de3b92474" providerId="ADAL" clId="{A436842E-EA5C-4A6D-B51D-DDAE8BC6E9BD}" dt="2023-11-08T21:57:24.906" v="81147" actId="478"/>
        <pc:sldMkLst>
          <pc:docMk/>
          <pc:sldMk cId="2536079350" sldId="490"/>
        </pc:sldMkLst>
        <pc:spChg chg="add del mod">
          <ac:chgData name="Tan, Roger" userId="f6f33758-bd69-4951-8148-181de3b92474" providerId="ADAL" clId="{A436842E-EA5C-4A6D-B51D-DDAE8BC6E9BD}" dt="2023-11-08T21:57:24.906" v="81147" actId="478"/>
          <ac:spMkLst>
            <pc:docMk/>
            <pc:sldMk cId="2536079350" sldId="490"/>
            <ac:spMk id="4" creationId="{8D45C8FF-1D6E-C84C-42CE-D8B11E9A9B47}"/>
          </ac:spMkLst>
        </pc:spChg>
      </pc:sldChg>
      <pc:sldChg chg="addSp modSp">
        <pc:chgData name="Tan, Roger" userId="f6f33758-bd69-4951-8148-181de3b92474" providerId="ADAL" clId="{A436842E-EA5C-4A6D-B51D-DDAE8BC6E9BD}" dt="2023-11-08T22:17:15.692" v="81352"/>
        <pc:sldMkLst>
          <pc:docMk/>
          <pc:sldMk cId="528521342" sldId="491"/>
        </pc:sldMkLst>
        <pc:spChg chg="add mod">
          <ac:chgData name="Tan, Roger" userId="f6f33758-bd69-4951-8148-181de3b92474" providerId="ADAL" clId="{A436842E-EA5C-4A6D-B51D-DDAE8BC6E9BD}" dt="2023-11-08T22:17:15.692" v="81352"/>
          <ac:spMkLst>
            <pc:docMk/>
            <pc:sldMk cId="528521342" sldId="491"/>
            <ac:spMk id="3" creationId="{E1DC9409-2EFF-12A9-E876-205A7B96C0AC}"/>
          </ac:spMkLst>
        </pc:spChg>
      </pc:sldChg>
      <pc:sldChg chg="addSp modSp">
        <pc:chgData name="Tan, Roger" userId="f6f33758-bd69-4951-8148-181de3b92474" providerId="ADAL" clId="{A436842E-EA5C-4A6D-B51D-DDAE8BC6E9BD}" dt="2023-11-08T22:17:16.735" v="81353"/>
        <pc:sldMkLst>
          <pc:docMk/>
          <pc:sldMk cId="961198796" sldId="492"/>
        </pc:sldMkLst>
        <pc:spChg chg="add mod">
          <ac:chgData name="Tan, Roger" userId="f6f33758-bd69-4951-8148-181de3b92474" providerId="ADAL" clId="{A436842E-EA5C-4A6D-B51D-DDAE8BC6E9BD}" dt="2023-11-08T22:17:16.735" v="81353"/>
          <ac:spMkLst>
            <pc:docMk/>
            <pc:sldMk cId="961198796" sldId="492"/>
            <ac:spMk id="4" creationId="{0FC1D311-22A1-5740-8D18-CD021A4C829E}"/>
          </ac:spMkLst>
        </pc:spChg>
      </pc:sldChg>
      <pc:sldMasterChg chg="addSp delSp modSp mod delSldLayout modSldLayout">
        <pc:chgData name="Tan, Roger" userId="f6f33758-bd69-4951-8148-181de3b92474" providerId="ADAL" clId="{A436842E-EA5C-4A6D-B51D-DDAE8BC6E9BD}" dt="2023-11-08T07:57:10.695" v="77331" actId="207"/>
        <pc:sldMasterMkLst>
          <pc:docMk/>
          <pc:sldMasterMk cId="0" sldId="2147483678"/>
        </pc:sldMasterMkLst>
        <pc:spChg chg="add mod">
          <ac:chgData name="Tan, Roger" userId="f6f33758-bd69-4951-8148-181de3b92474" providerId="ADAL" clId="{A436842E-EA5C-4A6D-B51D-DDAE8BC6E9BD}" dt="2023-11-08T07:53:26.352" v="77318"/>
          <ac:spMkLst>
            <pc:docMk/>
            <pc:sldMasterMk cId="0" sldId="2147483678"/>
            <ac:spMk id="3" creationId="{7AA17887-8966-508B-04A5-824890805B93}"/>
          </ac:spMkLst>
        </pc:spChg>
        <pc:spChg chg="del">
          <ac:chgData name="Tan, Roger" userId="f6f33758-bd69-4951-8148-181de3b92474" providerId="ADAL" clId="{A436842E-EA5C-4A6D-B51D-DDAE8BC6E9BD}" dt="2023-11-08T07:53:25.948" v="77317" actId="478"/>
          <ac:spMkLst>
            <pc:docMk/>
            <pc:sldMasterMk cId="0" sldId="2147483678"/>
            <ac:spMk id="8" creationId="{00000000-0000-0000-0000-000000000000}"/>
          </ac:spMkLst>
        </pc:spChg>
        <pc:sldLayoutChg chg="modSp">
          <pc:chgData name="Tan, Roger" userId="f6f33758-bd69-4951-8148-181de3b92474" providerId="ADAL" clId="{A436842E-EA5C-4A6D-B51D-DDAE8BC6E9BD}" dt="2023-11-08T07:55:32.368" v="77319" actId="207"/>
          <pc:sldLayoutMkLst>
            <pc:docMk/>
            <pc:sldMasterMk cId="0" sldId="2147483678"/>
            <pc:sldLayoutMk cId="0" sldId="2147483648"/>
          </pc:sldLayoutMkLst>
          <pc:spChg chg="mod">
            <ac:chgData name="Tan, Roger" userId="f6f33758-bd69-4951-8148-181de3b92474" providerId="ADAL" clId="{A436842E-EA5C-4A6D-B51D-DDAE8BC6E9BD}" dt="2023-11-08T07:55:32.368" v="77319" actId="207"/>
            <ac:spMkLst>
              <pc:docMk/>
              <pc:sldMasterMk cId="0" sldId="2147483678"/>
              <pc:sldLayoutMk cId="0" sldId="2147483648"/>
              <ac:spMk id="2" creationId="{CC148670-A203-0BE8-2E57-A444C0D8B33A}"/>
            </ac:spMkLst>
          </pc:spChg>
        </pc:sldLayoutChg>
        <pc:sldLayoutChg chg="modSp">
          <pc:chgData name="Tan, Roger" userId="f6f33758-bd69-4951-8148-181de3b92474" providerId="ADAL" clId="{A436842E-EA5C-4A6D-B51D-DDAE8BC6E9BD}" dt="2023-11-08T07:55:40.675" v="77320" actId="207"/>
          <pc:sldLayoutMkLst>
            <pc:docMk/>
            <pc:sldMasterMk cId="0" sldId="2147483678"/>
            <pc:sldLayoutMk cId="0" sldId="2147483650"/>
          </pc:sldLayoutMkLst>
          <pc:spChg chg="mod">
            <ac:chgData name="Tan, Roger" userId="f6f33758-bd69-4951-8148-181de3b92474" providerId="ADAL" clId="{A436842E-EA5C-4A6D-B51D-DDAE8BC6E9BD}" dt="2023-11-08T07:55:40.675" v="77320" actId="207"/>
            <ac:spMkLst>
              <pc:docMk/>
              <pc:sldMasterMk cId="0" sldId="2147483678"/>
              <pc:sldLayoutMk cId="0" sldId="2147483650"/>
              <ac:spMk id="2" creationId="{166C7603-0B70-BE7E-6430-746CF7E77B35}"/>
            </ac:spMkLst>
          </pc:spChg>
        </pc:sldLayoutChg>
        <pc:sldLayoutChg chg="addSp delSp modSp mod">
          <pc:chgData name="Tan, Roger" userId="f6f33758-bd69-4951-8148-181de3b92474" providerId="ADAL" clId="{A436842E-EA5C-4A6D-B51D-DDAE8BC6E9BD}" dt="2023-11-08T07:57:10.695" v="77331" actId="207"/>
          <pc:sldLayoutMkLst>
            <pc:docMk/>
            <pc:sldMasterMk cId="0" sldId="2147483678"/>
            <pc:sldLayoutMk cId="0" sldId="2147483658"/>
          </pc:sldLayoutMkLst>
          <pc:spChg chg="add mod">
            <ac:chgData name="Tan, Roger" userId="f6f33758-bd69-4951-8148-181de3b92474" providerId="ADAL" clId="{A436842E-EA5C-4A6D-B51D-DDAE8BC6E9BD}" dt="2023-11-08T07:57:10.695" v="77331" actId="207"/>
            <ac:spMkLst>
              <pc:docMk/>
              <pc:sldMasterMk cId="0" sldId="2147483678"/>
              <pc:sldLayoutMk cId="0" sldId="2147483658"/>
              <ac:spMk id="2" creationId="{FDE12308-6C94-D958-9BAF-F30149777E86}"/>
            </ac:spMkLst>
          </pc:spChg>
          <pc:spChg chg="del mod">
            <ac:chgData name="Tan, Roger" userId="f6f33758-bd69-4951-8148-181de3b92474" providerId="ADAL" clId="{A436842E-EA5C-4A6D-B51D-DDAE8BC6E9BD}" dt="2023-11-08T07:57:03.255" v="77329" actId="478"/>
            <ac:spMkLst>
              <pc:docMk/>
              <pc:sldMasterMk cId="0" sldId="2147483678"/>
              <pc:sldLayoutMk cId="0" sldId="2147483658"/>
              <ac:spMk id="74" creationId="{00000000-0000-0000-0000-000000000000}"/>
            </ac:spMkLst>
          </pc:spChg>
        </pc:sldLayoutChg>
        <pc:sldLayoutChg chg="addSp modSp">
          <pc:chgData name="Tan, Roger" userId="f6f33758-bd69-4951-8148-181de3b92474" providerId="ADAL" clId="{A436842E-EA5C-4A6D-B51D-DDAE8BC6E9BD}" dt="2023-11-08T07:55:49.629" v="77322" actId="207"/>
          <pc:sldLayoutMkLst>
            <pc:docMk/>
            <pc:sldMasterMk cId="0" sldId="2147483678"/>
            <pc:sldLayoutMk cId="0" sldId="2147483675"/>
          </pc:sldLayoutMkLst>
          <pc:spChg chg="add mod">
            <ac:chgData name="Tan, Roger" userId="f6f33758-bd69-4951-8148-181de3b92474" providerId="ADAL" clId="{A436842E-EA5C-4A6D-B51D-DDAE8BC6E9BD}" dt="2023-11-08T07:55:49.629" v="77322" actId="207"/>
            <ac:spMkLst>
              <pc:docMk/>
              <pc:sldMasterMk cId="0" sldId="2147483678"/>
              <pc:sldLayoutMk cId="0" sldId="2147483675"/>
              <ac:spMk id="2" creationId="{968763A4-473B-82CD-4B87-FD57ED1F6F2A}"/>
            </ac:spMkLst>
          </pc:spChg>
        </pc:sldLayoutChg>
        <pc:sldLayoutChg chg="modSp">
          <pc:chgData name="Tan, Roger" userId="f6f33758-bd69-4951-8148-181de3b92474" providerId="ADAL" clId="{A436842E-EA5C-4A6D-B51D-DDAE8BC6E9BD}" dt="2023-11-08T07:55:53.490" v="77323" actId="207"/>
          <pc:sldLayoutMkLst>
            <pc:docMk/>
            <pc:sldMasterMk cId="0" sldId="2147483678"/>
            <pc:sldLayoutMk cId="0" sldId="2147483676"/>
          </pc:sldLayoutMkLst>
          <pc:spChg chg="mod">
            <ac:chgData name="Tan, Roger" userId="f6f33758-bd69-4951-8148-181de3b92474" providerId="ADAL" clId="{A436842E-EA5C-4A6D-B51D-DDAE8BC6E9BD}" dt="2023-11-08T07:55:53.490" v="77323" actId="207"/>
            <ac:spMkLst>
              <pc:docMk/>
              <pc:sldMasterMk cId="0" sldId="2147483678"/>
              <pc:sldLayoutMk cId="0" sldId="2147483676"/>
              <ac:spMk id="3" creationId="{9F7C6018-23FC-5D73-3E05-249037F96CCE}"/>
            </ac:spMkLst>
          </pc:spChg>
        </pc:sldLayoutChg>
        <pc:sldLayoutChg chg="modSp">
          <pc:chgData name="Tan, Roger" userId="f6f33758-bd69-4951-8148-181de3b92474" providerId="ADAL" clId="{A436842E-EA5C-4A6D-B51D-DDAE8BC6E9BD}" dt="2023-11-08T07:55:56.720" v="77324" actId="207"/>
          <pc:sldLayoutMkLst>
            <pc:docMk/>
            <pc:sldMasterMk cId="0" sldId="2147483678"/>
            <pc:sldLayoutMk cId="1143986136" sldId="2147483680"/>
          </pc:sldLayoutMkLst>
          <pc:spChg chg="mod">
            <ac:chgData name="Tan, Roger" userId="f6f33758-bd69-4951-8148-181de3b92474" providerId="ADAL" clId="{A436842E-EA5C-4A6D-B51D-DDAE8BC6E9BD}" dt="2023-11-08T07:55:56.720" v="77324" actId="207"/>
            <ac:spMkLst>
              <pc:docMk/>
              <pc:sldMasterMk cId="0" sldId="2147483678"/>
              <pc:sldLayoutMk cId="1143986136" sldId="2147483680"/>
              <ac:spMk id="2" creationId="{E8311B74-3FC9-A7C0-BB18-C88B2B1067A6}"/>
            </ac:spMkLst>
          </pc:spChg>
        </pc:sldLayoutChg>
        <pc:sldLayoutChg chg="addSp modSp">
          <pc:chgData name="Tan, Roger" userId="f6f33758-bd69-4951-8148-181de3b92474" providerId="ADAL" clId="{A436842E-EA5C-4A6D-B51D-DDAE8BC6E9BD}" dt="2023-11-08T07:56:05.760" v="77327" actId="207"/>
          <pc:sldLayoutMkLst>
            <pc:docMk/>
            <pc:sldMasterMk cId="0" sldId="2147483678"/>
            <pc:sldLayoutMk cId="2514566348" sldId="2147483681"/>
          </pc:sldLayoutMkLst>
          <pc:spChg chg="add mod">
            <ac:chgData name="Tan, Roger" userId="f6f33758-bd69-4951-8148-181de3b92474" providerId="ADAL" clId="{A436842E-EA5C-4A6D-B51D-DDAE8BC6E9BD}" dt="2023-11-08T07:56:05.760" v="77327" actId="207"/>
            <ac:spMkLst>
              <pc:docMk/>
              <pc:sldMasterMk cId="0" sldId="2147483678"/>
              <pc:sldLayoutMk cId="2514566348" sldId="2147483681"/>
              <ac:spMk id="3" creationId="{5103D7E0-658F-52A5-E51F-4E1C87647A4C}"/>
            </ac:spMkLst>
          </pc:spChg>
        </pc:sldLayoutChg>
        <pc:sldLayoutChg chg="modSp">
          <pc:chgData name="Tan, Roger" userId="f6f33758-bd69-4951-8148-181de3b92474" providerId="ADAL" clId="{A436842E-EA5C-4A6D-B51D-DDAE8BC6E9BD}" dt="2023-11-08T07:56:02.239" v="77326" actId="207"/>
          <pc:sldLayoutMkLst>
            <pc:docMk/>
            <pc:sldMasterMk cId="0" sldId="2147483678"/>
            <pc:sldLayoutMk cId="1242586868" sldId="2147483733"/>
          </pc:sldLayoutMkLst>
          <pc:spChg chg="mod">
            <ac:chgData name="Tan, Roger" userId="f6f33758-bd69-4951-8148-181de3b92474" providerId="ADAL" clId="{A436842E-EA5C-4A6D-B51D-DDAE8BC6E9BD}" dt="2023-11-08T07:56:02.239" v="77326" actId="207"/>
            <ac:spMkLst>
              <pc:docMk/>
              <pc:sldMasterMk cId="0" sldId="2147483678"/>
              <pc:sldLayoutMk cId="1242586868" sldId="2147483733"/>
              <ac:spMk id="5" creationId="{41A3A0AE-E566-CAA4-9906-C9A3CBFAA0EF}"/>
            </ac:spMkLst>
          </pc:spChg>
        </pc:sldLayoutChg>
        <pc:sldLayoutChg chg="modSp">
          <pc:chgData name="Tan, Roger" userId="f6f33758-bd69-4951-8148-181de3b92474" providerId="ADAL" clId="{A436842E-EA5C-4A6D-B51D-DDAE8BC6E9BD}" dt="2023-11-08T07:55:59.360" v="77325" actId="207"/>
          <pc:sldLayoutMkLst>
            <pc:docMk/>
            <pc:sldMasterMk cId="0" sldId="2147483678"/>
            <pc:sldLayoutMk cId="2448753976" sldId="2147483734"/>
          </pc:sldLayoutMkLst>
          <pc:spChg chg="mod">
            <ac:chgData name="Tan, Roger" userId="f6f33758-bd69-4951-8148-181de3b92474" providerId="ADAL" clId="{A436842E-EA5C-4A6D-B51D-DDAE8BC6E9BD}" dt="2023-11-08T07:55:59.360" v="77325" actId="207"/>
            <ac:spMkLst>
              <pc:docMk/>
              <pc:sldMasterMk cId="0" sldId="2147483678"/>
              <pc:sldLayoutMk cId="2448753976" sldId="2147483734"/>
              <ac:spMk id="2" creationId="{15A7B9FC-6F4B-2791-E046-09B0BA18A5D6}"/>
            </ac:spMkLst>
          </pc:spChg>
        </pc:sldLayoutChg>
        <pc:sldLayoutChg chg="del">
          <pc:chgData name="Tan, Roger" userId="f6f33758-bd69-4951-8148-181de3b92474" providerId="ADAL" clId="{A436842E-EA5C-4A6D-B51D-DDAE8BC6E9BD}" dt="2023-11-07T17:24:12.203" v="74372" actId="47"/>
          <pc:sldLayoutMkLst>
            <pc:docMk/>
            <pc:sldMasterMk cId="0" sldId="2147483678"/>
            <pc:sldLayoutMk cId="608101869" sldId="2147483735"/>
          </pc:sldLayoutMkLst>
        </pc:sldLayoutChg>
      </pc:sldMasterChg>
    </pc:docChg>
  </pc:docChgLst>
  <pc:docChgLst>
    <pc:chgData name="Shreyan Datta Chakraborty" userId="8e16d80f-77aa-4ba5-b0e9-232e8980a100" providerId="ADAL" clId="{0428C15A-4383-A648-B14C-4EFD75FFE0E0}"/>
    <pc:docChg chg="undo custSel addSld delSld modSld sldOrd addSection delSection modSection">
      <pc:chgData name="Shreyan Datta Chakraborty" userId="8e16d80f-77aa-4ba5-b0e9-232e8980a100" providerId="ADAL" clId="{0428C15A-4383-A648-B14C-4EFD75FFE0E0}" dt="2023-11-08T22:09:36.848" v="7213" actId="20577"/>
      <pc:docMkLst>
        <pc:docMk/>
      </pc:docMkLst>
      <pc:sldChg chg="modSp mod">
        <pc:chgData name="Shreyan Datta Chakraborty" userId="8e16d80f-77aa-4ba5-b0e9-232e8980a100" providerId="ADAL" clId="{0428C15A-4383-A648-B14C-4EFD75FFE0E0}" dt="2023-11-08T06:36:52.254" v="5787" actId="1076"/>
        <pc:sldMkLst>
          <pc:docMk/>
          <pc:sldMk cId="0" sldId="256"/>
        </pc:sldMkLst>
        <pc:spChg chg="mod">
          <ac:chgData name="Shreyan Datta Chakraborty" userId="8e16d80f-77aa-4ba5-b0e9-232e8980a100" providerId="ADAL" clId="{0428C15A-4383-A648-B14C-4EFD75FFE0E0}" dt="2023-11-08T06:36:52.254" v="5787" actId="1076"/>
          <ac:spMkLst>
            <pc:docMk/>
            <pc:sldMk cId="0" sldId="256"/>
            <ac:spMk id="395" creationId="{00000000-0000-0000-0000-000000000000}"/>
          </ac:spMkLst>
        </pc:spChg>
        <pc:spChg chg="mod">
          <ac:chgData name="Shreyan Datta Chakraborty" userId="8e16d80f-77aa-4ba5-b0e9-232e8980a100" providerId="ADAL" clId="{0428C15A-4383-A648-B14C-4EFD75FFE0E0}" dt="2023-11-07T22:44:07.011" v="4530" actId="20577"/>
          <ac:spMkLst>
            <pc:docMk/>
            <pc:sldMk cId="0" sldId="256"/>
            <ac:spMk id="396" creationId="{00000000-0000-0000-0000-000000000000}"/>
          </ac:spMkLst>
        </pc:spChg>
      </pc:sldChg>
      <pc:sldChg chg="mod modShow">
        <pc:chgData name="Shreyan Datta Chakraborty" userId="8e16d80f-77aa-4ba5-b0e9-232e8980a100" providerId="ADAL" clId="{0428C15A-4383-A648-B14C-4EFD75FFE0E0}" dt="2023-11-07T22:43:38.076" v="4521" actId="729"/>
        <pc:sldMkLst>
          <pc:docMk/>
          <pc:sldMk cId="0" sldId="257"/>
        </pc:sldMkLst>
      </pc:sldChg>
      <pc:sldChg chg="mod modShow modNotesTx">
        <pc:chgData name="Shreyan Datta Chakraborty" userId="8e16d80f-77aa-4ba5-b0e9-232e8980a100" providerId="ADAL" clId="{0428C15A-4383-A648-B14C-4EFD75FFE0E0}" dt="2023-11-07T23:17:05.173" v="5113" actId="20577"/>
        <pc:sldMkLst>
          <pc:docMk/>
          <pc:sldMk cId="2676058872" sldId="318"/>
        </pc:sldMkLst>
      </pc:sldChg>
      <pc:sldChg chg="mod modShow">
        <pc:chgData name="Shreyan Datta Chakraborty" userId="8e16d80f-77aa-4ba5-b0e9-232e8980a100" providerId="ADAL" clId="{0428C15A-4383-A648-B14C-4EFD75FFE0E0}" dt="2023-11-07T22:43:38.076" v="4521" actId="729"/>
        <pc:sldMkLst>
          <pc:docMk/>
          <pc:sldMk cId="2404987394" sldId="319"/>
        </pc:sldMkLst>
      </pc:sldChg>
      <pc:sldChg chg="modSp mod">
        <pc:chgData name="Shreyan Datta Chakraborty" userId="8e16d80f-77aa-4ba5-b0e9-232e8980a100" providerId="ADAL" clId="{0428C15A-4383-A648-B14C-4EFD75FFE0E0}" dt="2023-11-06T05:45:08.912" v="1892" actId="1076"/>
        <pc:sldMkLst>
          <pc:docMk/>
          <pc:sldMk cId="3941455084" sldId="320"/>
        </pc:sldMkLst>
        <pc:grpChg chg="mod">
          <ac:chgData name="Shreyan Datta Chakraborty" userId="8e16d80f-77aa-4ba5-b0e9-232e8980a100" providerId="ADAL" clId="{0428C15A-4383-A648-B14C-4EFD75FFE0E0}" dt="2023-11-06T05:45:08.912" v="1892" actId="1076"/>
          <ac:grpSpMkLst>
            <pc:docMk/>
            <pc:sldMk cId="3941455084" sldId="320"/>
            <ac:grpSpMk id="474" creationId="{2047AE4B-543B-852C-3617-AB19F7AEC131}"/>
          </ac:grpSpMkLst>
        </pc:grpChg>
      </pc:sldChg>
      <pc:sldChg chg="mod modShow">
        <pc:chgData name="Shreyan Datta Chakraborty" userId="8e16d80f-77aa-4ba5-b0e9-232e8980a100" providerId="ADAL" clId="{0428C15A-4383-A648-B14C-4EFD75FFE0E0}" dt="2023-11-07T23:45:05.215" v="5114" actId="729"/>
        <pc:sldMkLst>
          <pc:docMk/>
          <pc:sldMk cId="1865461754" sldId="322"/>
        </pc:sldMkLst>
      </pc:sldChg>
      <pc:sldChg chg="mod modShow">
        <pc:chgData name="Shreyan Datta Chakraborty" userId="8e16d80f-77aa-4ba5-b0e9-232e8980a100" providerId="ADAL" clId="{0428C15A-4383-A648-B14C-4EFD75FFE0E0}" dt="2023-11-07T22:43:49.448" v="4522" actId="729"/>
        <pc:sldMkLst>
          <pc:docMk/>
          <pc:sldMk cId="2080970467" sldId="323"/>
        </pc:sldMkLst>
      </pc:sldChg>
      <pc:sldChg chg="mod modShow">
        <pc:chgData name="Shreyan Datta Chakraborty" userId="8e16d80f-77aa-4ba5-b0e9-232e8980a100" providerId="ADAL" clId="{0428C15A-4383-A648-B14C-4EFD75FFE0E0}" dt="2023-11-07T23:45:05.215" v="5114" actId="729"/>
        <pc:sldMkLst>
          <pc:docMk/>
          <pc:sldMk cId="1164967634" sldId="330"/>
        </pc:sldMkLst>
      </pc:sldChg>
      <pc:sldChg chg="mod modShow">
        <pc:chgData name="Shreyan Datta Chakraborty" userId="8e16d80f-77aa-4ba5-b0e9-232e8980a100" providerId="ADAL" clId="{0428C15A-4383-A648-B14C-4EFD75FFE0E0}" dt="2023-11-07T23:47:28.594" v="5134" actId="729"/>
        <pc:sldMkLst>
          <pc:docMk/>
          <pc:sldMk cId="2063091316" sldId="334"/>
        </pc:sldMkLst>
      </pc:sldChg>
      <pc:sldChg chg="modSp mod modNotesTx">
        <pc:chgData name="Shreyan Datta Chakraborty" userId="8e16d80f-77aa-4ba5-b0e9-232e8980a100" providerId="ADAL" clId="{0428C15A-4383-A648-B14C-4EFD75FFE0E0}" dt="2023-11-07T22:46:39.705" v="4561" actId="20577"/>
        <pc:sldMkLst>
          <pc:docMk/>
          <pc:sldMk cId="1570625822" sldId="335"/>
        </pc:sldMkLst>
        <pc:spChg chg="mod">
          <ac:chgData name="Shreyan Datta Chakraborty" userId="8e16d80f-77aa-4ba5-b0e9-232e8980a100" providerId="ADAL" clId="{0428C15A-4383-A648-B14C-4EFD75FFE0E0}" dt="2023-11-06T06:06:24.696" v="1905" actId="20577"/>
          <ac:spMkLst>
            <pc:docMk/>
            <pc:sldMk cId="1570625822" sldId="335"/>
            <ac:spMk id="468" creationId="{EB66E06B-9119-F34A-7804-D336B7548336}"/>
          </ac:spMkLst>
        </pc:spChg>
      </pc:sldChg>
      <pc:sldChg chg="ord">
        <pc:chgData name="Shreyan Datta Chakraborty" userId="8e16d80f-77aa-4ba5-b0e9-232e8980a100" providerId="ADAL" clId="{0428C15A-4383-A648-B14C-4EFD75FFE0E0}" dt="2023-11-08T21:56:24.260" v="7142" actId="20578"/>
        <pc:sldMkLst>
          <pc:docMk/>
          <pc:sldMk cId="3821254099" sldId="337"/>
        </pc:sldMkLst>
      </pc:sldChg>
      <pc:sldChg chg="addSp modSp mod addAnim delAnim modShow">
        <pc:chgData name="Shreyan Datta Chakraborty" userId="8e16d80f-77aa-4ba5-b0e9-232e8980a100" providerId="ADAL" clId="{0428C15A-4383-A648-B14C-4EFD75FFE0E0}" dt="2023-11-07T20:00:27.185" v="4277" actId="729"/>
        <pc:sldMkLst>
          <pc:docMk/>
          <pc:sldMk cId="2668455773" sldId="338"/>
        </pc:sldMkLst>
        <pc:spChg chg="add mod">
          <ac:chgData name="Shreyan Datta Chakraborty" userId="8e16d80f-77aa-4ba5-b0e9-232e8980a100" providerId="ADAL" clId="{0428C15A-4383-A648-B14C-4EFD75FFE0E0}" dt="2023-11-07T19:58:23.956" v="4274" actId="1076"/>
          <ac:spMkLst>
            <pc:docMk/>
            <pc:sldMk cId="2668455773" sldId="338"/>
            <ac:spMk id="17" creationId="{DB046699-1000-DE54-55D4-36C7AB37FBDF}"/>
          </ac:spMkLst>
        </pc:spChg>
        <pc:graphicFrameChg chg="mod modGraphic">
          <ac:chgData name="Shreyan Datta Chakraborty" userId="8e16d80f-77aa-4ba5-b0e9-232e8980a100" providerId="ADAL" clId="{0428C15A-4383-A648-B14C-4EFD75FFE0E0}" dt="2023-11-07T19:57:54.500" v="4268" actId="20577"/>
          <ac:graphicFrameMkLst>
            <pc:docMk/>
            <pc:sldMk cId="2668455773" sldId="338"/>
            <ac:graphicFrameMk id="6" creationId="{BA3E4D8D-75EC-5489-00DE-0D57271B4F0B}"/>
          </ac:graphicFrameMkLst>
        </pc:graphicFrameChg>
      </pc:sldChg>
      <pc:sldChg chg="modNotesTx">
        <pc:chgData name="Shreyan Datta Chakraborty" userId="8e16d80f-77aa-4ba5-b0e9-232e8980a100" providerId="ADAL" clId="{0428C15A-4383-A648-B14C-4EFD75FFE0E0}" dt="2023-11-07T23:50:54.355" v="5226" actId="20577"/>
        <pc:sldMkLst>
          <pc:docMk/>
          <pc:sldMk cId="2603373835" sldId="340"/>
        </pc:sldMkLst>
      </pc:sldChg>
      <pc:sldChg chg="del">
        <pc:chgData name="Shreyan Datta Chakraborty" userId="8e16d80f-77aa-4ba5-b0e9-232e8980a100" providerId="ADAL" clId="{0428C15A-4383-A648-B14C-4EFD75FFE0E0}" dt="2023-11-08T21:47:04.077" v="6950" actId="2696"/>
        <pc:sldMkLst>
          <pc:docMk/>
          <pc:sldMk cId="4164481638" sldId="340"/>
        </pc:sldMkLst>
      </pc:sldChg>
      <pc:sldChg chg="modNotesTx">
        <pc:chgData name="Shreyan Datta Chakraborty" userId="8e16d80f-77aa-4ba5-b0e9-232e8980a100" providerId="ADAL" clId="{0428C15A-4383-A648-B14C-4EFD75FFE0E0}" dt="2023-11-07T20:44:21.439" v="4491" actId="20577"/>
        <pc:sldMkLst>
          <pc:docMk/>
          <pc:sldMk cId="2163110923" sldId="342"/>
        </pc:sldMkLst>
      </pc:sldChg>
      <pc:sldChg chg="modSp mod addCm delCm modCm">
        <pc:chgData name="Shreyan Datta Chakraborty" userId="8e16d80f-77aa-4ba5-b0e9-232e8980a100" providerId="ADAL" clId="{0428C15A-4383-A648-B14C-4EFD75FFE0E0}" dt="2023-11-07T22:42:08.201" v="4520" actId="1592"/>
        <pc:sldMkLst>
          <pc:docMk/>
          <pc:sldMk cId="49457783" sldId="344"/>
        </pc:sldMkLst>
        <pc:spChg chg="mod">
          <ac:chgData name="Shreyan Datta Chakraborty" userId="8e16d80f-77aa-4ba5-b0e9-232e8980a100" providerId="ADAL" clId="{0428C15A-4383-A648-B14C-4EFD75FFE0E0}" dt="2023-11-06T01:11:15.232" v="1278" actId="14100"/>
          <ac:spMkLst>
            <pc:docMk/>
            <pc:sldMk cId="49457783" sldId="344"/>
            <ac:spMk id="18" creationId="{CDCF37E9-1EA5-0D87-91B1-1DFBCF4CC1F0}"/>
          </ac:spMkLst>
        </pc:spChg>
        <pc:spChg chg="mod">
          <ac:chgData name="Shreyan Datta Chakraborty" userId="8e16d80f-77aa-4ba5-b0e9-232e8980a100" providerId="ADAL" clId="{0428C15A-4383-A648-B14C-4EFD75FFE0E0}" dt="2023-11-07T22:42:06.165" v="4519" actId="20577"/>
          <ac:spMkLst>
            <pc:docMk/>
            <pc:sldMk cId="49457783" sldId="344"/>
            <ac:spMk id="43" creationId="{F6BA117E-0D70-68CA-6A6D-B143D18A241E}"/>
          </ac:spMkLst>
        </pc:spChg>
      </pc:sldChg>
      <pc:sldChg chg="delSp modSp mod modShow addCm delCm modCm">
        <pc:chgData name="Shreyan Datta Chakraborty" userId="8e16d80f-77aa-4ba5-b0e9-232e8980a100" providerId="ADAL" clId="{0428C15A-4383-A648-B14C-4EFD75FFE0E0}" dt="2023-11-07T22:41:32.538" v="4502" actId="1076"/>
        <pc:sldMkLst>
          <pc:docMk/>
          <pc:sldMk cId="401544748" sldId="346"/>
        </pc:sldMkLst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5" creationId="{46132551-68DC-0999-BFEB-5647844CDDA6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13" creationId="{FF49A6A7-5096-8A57-E8B6-6A832E0D61DD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16" creationId="{08B1931D-A14D-5FE8-C968-D2D87FEC32C0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26" creationId="{9C1106E5-5D2B-2108-9096-4041E7EE5FDC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29" creationId="{90CD4E89-57C2-AA83-D521-631282430826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32" creationId="{D2A4108C-06D9-D046-A2C5-38F56BF36A1B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35" creationId="{C9D516F0-1DED-711E-BB9C-AECE2C0B5932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38" creationId="{ECBA24C5-7E17-05A0-E3CC-3F732EC5B69B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117" creationId="{E5A29841-7451-9A8E-892F-CA74342F5274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152" creationId="{CE13DC25-6E3E-89F5-9FB0-9F1C3BBBFEDC}"/>
          </ac:spMkLst>
        </pc:spChg>
        <pc:spChg chg="mod">
          <ac:chgData name="Shreyan Datta Chakraborty" userId="8e16d80f-77aa-4ba5-b0e9-232e8980a100" providerId="ADAL" clId="{0428C15A-4383-A648-B14C-4EFD75FFE0E0}" dt="2023-11-07T22:41:32.538" v="4502" actId="1076"/>
          <ac:spMkLst>
            <pc:docMk/>
            <pc:sldMk cId="401544748" sldId="346"/>
            <ac:spMk id="293" creationId="{F05D1CB0-34AB-525C-A80D-E9C6733914C5}"/>
          </ac:spMkLst>
        </pc:spChg>
        <pc:spChg chg="mod">
          <ac:chgData name="Shreyan Datta Chakraborty" userId="8e16d80f-77aa-4ba5-b0e9-232e8980a100" providerId="ADAL" clId="{0428C15A-4383-A648-B14C-4EFD75FFE0E0}" dt="2023-11-06T06:40:28.417" v="1919" actId="1076"/>
          <ac:spMkLst>
            <pc:docMk/>
            <pc:sldMk cId="401544748" sldId="346"/>
            <ac:spMk id="296" creationId="{E5F353EA-3744-918D-4A2F-5C0D191BC1DA}"/>
          </ac:spMkLst>
        </pc:spChg>
        <pc:spChg chg="del">
          <ac:chgData name="Shreyan Datta Chakraborty" userId="8e16d80f-77aa-4ba5-b0e9-232e8980a100" providerId="ADAL" clId="{0428C15A-4383-A648-B14C-4EFD75FFE0E0}" dt="2023-11-07T22:41:14.746" v="4500" actId="478"/>
          <ac:spMkLst>
            <pc:docMk/>
            <pc:sldMk cId="401544748" sldId="346"/>
            <ac:spMk id="298" creationId="{CAB3D1A2-981C-FD5A-ACDA-0DCF952C9265}"/>
          </ac:spMkLst>
        </pc:spChg>
        <pc:graphicFrameChg chg="mod">
          <ac:chgData name="Shreyan Datta Chakraborty" userId="8e16d80f-77aa-4ba5-b0e9-232e8980a100" providerId="ADAL" clId="{0428C15A-4383-A648-B14C-4EFD75FFE0E0}" dt="2023-11-07T22:41:32.538" v="4502" actId="1076"/>
          <ac:graphicFrameMkLst>
            <pc:docMk/>
            <pc:sldMk cId="401544748" sldId="346"/>
            <ac:graphicFrameMk id="10" creationId="{50BE4FA5-3065-9A22-EAB2-6348E4875AA6}"/>
          </ac:graphicFrameMkLst>
        </pc:graphicFrameChg>
        <pc:graphicFrameChg chg="del">
          <ac:chgData name="Shreyan Datta Chakraborty" userId="8e16d80f-77aa-4ba5-b0e9-232e8980a100" providerId="ADAL" clId="{0428C15A-4383-A648-B14C-4EFD75FFE0E0}" dt="2023-11-07T22:41:11.636" v="4499" actId="478"/>
          <ac:graphicFrameMkLst>
            <pc:docMk/>
            <pc:sldMk cId="401544748" sldId="346"/>
            <ac:graphicFrameMk id="299" creationId="{4BCE9799-5281-6C47-5413-F1B75BF751D5}"/>
          </ac:graphicFrameMkLst>
        </pc:graphicFrameChg>
        <pc:cxnChg chg="mod">
          <ac:chgData name="Shreyan Datta Chakraborty" userId="8e16d80f-77aa-4ba5-b0e9-232e8980a100" providerId="ADAL" clId="{0428C15A-4383-A648-B14C-4EFD75FFE0E0}" dt="2023-11-07T22:41:32.538" v="4502" actId="1076"/>
          <ac:cxnSpMkLst>
            <pc:docMk/>
            <pc:sldMk cId="401544748" sldId="346"/>
            <ac:cxnSpMk id="3" creationId="{AD08AF44-A578-BB67-6365-36DB3B23DD93}"/>
          </ac:cxnSpMkLst>
        </pc:cxnChg>
        <pc:cxnChg chg="mod">
          <ac:chgData name="Shreyan Datta Chakraborty" userId="8e16d80f-77aa-4ba5-b0e9-232e8980a100" providerId="ADAL" clId="{0428C15A-4383-A648-B14C-4EFD75FFE0E0}" dt="2023-11-07T22:41:32.538" v="4502" actId="1076"/>
          <ac:cxnSpMkLst>
            <pc:docMk/>
            <pc:sldMk cId="401544748" sldId="346"/>
            <ac:cxnSpMk id="294" creationId="{653860D9-C7CD-D12F-DC91-8FB17E7EB1C1}"/>
          </ac:cxnSpMkLst>
        </pc:cxnChg>
      </pc:sldChg>
      <pc:sldChg chg="modNotesTx">
        <pc:chgData name="Shreyan Datta Chakraborty" userId="8e16d80f-77aa-4ba5-b0e9-232e8980a100" providerId="ADAL" clId="{0428C15A-4383-A648-B14C-4EFD75FFE0E0}" dt="2023-11-07T22:47:29.488" v="4632" actId="20577"/>
        <pc:sldMkLst>
          <pc:docMk/>
          <pc:sldMk cId="733552054" sldId="347"/>
        </pc:sldMkLst>
      </pc:sldChg>
      <pc:sldChg chg="modSp mod">
        <pc:chgData name="Shreyan Datta Chakraborty" userId="8e16d80f-77aa-4ba5-b0e9-232e8980a100" providerId="ADAL" clId="{0428C15A-4383-A648-B14C-4EFD75FFE0E0}" dt="2023-11-06T06:39:07.014" v="1913" actId="255"/>
        <pc:sldMkLst>
          <pc:docMk/>
          <pc:sldMk cId="196079218" sldId="360"/>
        </pc:sldMkLst>
        <pc:spChg chg="mod">
          <ac:chgData name="Shreyan Datta Chakraborty" userId="8e16d80f-77aa-4ba5-b0e9-232e8980a100" providerId="ADAL" clId="{0428C15A-4383-A648-B14C-4EFD75FFE0E0}" dt="2023-11-06T06:39:07.014" v="1913" actId="255"/>
          <ac:spMkLst>
            <pc:docMk/>
            <pc:sldMk cId="196079218" sldId="360"/>
            <ac:spMk id="34" creationId="{8414AB94-4614-CF24-9993-74BA355FCD32}"/>
          </ac:spMkLst>
        </pc:spChg>
      </pc:sldChg>
      <pc:sldChg chg="modNotesTx">
        <pc:chgData name="Shreyan Datta Chakraborty" userId="8e16d80f-77aa-4ba5-b0e9-232e8980a100" providerId="ADAL" clId="{0428C15A-4383-A648-B14C-4EFD75FFE0E0}" dt="2023-11-07T22:49:44.545" v="4675" actId="20577"/>
        <pc:sldMkLst>
          <pc:docMk/>
          <pc:sldMk cId="4271637465" sldId="369"/>
        </pc:sldMkLst>
      </pc:sldChg>
      <pc:sldChg chg="modNotesTx">
        <pc:chgData name="Shreyan Datta Chakraborty" userId="8e16d80f-77aa-4ba5-b0e9-232e8980a100" providerId="ADAL" clId="{0428C15A-4383-A648-B14C-4EFD75FFE0E0}" dt="2023-11-07T20:44:25.165" v="4498" actId="20577"/>
        <pc:sldMkLst>
          <pc:docMk/>
          <pc:sldMk cId="3649468413" sldId="370"/>
        </pc:sldMkLst>
      </pc:sldChg>
      <pc:sldChg chg="modSp mod modNotesTx">
        <pc:chgData name="Shreyan Datta Chakraborty" userId="8e16d80f-77aa-4ba5-b0e9-232e8980a100" providerId="ADAL" clId="{0428C15A-4383-A648-B14C-4EFD75FFE0E0}" dt="2023-11-08T01:51:13.260" v="5281" actId="20577"/>
        <pc:sldMkLst>
          <pc:docMk/>
          <pc:sldMk cId="160926467" sldId="372"/>
        </pc:sldMkLst>
        <pc:spChg chg="mod">
          <ac:chgData name="Shreyan Datta Chakraborty" userId="8e16d80f-77aa-4ba5-b0e9-232e8980a100" providerId="ADAL" clId="{0428C15A-4383-A648-B14C-4EFD75FFE0E0}" dt="2023-11-08T01:51:13.260" v="5281" actId="20577"/>
          <ac:spMkLst>
            <pc:docMk/>
            <pc:sldMk cId="160926467" sldId="372"/>
            <ac:spMk id="705" creationId="{2BAB8A09-998F-FECB-0657-889582B1FE9C}"/>
          </ac:spMkLst>
        </pc:spChg>
      </pc:sldChg>
      <pc:sldChg chg="modNotesTx">
        <pc:chgData name="Shreyan Datta Chakraborty" userId="8e16d80f-77aa-4ba5-b0e9-232e8980a100" providerId="ADAL" clId="{0428C15A-4383-A648-B14C-4EFD75FFE0E0}" dt="2023-11-07T23:13:09.339" v="4817" actId="20577"/>
        <pc:sldMkLst>
          <pc:docMk/>
          <pc:sldMk cId="1357425586" sldId="373"/>
        </pc:sldMkLst>
      </pc:sldChg>
      <pc:sldChg chg="modSp mod modNotesTx">
        <pc:chgData name="Shreyan Datta Chakraborty" userId="8e16d80f-77aa-4ba5-b0e9-232e8980a100" providerId="ADAL" clId="{0428C15A-4383-A648-B14C-4EFD75FFE0E0}" dt="2023-11-08T02:31:28.509" v="5772" actId="20577"/>
        <pc:sldMkLst>
          <pc:docMk/>
          <pc:sldMk cId="722401933" sldId="374"/>
        </pc:sldMkLst>
        <pc:spChg chg="mod">
          <ac:chgData name="Shreyan Datta Chakraborty" userId="8e16d80f-77aa-4ba5-b0e9-232e8980a100" providerId="ADAL" clId="{0428C15A-4383-A648-B14C-4EFD75FFE0E0}" dt="2023-11-07T19:51:34.090" v="4112" actId="20577"/>
          <ac:spMkLst>
            <pc:docMk/>
            <pc:sldMk cId="722401933" sldId="374"/>
            <ac:spMk id="6" creationId="{8D00B77E-1094-F6A8-A1A3-B7C3F59051E4}"/>
          </ac:spMkLst>
        </pc:spChg>
      </pc:sldChg>
      <pc:sldChg chg="modSp mod modTransition modNotesTx">
        <pc:chgData name="Shreyan Datta Chakraborty" userId="8e16d80f-77aa-4ba5-b0e9-232e8980a100" providerId="ADAL" clId="{0428C15A-4383-A648-B14C-4EFD75FFE0E0}" dt="2023-11-07T22:45:42.730" v="4532" actId="20577"/>
        <pc:sldMkLst>
          <pc:docMk/>
          <pc:sldMk cId="4242406866" sldId="375"/>
        </pc:sldMkLst>
        <pc:spChg chg="mod">
          <ac:chgData name="Shreyan Datta Chakraborty" userId="8e16d80f-77aa-4ba5-b0e9-232e8980a100" providerId="ADAL" clId="{0428C15A-4383-A648-B14C-4EFD75FFE0E0}" dt="2023-11-06T05:43:34.650" v="1890" actId="404"/>
          <ac:spMkLst>
            <pc:docMk/>
            <pc:sldMk cId="4242406866" sldId="375"/>
            <ac:spMk id="65" creationId="{00000000-0000-0000-0000-000000000000}"/>
          </ac:spMkLst>
        </pc:spChg>
      </pc:sldChg>
      <pc:sldChg chg="add del">
        <pc:chgData name="Shreyan Datta Chakraborty" userId="8e16d80f-77aa-4ba5-b0e9-232e8980a100" providerId="ADAL" clId="{0428C15A-4383-A648-B14C-4EFD75FFE0E0}" dt="2023-11-05T20:55:53.620" v="1" actId="2696"/>
        <pc:sldMkLst>
          <pc:docMk/>
          <pc:sldMk cId="1353770773" sldId="377"/>
        </pc:sldMkLst>
      </pc:sldChg>
      <pc:sldChg chg="delSp modSp add del mod">
        <pc:chgData name="Shreyan Datta Chakraborty" userId="8e16d80f-77aa-4ba5-b0e9-232e8980a100" providerId="ADAL" clId="{0428C15A-4383-A648-B14C-4EFD75FFE0E0}" dt="2023-11-06T01:11:53.739" v="1279" actId="2696"/>
        <pc:sldMkLst>
          <pc:docMk/>
          <pc:sldMk cId="2346415701" sldId="377"/>
        </pc:sldMkLst>
        <pc:spChg chg="mod">
          <ac:chgData name="Shreyan Datta Chakraborty" userId="8e16d80f-77aa-4ba5-b0e9-232e8980a100" providerId="ADAL" clId="{0428C15A-4383-A648-B14C-4EFD75FFE0E0}" dt="2023-11-05T20:59:55.398" v="126" actId="20577"/>
          <ac:spMkLst>
            <pc:docMk/>
            <pc:sldMk cId="2346415701" sldId="377"/>
            <ac:spMk id="2" creationId="{496E9A5C-AC7F-EC41-F04F-873EB24E5193}"/>
          </ac:spMkLst>
        </pc:spChg>
        <pc:spChg chg="del">
          <ac:chgData name="Shreyan Datta Chakraborty" userId="8e16d80f-77aa-4ba5-b0e9-232e8980a100" providerId="ADAL" clId="{0428C15A-4383-A648-B14C-4EFD75FFE0E0}" dt="2023-11-05T20:59:52.879" v="125" actId="478"/>
          <ac:spMkLst>
            <pc:docMk/>
            <pc:sldMk cId="2346415701" sldId="377"/>
            <ac:spMk id="4" creationId="{E0CC89F0-C4F6-5E89-7129-09EE380CF4BC}"/>
          </ac:spMkLst>
        </pc:spChg>
        <pc:spChg chg="mod">
          <ac:chgData name="Shreyan Datta Chakraborty" userId="8e16d80f-77aa-4ba5-b0e9-232e8980a100" providerId="ADAL" clId="{0428C15A-4383-A648-B14C-4EFD75FFE0E0}" dt="2023-11-05T21:16:59.944" v="210" actId="1076"/>
          <ac:spMkLst>
            <pc:docMk/>
            <pc:sldMk cId="2346415701" sldId="377"/>
            <ac:spMk id="18" creationId="{CDCF37E9-1EA5-0D87-91B1-1DFBCF4CC1F0}"/>
          </ac:spMkLst>
        </pc:spChg>
      </pc:sldChg>
      <pc:sldChg chg="addSp delSp modSp add del mod modNotesTx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3128293501" sldId="378"/>
        </pc:sldMkLst>
        <pc:spChg chg="mod">
          <ac:chgData name="Shreyan Datta Chakraborty" userId="8e16d80f-77aa-4ba5-b0e9-232e8980a100" providerId="ADAL" clId="{0428C15A-4383-A648-B14C-4EFD75FFE0E0}" dt="2023-11-05T21:03:58.666" v="154" actId="20577"/>
          <ac:spMkLst>
            <pc:docMk/>
            <pc:sldMk cId="3128293501" sldId="378"/>
            <ac:spMk id="2" creationId="{496E9A5C-AC7F-EC41-F04F-873EB24E5193}"/>
          </ac:spMkLst>
        </pc:spChg>
        <pc:spChg chg="add mod">
          <ac:chgData name="Shreyan Datta Chakraborty" userId="8e16d80f-77aa-4ba5-b0e9-232e8980a100" providerId="ADAL" clId="{0428C15A-4383-A648-B14C-4EFD75FFE0E0}" dt="2023-11-07T02:39:47.682" v="2125" actId="404"/>
          <ac:spMkLst>
            <pc:docMk/>
            <pc:sldMk cId="3128293501" sldId="378"/>
            <ac:spMk id="40" creationId="{DC3C35FD-CE6C-9589-F816-120858AAFFB9}"/>
          </ac:spMkLst>
        </pc:spChg>
        <pc:spChg chg="add mod">
          <ac:chgData name="Shreyan Datta Chakraborty" userId="8e16d80f-77aa-4ba5-b0e9-232e8980a100" providerId="ADAL" clId="{0428C15A-4383-A648-B14C-4EFD75FFE0E0}" dt="2023-11-07T02:40:02.394" v="2128" actId="1076"/>
          <ac:spMkLst>
            <pc:docMk/>
            <pc:sldMk cId="3128293501" sldId="378"/>
            <ac:spMk id="42" creationId="{FF5405EF-0385-4531-CD03-80A937D58D50}"/>
          </ac:spMkLst>
        </pc:spChg>
        <pc:spChg chg="del mod topLvl">
          <ac:chgData name="Shreyan Datta Chakraborty" userId="8e16d80f-77aa-4ba5-b0e9-232e8980a100" providerId="ADAL" clId="{0428C15A-4383-A648-B14C-4EFD75FFE0E0}" dt="2023-11-05T23:25:29.165" v="432" actId="478"/>
          <ac:spMkLst>
            <pc:docMk/>
            <pc:sldMk cId="3128293501" sldId="378"/>
            <ac:spMk id="46" creationId="{5FA955D4-715B-3462-A3AE-581232983F0B}"/>
          </ac:spMkLst>
        </pc:spChg>
        <pc:spChg chg="del mod topLvl">
          <ac:chgData name="Shreyan Datta Chakraborty" userId="8e16d80f-77aa-4ba5-b0e9-232e8980a100" providerId="ADAL" clId="{0428C15A-4383-A648-B14C-4EFD75FFE0E0}" dt="2023-11-07T02:44:35.925" v="2151" actId="478"/>
          <ac:spMkLst>
            <pc:docMk/>
            <pc:sldMk cId="3128293501" sldId="378"/>
            <ac:spMk id="47" creationId="{37DCB3D3-6509-F8A0-5039-383459A866A7}"/>
          </ac:spMkLst>
        </pc:spChg>
        <pc:spChg chg="mod topLvl">
          <ac:chgData name="Shreyan Datta Chakraborty" userId="8e16d80f-77aa-4ba5-b0e9-232e8980a100" providerId="ADAL" clId="{0428C15A-4383-A648-B14C-4EFD75FFE0E0}" dt="2023-11-07T03:02:04.775" v="2271" actId="962"/>
          <ac:spMkLst>
            <pc:docMk/>
            <pc:sldMk cId="3128293501" sldId="378"/>
            <ac:spMk id="48" creationId="{0F900ECF-3802-472C-16BB-E4F7B4CF87E4}"/>
          </ac:spMkLst>
        </pc:spChg>
        <pc:spChg chg="mod topLvl">
          <ac:chgData name="Shreyan Datta Chakraborty" userId="8e16d80f-77aa-4ba5-b0e9-232e8980a100" providerId="ADAL" clId="{0428C15A-4383-A648-B14C-4EFD75FFE0E0}" dt="2023-11-07T02:39:06.577" v="2078" actId="1076"/>
          <ac:spMkLst>
            <pc:docMk/>
            <pc:sldMk cId="3128293501" sldId="378"/>
            <ac:spMk id="49" creationId="{F1D47A37-4866-889D-071A-8073BA0335F2}"/>
          </ac:spMkLst>
        </pc:spChg>
        <pc:spChg chg="del mod">
          <ac:chgData name="Shreyan Datta Chakraborty" userId="8e16d80f-77aa-4ba5-b0e9-232e8980a100" providerId="ADAL" clId="{0428C15A-4383-A648-B14C-4EFD75FFE0E0}" dt="2023-11-05T23:25:09.548" v="430" actId="478"/>
          <ac:spMkLst>
            <pc:docMk/>
            <pc:sldMk cId="3128293501" sldId="378"/>
            <ac:spMk id="50" creationId="{FAF88F17-1D2B-B414-BA71-96DBF998D131}"/>
          </ac:spMkLst>
        </pc:spChg>
        <pc:spChg chg="add del mod">
          <ac:chgData name="Shreyan Datta Chakraborty" userId="8e16d80f-77aa-4ba5-b0e9-232e8980a100" providerId="ADAL" clId="{0428C15A-4383-A648-B14C-4EFD75FFE0E0}" dt="2023-11-05T21:21:26.261" v="240"/>
          <ac:spMkLst>
            <pc:docMk/>
            <pc:sldMk cId="3128293501" sldId="378"/>
            <ac:spMk id="51" creationId="{811EBE00-781A-2DBD-961C-762AD3ED3B7B}"/>
          </ac:spMkLst>
        </pc:spChg>
        <pc:spChg chg="add del mod">
          <ac:chgData name="Shreyan Datta Chakraborty" userId="8e16d80f-77aa-4ba5-b0e9-232e8980a100" providerId="ADAL" clId="{0428C15A-4383-A648-B14C-4EFD75FFE0E0}" dt="2023-11-05T21:21:27.667" v="242"/>
          <ac:spMkLst>
            <pc:docMk/>
            <pc:sldMk cId="3128293501" sldId="378"/>
            <ac:spMk id="52" creationId="{C864F22B-9B4B-30C9-9FB4-A3C68BD4ABE4}"/>
          </ac:spMkLst>
        </pc:spChg>
        <pc:spChg chg="add del mod">
          <ac:chgData name="Shreyan Datta Chakraborty" userId="8e16d80f-77aa-4ba5-b0e9-232e8980a100" providerId="ADAL" clId="{0428C15A-4383-A648-B14C-4EFD75FFE0E0}" dt="2023-11-05T21:22:05.313" v="267"/>
          <ac:spMkLst>
            <pc:docMk/>
            <pc:sldMk cId="3128293501" sldId="378"/>
            <ac:spMk id="53" creationId="{67E4FA56-0D01-F377-7573-387D66BB51D9}"/>
          </ac:spMkLst>
        </pc:spChg>
        <pc:spChg chg="add mod">
          <ac:chgData name="Shreyan Datta Chakraborty" userId="8e16d80f-77aa-4ba5-b0e9-232e8980a100" providerId="ADAL" clId="{0428C15A-4383-A648-B14C-4EFD75FFE0E0}" dt="2023-11-05T21:25:35.393" v="277" actId="1076"/>
          <ac:spMkLst>
            <pc:docMk/>
            <pc:sldMk cId="3128293501" sldId="378"/>
            <ac:spMk id="56" creationId="{52735BAF-1B99-CF58-A997-96F74B03D163}"/>
          </ac:spMkLst>
        </pc:spChg>
        <pc:spChg chg="add del mod">
          <ac:chgData name="Shreyan Datta Chakraborty" userId="8e16d80f-77aa-4ba5-b0e9-232e8980a100" providerId="ADAL" clId="{0428C15A-4383-A648-B14C-4EFD75FFE0E0}" dt="2023-11-05T23:03:34.587" v="281"/>
          <ac:spMkLst>
            <pc:docMk/>
            <pc:sldMk cId="3128293501" sldId="378"/>
            <ac:spMk id="57" creationId="{CA243F9B-9090-520E-B9DB-9F695908BA0E}"/>
          </ac:spMkLst>
        </pc:spChg>
        <pc:spChg chg="add mod">
          <ac:chgData name="Shreyan Datta Chakraborty" userId="8e16d80f-77aa-4ba5-b0e9-232e8980a100" providerId="ADAL" clId="{0428C15A-4383-A648-B14C-4EFD75FFE0E0}" dt="2023-11-07T02:40:14.332" v="2130" actId="1076"/>
          <ac:spMkLst>
            <pc:docMk/>
            <pc:sldMk cId="3128293501" sldId="378"/>
            <ac:spMk id="58" creationId="{50F02568-50C0-239E-B9C8-369D0D2DE6EA}"/>
          </ac:spMkLst>
        </pc:spChg>
        <pc:spChg chg="add del mod">
          <ac:chgData name="Shreyan Datta Chakraborty" userId="8e16d80f-77aa-4ba5-b0e9-232e8980a100" providerId="ADAL" clId="{0428C15A-4383-A648-B14C-4EFD75FFE0E0}" dt="2023-11-05T23:24:48.303" v="425" actId="478"/>
          <ac:spMkLst>
            <pc:docMk/>
            <pc:sldMk cId="3128293501" sldId="378"/>
            <ac:spMk id="60" creationId="{190CB089-2FF4-68DD-5D91-0C33804FC396}"/>
          </ac:spMkLst>
        </pc:spChg>
        <pc:spChg chg="add del mod">
          <ac:chgData name="Shreyan Datta Chakraborty" userId="8e16d80f-77aa-4ba5-b0e9-232e8980a100" providerId="ADAL" clId="{0428C15A-4383-A648-B14C-4EFD75FFE0E0}" dt="2023-11-05T23:21:54.449" v="364"/>
          <ac:spMkLst>
            <pc:docMk/>
            <pc:sldMk cId="3128293501" sldId="378"/>
            <ac:spMk id="61" creationId="{736174B0-06B7-0A53-CCE6-B755AB861198}"/>
          </ac:spMkLst>
        </pc:spChg>
        <pc:spChg chg="mod">
          <ac:chgData name="Shreyan Datta Chakraborty" userId="8e16d80f-77aa-4ba5-b0e9-232e8980a100" providerId="ADAL" clId="{0428C15A-4383-A648-B14C-4EFD75FFE0E0}" dt="2023-11-05T23:21:46.580" v="361"/>
          <ac:spMkLst>
            <pc:docMk/>
            <pc:sldMk cId="3128293501" sldId="378"/>
            <ac:spMk id="63" creationId="{D17DF10A-AE49-7942-FE54-D04E47335AAF}"/>
          </ac:spMkLst>
        </pc:spChg>
        <pc:spChg chg="mod">
          <ac:chgData name="Shreyan Datta Chakraborty" userId="8e16d80f-77aa-4ba5-b0e9-232e8980a100" providerId="ADAL" clId="{0428C15A-4383-A648-B14C-4EFD75FFE0E0}" dt="2023-11-05T23:24:25.828" v="417" actId="1076"/>
          <ac:spMkLst>
            <pc:docMk/>
            <pc:sldMk cId="3128293501" sldId="378"/>
            <ac:spMk id="2048" creationId="{1F9D5874-B002-628F-95F6-B1F1F82E0B78}"/>
          </ac:spMkLst>
        </pc:spChg>
        <pc:spChg chg="mod">
          <ac:chgData name="Shreyan Datta Chakraborty" userId="8e16d80f-77aa-4ba5-b0e9-232e8980a100" providerId="ADAL" clId="{0428C15A-4383-A648-B14C-4EFD75FFE0E0}" dt="2023-11-05T23:24:22.254" v="416" actId="1076"/>
          <ac:spMkLst>
            <pc:docMk/>
            <pc:sldMk cId="3128293501" sldId="378"/>
            <ac:spMk id="2049" creationId="{2C408FAF-1CA3-505E-B252-9EA680A693C3}"/>
          </ac:spMkLst>
        </pc:spChg>
        <pc:spChg chg="mod">
          <ac:chgData name="Shreyan Datta Chakraborty" userId="8e16d80f-77aa-4ba5-b0e9-232e8980a100" providerId="ADAL" clId="{0428C15A-4383-A648-B14C-4EFD75FFE0E0}" dt="2023-11-05T23:21:46.580" v="361"/>
          <ac:spMkLst>
            <pc:docMk/>
            <pc:sldMk cId="3128293501" sldId="378"/>
            <ac:spMk id="2050" creationId="{0B6A165D-740E-9328-8AB2-11EA847F4711}"/>
          </ac:spMkLst>
        </pc:spChg>
        <pc:spChg chg="mod">
          <ac:chgData name="Shreyan Datta Chakraborty" userId="8e16d80f-77aa-4ba5-b0e9-232e8980a100" providerId="ADAL" clId="{0428C15A-4383-A648-B14C-4EFD75FFE0E0}" dt="2023-11-05T23:21:46.580" v="361"/>
          <ac:spMkLst>
            <pc:docMk/>
            <pc:sldMk cId="3128293501" sldId="378"/>
            <ac:spMk id="2051" creationId="{B78B246D-7B3D-0618-6F71-72AD9EB304D1}"/>
          </ac:spMkLst>
        </pc:spChg>
        <pc:spChg chg="add del mod">
          <ac:chgData name="Shreyan Datta Chakraborty" userId="8e16d80f-77aa-4ba5-b0e9-232e8980a100" providerId="ADAL" clId="{0428C15A-4383-A648-B14C-4EFD75FFE0E0}" dt="2023-11-05T23:24:38.131" v="420" actId="478"/>
          <ac:spMkLst>
            <pc:docMk/>
            <pc:sldMk cId="3128293501" sldId="378"/>
            <ac:spMk id="2053" creationId="{D11E35B5-8D2C-BBA7-AF21-75B9B37353E9}"/>
          </ac:spMkLst>
        </pc:spChg>
        <pc:spChg chg="del mod topLvl">
          <ac:chgData name="Shreyan Datta Chakraborty" userId="8e16d80f-77aa-4ba5-b0e9-232e8980a100" providerId="ADAL" clId="{0428C15A-4383-A648-B14C-4EFD75FFE0E0}" dt="2023-11-07T02:42:39.417" v="2137" actId="478"/>
          <ac:spMkLst>
            <pc:docMk/>
            <pc:sldMk cId="3128293501" sldId="378"/>
            <ac:spMk id="2059" creationId="{FC15A5F0-F742-CD05-EF54-FE6053DC4684}"/>
          </ac:spMkLst>
        </pc:spChg>
        <pc:spChg chg="add del mod topLvl">
          <ac:chgData name="Shreyan Datta Chakraborty" userId="8e16d80f-77aa-4ba5-b0e9-232e8980a100" providerId="ADAL" clId="{0428C15A-4383-A648-B14C-4EFD75FFE0E0}" dt="2023-11-07T02:58:41.947" v="2259" actId="1076"/>
          <ac:spMkLst>
            <pc:docMk/>
            <pc:sldMk cId="3128293501" sldId="378"/>
            <ac:spMk id="2061" creationId="{9C01B2B9-5B45-E513-C3D7-08E1A155504A}"/>
          </ac:spMkLst>
        </pc:spChg>
        <pc:spChg chg="del mod topLvl">
          <ac:chgData name="Shreyan Datta Chakraborty" userId="8e16d80f-77aa-4ba5-b0e9-232e8980a100" providerId="ADAL" clId="{0428C15A-4383-A648-B14C-4EFD75FFE0E0}" dt="2023-11-07T02:46:00.101" v="2173" actId="478"/>
          <ac:spMkLst>
            <pc:docMk/>
            <pc:sldMk cId="3128293501" sldId="378"/>
            <ac:spMk id="2065" creationId="{499183A5-CEB4-E2A2-6657-5A6FCBA7CB00}"/>
          </ac:spMkLst>
        </pc:spChg>
        <pc:spChg chg="del mod topLvl">
          <ac:chgData name="Shreyan Datta Chakraborty" userId="8e16d80f-77aa-4ba5-b0e9-232e8980a100" providerId="ADAL" clId="{0428C15A-4383-A648-B14C-4EFD75FFE0E0}" dt="2023-11-07T02:45:57.574" v="2172" actId="478"/>
          <ac:spMkLst>
            <pc:docMk/>
            <pc:sldMk cId="3128293501" sldId="378"/>
            <ac:spMk id="2066" creationId="{0F6A5472-3FD0-5EA1-6320-20A875413A77}"/>
          </ac:spMkLst>
        </pc:spChg>
        <pc:spChg chg="add del">
          <ac:chgData name="Shreyan Datta Chakraborty" userId="8e16d80f-77aa-4ba5-b0e9-232e8980a100" providerId="ADAL" clId="{0428C15A-4383-A648-B14C-4EFD75FFE0E0}" dt="2023-11-05T23:28:30.690" v="523" actId="22"/>
          <ac:spMkLst>
            <pc:docMk/>
            <pc:sldMk cId="3128293501" sldId="378"/>
            <ac:spMk id="2068" creationId="{EA29BB0D-6686-F224-EE5D-3E7DE51E4BCC}"/>
          </ac:spMkLst>
        </pc:spChg>
        <pc:spChg chg="del mod topLvl">
          <ac:chgData name="Shreyan Datta Chakraborty" userId="8e16d80f-77aa-4ba5-b0e9-232e8980a100" providerId="ADAL" clId="{0428C15A-4383-A648-B14C-4EFD75FFE0E0}" dt="2023-11-07T02:50:08.378" v="2199" actId="478"/>
          <ac:spMkLst>
            <pc:docMk/>
            <pc:sldMk cId="3128293501" sldId="378"/>
            <ac:spMk id="2070" creationId="{167D8D82-256B-C9A4-70B7-411516526D69}"/>
          </ac:spMkLst>
        </pc:spChg>
        <pc:spChg chg="mod topLvl">
          <ac:chgData name="Shreyan Datta Chakraborty" userId="8e16d80f-77aa-4ba5-b0e9-232e8980a100" providerId="ADAL" clId="{0428C15A-4383-A648-B14C-4EFD75FFE0E0}" dt="2023-11-07T02:46:52.406" v="2183" actId="164"/>
          <ac:spMkLst>
            <pc:docMk/>
            <pc:sldMk cId="3128293501" sldId="378"/>
            <ac:spMk id="2071" creationId="{B69BFA80-E3C2-25B8-D6A4-2364E352350A}"/>
          </ac:spMkLst>
        </pc:spChg>
        <pc:spChg chg="add del mod">
          <ac:chgData name="Shreyan Datta Chakraborty" userId="8e16d80f-77aa-4ba5-b0e9-232e8980a100" providerId="ADAL" clId="{0428C15A-4383-A648-B14C-4EFD75FFE0E0}" dt="2023-11-05T23:37:56.515" v="705" actId="21"/>
          <ac:spMkLst>
            <pc:docMk/>
            <pc:sldMk cId="3128293501" sldId="378"/>
            <ac:spMk id="2072" creationId="{9FB2B466-E14F-9F7A-041F-DE5D19B9AEF6}"/>
          </ac:spMkLst>
        </pc:spChg>
        <pc:spChg chg="add del mod">
          <ac:chgData name="Shreyan Datta Chakraborty" userId="8e16d80f-77aa-4ba5-b0e9-232e8980a100" providerId="ADAL" clId="{0428C15A-4383-A648-B14C-4EFD75FFE0E0}" dt="2023-11-07T03:09:48.970" v="2505" actId="478"/>
          <ac:spMkLst>
            <pc:docMk/>
            <pc:sldMk cId="3128293501" sldId="378"/>
            <ac:spMk id="2073" creationId="{A61F243F-77C5-85FF-2798-9E37749742C8}"/>
          </ac:spMkLst>
        </pc:spChg>
        <pc:spChg chg="add mod">
          <ac:chgData name="Shreyan Datta Chakraborty" userId="8e16d80f-77aa-4ba5-b0e9-232e8980a100" providerId="ADAL" clId="{0428C15A-4383-A648-B14C-4EFD75FFE0E0}" dt="2023-11-07T02:47:08.122" v="2185" actId="164"/>
          <ac:spMkLst>
            <pc:docMk/>
            <pc:sldMk cId="3128293501" sldId="378"/>
            <ac:spMk id="2074" creationId="{0AA790BF-69C0-5516-03D3-11A89CBD879C}"/>
          </ac:spMkLst>
        </pc:spChg>
        <pc:spChg chg="add mod">
          <ac:chgData name="Shreyan Datta Chakraborty" userId="8e16d80f-77aa-4ba5-b0e9-232e8980a100" providerId="ADAL" clId="{0428C15A-4383-A648-B14C-4EFD75FFE0E0}" dt="2023-11-07T02:46:58.395" v="2184" actId="164"/>
          <ac:spMkLst>
            <pc:docMk/>
            <pc:sldMk cId="3128293501" sldId="378"/>
            <ac:spMk id="2075" creationId="{EE176B77-470E-0297-3668-A61E762910A6}"/>
          </ac:spMkLst>
        </pc:spChg>
        <pc:spChg chg="add mod">
          <ac:chgData name="Shreyan Datta Chakraborty" userId="8e16d80f-77aa-4ba5-b0e9-232e8980a100" providerId="ADAL" clId="{0428C15A-4383-A648-B14C-4EFD75FFE0E0}" dt="2023-11-07T02:46:43.938" v="2182" actId="164"/>
          <ac:spMkLst>
            <pc:docMk/>
            <pc:sldMk cId="3128293501" sldId="378"/>
            <ac:spMk id="2076" creationId="{D53E7635-453F-228C-F249-5F00DF01B5F0}"/>
          </ac:spMkLst>
        </pc:spChg>
        <pc:spChg chg="add mod">
          <ac:chgData name="Shreyan Datta Chakraborty" userId="8e16d80f-77aa-4ba5-b0e9-232e8980a100" providerId="ADAL" clId="{0428C15A-4383-A648-B14C-4EFD75FFE0E0}" dt="2023-11-07T03:02:42.561" v="2276" actId="20577"/>
          <ac:spMkLst>
            <pc:docMk/>
            <pc:sldMk cId="3128293501" sldId="378"/>
            <ac:spMk id="2077" creationId="{72D114A6-4420-C89C-F966-BAF7E0C875E0}"/>
          </ac:spMkLst>
        </pc:spChg>
        <pc:spChg chg="add mod">
          <ac:chgData name="Shreyan Datta Chakraborty" userId="8e16d80f-77aa-4ba5-b0e9-232e8980a100" providerId="ADAL" clId="{0428C15A-4383-A648-B14C-4EFD75FFE0E0}" dt="2023-11-07T02:49:44.543" v="2195" actId="1076"/>
          <ac:spMkLst>
            <pc:docMk/>
            <pc:sldMk cId="3128293501" sldId="378"/>
            <ac:spMk id="2078" creationId="{950CEDBF-C584-1A34-E0CD-EE0D74F5F87E}"/>
          </ac:spMkLst>
        </pc:spChg>
        <pc:spChg chg="mod">
          <ac:chgData name="Shreyan Datta Chakraborty" userId="8e16d80f-77aa-4ba5-b0e9-232e8980a100" providerId="ADAL" clId="{0428C15A-4383-A648-B14C-4EFD75FFE0E0}" dt="2023-11-07T02:53:30.564" v="2238"/>
          <ac:spMkLst>
            <pc:docMk/>
            <pc:sldMk cId="3128293501" sldId="378"/>
            <ac:spMk id="2088" creationId="{CCAC978E-F3A4-AFC8-D914-0FEB3B9B1A1F}"/>
          </ac:spMkLst>
        </pc:spChg>
        <pc:spChg chg="mod">
          <ac:chgData name="Shreyan Datta Chakraborty" userId="8e16d80f-77aa-4ba5-b0e9-232e8980a100" providerId="ADAL" clId="{0428C15A-4383-A648-B14C-4EFD75FFE0E0}" dt="2023-11-07T02:53:53.893" v="2245" actId="403"/>
          <ac:spMkLst>
            <pc:docMk/>
            <pc:sldMk cId="3128293501" sldId="378"/>
            <ac:spMk id="2089" creationId="{04FCA2FD-479C-8EFC-54CD-BEE4EA924476}"/>
          </ac:spMkLst>
        </pc:spChg>
        <pc:spChg chg="mod">
          <ac:chgData name="Shreyan Datta Chakraborty" userId="8e16d80f-77aa-4ba5-b0e9-232e8980a100" providerId="ADAL" clId="{0428C15A-4383-A648-B14C-4EFD75FFE0E0}" dt="2023-11-07T03:17:27.626" v="3104" actId="207"/>
          <ac:spMkLst>
            <pc:docMk/>
            <pc:sldMk cId="3128293501" sldId="378"/>
            <ac:spMk id="2095" creationId="{D62DF07F-40A7-C3FE-2CC9-B10841D2CA9E}"/>
          </ac:spMkLst>
        </pc:spChg>
        <pc:spChg chg="mod">
          <ac:chgData name="Shreyan Datta Chakraborty" userId="8e16d80f-77aa-4ba5-b0e9-232e8980a100" providerId="ADAL" clId="{0428C15A-4383-A648-B14C-4EFD75FFE0E0}" dt="2023-11-07T03:09:39.836" v="2503" actId="207"/>
          <ac:spMkLst>
            <pc:docMk/>
            <pc:sldMk cId="3128293501" sldId="378"/>
            <ac:spMk id="2096" creationId="{F99E4F8C-1DA2-EFA0-57ED-BF7BF381614D}"/>
          </ac:spMkLst>
        </pc:spChg>
        <pc:grpChg chg="del">
          <ac:chgData name="Shreyan Datta Chakraborty" userId="8e16d80f-77aa-4ba5-b0e9-232e8980a100" providerId="ADAL" clId="{0428C15A-4383-A648-B14C-4EFD75FFE0E0}" dt="2023-11-05T21:00:13.867" v="128" actId="478"/>
          <ac:grpSpMkLst>
            <pc:docMk/>
            <pc:sldMk cId="3128293501" sldId="378"/>
            <ac:grpSpMk id="5" creationId="{74895489-64D0-F6E7-187A-48A579BBF7C5}"/>
          </ac:grpSpMkLst>
        </pc:grpChg>
        <pc:grpChg chg="del">
          <ac:chgData name="Shreyan Datta Chakraborty" userId="8e16d80f-77aa-4ba5-b0e9-232e8980a100" providerId="ADAL" clId="{0428C15A-4383-A648-B14C-4EFD75FFE0E0}" dt="2023-11-05T21:00:13.867" v="128" actId="478"/>
          <ac:grpSpMkLst>
            <pc:docMk/>
            <pc:sldMk cId="3128293501" sldId="378"/>
            <ac:grpSpMk id="15" creationId="{52175473-2753-2B7E-5027-DFDB9E6011B2}"/>
          </ac:grpSpMkLst>
        </pc:grpChg>
        <pc:grpChg chg="del">
          <ac:chgData name="Shreyan Datta Chakraborty" userId="8e16d80f-77aa-4ba5-b0e9-232e8980a100" providerId="ADAL" clId="{0428C15A-4383-A648-B14C-4EFD75FFE0E0}" dt="2023-11-05T21:00:13.867" v="128" actId="478"/>
          <ac:grpSpMkLst>
            <pc:docMk/>
            <pc:sldMk cId="3128293501" sldId="378"/>
            <ac:grpSpMk id="21" creationId="{7E568BCB-AABF-B4F5-9B3D-2DC694BA00FD}"/>
          </ac:grpSpMkLst>
        </pc:grpChg>
        <pc:grpChg chg="del">
          <ac:chgData name="Shreyan Datta Chakraborty" userId="8e16d80f-77aa-4ba5-b0e9-232e8980a100" providerId="ADAL" clId="{0428C15A-4383-A648-B14C-4EFD75FFE0E0}" dt="2023-11-05T21:00:13.867" v="128" actId="478"/>
          <ac:grpSpMkLst>
            <pc:docMk/>
            <pc:sldMk cId="3128293501" sldId="378"/>
            <ac:grpSpMk id="27" creationId="{06F43042-F607-7329-F93C-13264F3B22B1}"/>
          </ac:grpSpMkLst>
        </pc:grpChg>
        <pc:grpChg chg="del">
          <ac:chgData name="Shreyan Datta Chakraborty" userId="8e16d80f-77aa-4ba5-b0e9-232e8980a100" providerId="ADAL" clId="{0428C15A-4383-A648-B14C-4EFD75FFE0E0}" dt="2023-11-05T21:00:13.867" v="128" actId="478"/>
          <ac:grpSpMkLst>
            <pc:docMk/>
            <pc:sldMk cId="3128293501" sldId="378"/>
            <ac:grpSpMk id="33" creationId="{A9FCCDA2-41F7-1280-ECB3-7B1EBEA86348}"/>
          </ac:grpSpMkLst>
        </pc:grpChg>
        <pc:grpChg chg="add del mod">
          <ac:chgData name="Shreyan Datta Chakraborty" userId="8e16d80f-77aa-4ba5-b0e9-232e8980a100" providerId="ADAL" clId="{0428C15A-4383-A648-B14C-4EFD75FFE0E0}" dt="2023-11-05T23:25:27.277" v="431" actId="165"/>
          <ac:grpSpMkLst>
            <pc:docMk/>
            <pc:sldMk cId="3128293501" sldId="378"/>
            <ac:grpSpMk id="45" creationId="{4E170853-D6C1-1F74-1F94-61EE13333FC6}"/>
          </ac:grpSpMkLst>
        </pc:grpChg>
        <pc:grpChg chg="add del mod">
          <ac:chgData name="Shreyan Datta Chakraborty" userId="8e16d80f-77aa-4ba5-b0e9-232e8980a100" providerId="ADAL" clId="{0428C15A-4383-A648-B14C-4EFD75FFE0E0}" dt="2023-11-05T23:24:31.308" v="418" actId="478"/>
          <ac:grpSpMkLst>
            <pc:docMk/>
            <pc:sldMk cId="3128293501" sldId="378"/>
            <ac:grpSpMk id="62" creationId="{E3D1577F-1654-D2D4-7819-8560A2EC3347}"/>
          </ac:grpSpMkLst>
        </pc:grpChg>
        <pc:grpChg chg="add del mod">
          <ac:chgData name="Shreyan Datta Chakraborty" userId="8e16d80f-77aa-4ba5-b0e9-232e8980a100" providerId="ADAL" clId="{0428C15A-4383-A648-B14C-4EFD75FFE0E0}" dt="2023-11-07T02:43:16.611" v="2144" actId="165"/>
          <ac:grpSpMkLst>
            <pc:docMk/>
            <pc:sldMk cId="3128293501" sldId="378"/>
            <ac:grpSpMk id="2055" creationId="{C3489732-84F7-7963-2D09-6BC5B552CBAC}"/>
          </ac:grpSpMkLst>
        </pc:grpChg>
        <pc:grpChg chg="add del mod">
          <ac:chgData name="Shreyan Datta Chakraborty" userId="8e16d80f-77aa-4ba5-b0e9-232e8980a100" providerId="ADAL" clId="{0428C15A-4383-A648-B14C-4EFD75FFE0E0}" dt="2023-11-07T02:42:32.967" v="2134" actId="165"/>
          <ac:grpSpMkLst>
            <pc:docMk/>
            <pc:sldMk cId="3128293501" sldId="378"/>
            <ac:grpSpMk id="2057" creationId="{3D074748-E2AF-5714-EFE6-7D820B59BF11}"/>
          </ac:grpSpMkLst>
        </pc:grpChg>
        <pc:grpChg chg="add del mod">
          <ac:chgData name="Shreyan Datta Chakraborty" userId="8e16d80f-77aa-4ba5-b0e9-232e8980a100" providerId="ADAL" clId="{0428C15A-4383-A648-B14C-4EFD75FFE0E0}" dt="2023-11-07T02:45:57.574" v="2172" actId="478"/>
          <ac:grpSpMkLst>
            <pc:docMk/>
            <pc:sldMk cId="3128293501" sldId="378"/>
            <ac:grpSpMk id="2063" creationId="{507FAEC8-49C2-505A-4CBB-2E7D98FB5CDE}"/>
          </ac:grpSpMkLst>
        </pc:grpChg>
        <pc:grpChg chg="add del mod">
          <ac:chgData name="Shreyan Datta Chakraborty" userId="8e16d80f-77aa-4ba5-b0e9-232e8980a100" providerId="ADAL" clId="{0428C15A-4383-A648-B14C-4EFD75FFE0E0}" dt="2023-11-07T02:46:25.013" v="2179" actId="165"/>
          <ac:grpSpMkLst>
            <pc:docMk/>
            <pc:sldMk cId="3128293501" sldId="378"/>
            <ac:grpSpMk id="2069" creationId="{46076B0B-AC37-673C-3E03-53E7CC956BA8}"/>
          </ac:grpSpMkLst>
        </pc:grpChg>
        <pc:grpChg chg="add del mod">
          <ac:chgData name="Shreyan Datta Chakraborty" userId="8e16d80f-77aa-4ba5-b0e9-232e8980a100" providerId="ADAL" clId="{0428C15A-4383-A648-B14C-4EFD75FFE0E0}" dt="2023-11-07T03:02:44.910" v="2277" actId="478"/>
          <ac:grpSpMkLst>
            <pc:docMk/>
            <pc:sldMk cId="3128293501" sldId="378"/>
            <ac:grpSpMk id="2079" creationId="{D9D3FBC0-1DE2-613C-CF53-22822A43EF59}"/>
          </ac:grpSpMkLst>
        </pc:grpChg>
        <pc:grpChg chg="add mod">
          <ac:chgData name="Shreyan Datta Chakraborty" userId="8e16d80f-77aa-4ba5-b0e9-232e8980a100" providerId="ADAL" clId="{0428C15A-4383-A648-B14C-4EFD75FFE0E0}" dt="2023-11-07T02:46:52.406" v="2183" actId="164"/>
          <ac:grpSpMkLst>
            <pc:docMk/>
            <pc:sldMk cId="3128293501" sldId="378"/>
            <ac:grpSpMk id="2080" creationId="{CD773379-F553-ACB9-9A23-4076E1B759BD}"/>
          </ac:grpSpMkLst>
        </pc:grpChg>
        <pc:grpChg chg="add mod">
          <ac:chgData name="Shreyan Datta Chakraborty" userId="8e16d80f-77aa-4ba5-b0e9-232e8980a100" providerId="ADAL" clId="{0428C15A-4383-A648-B14C-4EFD75FFE0E0}" dt="2023-11-07T02:46:58.395" v="2184" actId="164"/>
          <ac:grpSpMkLst>
            <pc:docMk/>
            <pc:sldMk cId="3128293501" sldId="378"/>
            <ac:grpSpMk id="2081" creationId="{391E3654-F033-0533-C591-44DCB59B060B}"/>
          </ac:grpSpMkLst>
        </pc:grpChg>
        <pc:grpChg chg="add mod">
          <ac:chgData name="Shreyan Datta Chakraborty" userId="8e16d80f-77aa-4ba5-b0e9-232e8980a100" providerId="ADAL" clId="{0428C15A-4383-A648-B14C-4EFD75FFE0E0}" dt="2023-11-07T02:47:08.122" v="2185" actId="164"/>
          <ac:grpSpMkLst>
            <pc:docMk/>
            <pc:sldMk cId="3128293501" sldId="378"/>
            <ac:grpSpMk id="2082" creationId="{C30BF5D7-48D0-12D4-ECED-32563CB8896A}"/>
          </ac:grpSpMkLst>
        </pc:grpChg>
        <pc:grpChg chg="add mod">
          <ac:chgData name="Shreyan Datta Chakraborty" userId="8e16d80f-77aa-4ba5-b0e9-232e8980a100" providerId="ADAL" clId="{0428C15A-4383-A648-B14C-4EFD75FFE0E0}" dt="2023-11-07T02:54:20.007" v="2251" actId="167"/>
          <ac:grpSpMkLst>
            <pc:docMk/>
            <pc:sldMk cId="3128293501" sldId="378"/>
            <ac:grpSpMk id="2087" creationId="{A84864D5-6DBF-DF78-F6FD-ED8FA1FE1F97}"/>
          </ac:grpSpMkLst>
        </pc:grpChg>
        <pc:grpChg chg="add mod">
          <ac:chgData name="Shreyan Datta Chakraborty" userId="8e16d80f-77aa-4ba5-b0e9-232e8980a100" providerId="ADAL" clId="{0428C15A-4383-A648-B14C-4EFD75FFE0E0}" dt="2023-11-07T03:08:13.280" v="2492" actId="14100"/>
          <ac:grpSpMkLst>
            <pc:docMk/>
            <pc:sldMk cId="3128293501" sldId="378"/>
            <ac:grpSpMk id="2094" creationId="{7561DCF9-973D-7DF4-BF34-3B5542619B2F}"/>
          </ac:grpSpMkLst>
        </pc:grpChg>
        <pc:graphicFrameChg chg="add del mod">
          <ac:chgData name="Shreyan Datta Chakraborty" userId="8e16d80f-77aa-4ba5-b0e9-232e8980a100" providerId="ADAL" clId="{0428C15A-4383-A648-B14C-4EFD75FFE0E0}" dt="2023-11-05T23:18:36.720" v="331"/>
          <ac:graphicFrameMkLst>
            <pc:docMk/>
            <pc:sldMk cId="3128293501" sldId="378"/>
            <ac:graphicFrameMk id="59" creationId="{B8A925A0-F8B0-6E34-D95F-B7B30A557764}"/>
          </ac:graphicFrameMkLst>
        </pc:graphicFrameChg>
        <pc:graphicFrameChg chg="add del mod">
          <ac:chgData name="Shreyan Datta Chakraborty" userId="8e16d80f-77aa-4ba5-b0e9-232e8980a100" providerId="ADAL" clId="{0428C15A-4383-A648-B14C-4EFD75FFE0E0}" dt="2023-11-05T23:22:21.314" v="386"/>
          <ac:graphicFrameMkLst>
            <pc:docMk/>
            <pc:sldMk cId="3128293501" sldId="378"/>
            <ac:graphicFrameMk id="2054" creationId="{7693FAF2-9449-29E7-EA7A-6BE159E4F4AB}"/>
          </ac:graphicFrameMkLst>
        </pc:graphicFrameChg>
        <pc:picChg chg="add del mod modCrop">
          <ac:chgData name="Shreyan Datta Chakraborty" userId="8e16d80f-77aa-4ba5-b0e9-232e8980a100" providerId="ADAL" clId="{0428C15A-4383-A648-B14C-4EFD75FFE0E0}" dt="2023-11-05T23:24:45.977" v="424" actId="478"/>
          <ac:picMkLst>
            <pc:docMk/>
            <pc:sldMk cId="3128293501" sldId="378"/>
            <ac:picMk id="55" creationId="{EFD8904A-F83C-7BC6-0A6B-FD6A50193857}"/>
          </ac:picMkLst>
        </pc:picChg>
        <pc:picChg chg="add del mod">
          <ac:chgData name="Shreyan Datta Chakraborty" userId="8e16d80f-77aa-4ba5-b0e9-232e8980a100" providerId="ADAL" clId="{0428C15A-4383-A648-B14C-4EFD75FFE0E0}" dt="2023-11-05T23:24:35.407" v="419" actId="478"/>
          <ac:picMkLst>
            <pc:docMk/>
            <pc:sldMk cId="3128293501" sldId="378"/>
            <ac:picMk id="2052" creationId="{0B3F3386-4D0F-D8DF-9AE0-53E47263A03E}"/>
          </ac:picMkLst>
        </pc:picChg>
        <pc:picChg chg="del">
          <ac:chgData name="Shreyan Datta Chakraborty" userId="8e16d80f-77aa-4ba5-b0e9-232e8980a100" providerId="ADAL" clId="{0428C15A-4383-A648-B14C-4EFD75FFE0E0}" dt="2023-11-05T21:00:13.867" v="128" actId="478"/>
          <ac:picMkLst>
            <pc:docMk/>
            <pc:sldMk cId="3128293501" sldId="378"/>
            <ac:picMk id="2056" creationId="{3382399D-30D6-E135-ED35-DFD22FE5BE27}"/>
          </ac:picMkLst>
        </pc:picChg>
        <pc:picChg chg="del">
          <ac:chgData name="Shreyan Datta Chakraborty" userId="8e16d80f-77aa-4ba5-b0e9-232e8980a100" providerId="ADAL" clId="{0428C15A-4383-A648-B14C-4EFD75FFE0E0}" dt="2023-11-05T21:00:13.867" v="128" actId="478"/>
          <ac:picMkLst>
            <pc:docMk/>
            <pc:sldMk cId="3128293501" sldId="378"/>
            <ac:picMk id="2058" creationId="{7AD65901-8179-9FC1-2114-91DA98739214}"/>
          </ac:picMkLst>
        </pc:picChg>
        <pc:picChg chg="del">
          <ac:chgData name="Shreyan Datta Chakraborty" userId="8e16d80f-77aa-4ba5-b0e9-232e8980a100" providerId="ADAL" clId="{0428C15A-4383-A648-B14C-4EFD75FFE0E0}" dt="2023-11-05T21:00:13.867" v="128" actId="478"/>
          <ac:picMkLst>
            <pc:docMk/>
            <pc:sldMk cId="3128293501" sldId="378"/>
            <ac:picMk id="2060" creationId="{88795C24-7348-54C3-F451-7DF200EE6BAA}"/>
          </ac:picMkLst>
        </pc:picChg>
        <pc:picChg chg="del">
          <ac:chgData name="Shreyan Datta Chakraborty" userId="8e16d80f-77aa-4ba5-b0e9-232e8980a100" providerId="ADAL" clId="{0428C15A-4383-A648-B14C-4EFD75FFE0E0}" dt="2023-11-05T21:00:13.867" v="128" actId="478"/>
          <ac:picMkLst>
            <pc:docMk/>
            <pc:sldMk cId="3128293501" sldId="378"/>
            <ac:picMk id="2062" creationId="{12BDCCA1-77A0-5DF1-4ECF-D5FE0AC5E324}"/>
          </ac:picMkLst>
        </pc:picChg>
        <pc:picChg chg="del">
          <ac:chgData name="Shreyan Datta Chakraborty" userId="8e16d80f-77aa-4ba5-b0e9-232e8980a100" providerId="ADAL" clId="{0428C15A-4383-A648-B14C-4EFD75FFE0E0}" dt="2023-11-05T21:00:13.867" v="128" actId="478"/>
          <ac:picMkLst>
            <pc:docMk/>
            <pc:sldMk cId="3128293501" sldId="378"/>
            <ac:picMk id="2064" creationId="{72A8A447-6A62-EE35-B4AC-E57D467A2FD9}"/>
          </ac:picMkLst>
        </pc:picChg>
        <pc:picChg chg="add mod">
          <ac:chgData name="Shreyan Datta Chakraborty" userId="8e16d80f-77aa-4ba5-b0e9-232e8980a100" providerId="ADAL" clId="{0428C15A-4383-A648-B14C-4EFD75FFE0E0}" dt="2023-11-07T02:49:53.460" v="2198" actId="1076"/>
          <ac:picMkLst>
            <pc:docMk/>
            <pc:sldMk cId="3128293501" sldId="378"/>
            <ac:picMk id="2084" creationId="{2D1CFEF8-6197-B2D6-1916-05656F40F9CE}"/>
          </ac:picMkLst>
        </pc:picChg>
        <pc:picChg chg="add mod">
          <ac:chgData name="Shreyan Datta Chakraborty" userId="8e16d80f-77aa-4ba5-b0e9-232e8980a100" providerId="ADAL" clId="{0428C15A-4383-A648-B14C-4EFD75FFE0E0}" dt="2023-11-07T02:54:39.411" v="2252" actId="1076"/>
          <ac:picMkLst>
            <pc:docMk/>
            <pc:sldMk cId="3128293501" sldId="378"/>
            <ac:picMk id="2086" creationId="{4F465E23-6014-5C02-213E-137D97367121}"/>
          </ac:picMkLst>
        </pc:picChg>
        <pc:picChg chg="add mod">
          <ac:chgData name="Shreyan Datta Chakraborty" userId="8e16d80f-77aa-4ba5-b0e9-232e8980a100" providerId="ADAL" clId="{0428C15A-4383-A648-B14C-4EFD75FFE0E0}" dt="2023-11-07T02:59:14.618" v="2266" actId="1076"/>
          <ac:picMkLst>
            <pc:docMk/>
            <pc:sldMk cId="3128293501" sldId="378"/>
            <ac:picMk id="2091" creationId="{620B5D12-90F4-DBB4-839D-427790C55218}"/>
          </ac:picMkLst>
        </pc:picChg>
        <pc:picChg chg="add mod">
          <ac:chgData name="Shreyan Datta Chakraborty" userId="8e16d80f-77aa-4ba5-b0e9-232e8980a100" providerId="ADAL" clId="{0428C15A-4383-A648-B14C-4EFD75FFE0E0}" dt="2023-11-07T03:02:16.861" v="2275" actId="1076"/>
          <ac:picMkLst>
            <pc:docMk/>
            <pc:sldMk cId="3128293501" sldId="378"/>
            <ac:picMk id="2093" creationId="{964A6324-08FB-E545-975E-E0891C30456D}"/>
          </ac:picMkLst>
        </pc:picChg>
        <pc:cxnChg chg="add del mod">
          <ac:chgData name="Shreyan Datta Chakraborty" userId="8e16d80f-77aa-4ba5-b0e9-232e8980a100" providerId="ADAL" clId="{0428C15A-4383-A648-B14C-4EFD75FFE0E0}" dt="2023-11-05T21:25:30.285" v="275" actId="478"/>
          <ac:cxnSpMkLst>
            <pc:docMk/>
            <pc:sldMk cId="3128293501" sldId="378"/>
            <ac:cxnSpMk id="4" creationId="{6D8EC979-ADC9-2FC5-2473-9C20046EC719}"/>
          </ac:cxnSpMkLst>
        </pc:cxnChg>
        <pc:cxnChg chg="add del mod">
          <ac:chgData name="Shreyan Datta Chakraborty" userId="8e16d80f-77aa-4ba5-b0e9-232e8980a100" providerId="ADAL" clId="{0428C15A-4383-A648-B14C-4EFD75FFE0E0}" dt="2023-11-05T23:04:10.633" v="286" actId="478"/>
          <ac:cxnSpMkLst>
            <pc:docMk/>
            <pc:sldMk cId="3128293501" sldId="378"/>
            <ac:cxnSpMk id="8" creationId="{BB60F9FA-D473-42EA-2D57-BE65D108100E}"/>
          </ac:cxnSpMkLst>
        </pc:cxnChg>
        <pc:cxnChg chg="add mod">
          <ac:chgData name="Shreyan Datta Chakraborty" userId="8e16d80f-77aa-4ba5-b0e9-232e8980a100" providerId="ADAL" clId="{0428C15A-4383-A648-B14C-4EFD75FFE0E0}" dt="2023-11-07T03:17:49.012" v="3105" actId="692"/>
          <ac:cxnSpMkLst>
            <pc:docMk/>
            <pc:sldMk cId="3128293501" sldId="378"/>
            <ac:cxnSpMk id="2098" creationId="{FC23A3E2-2440-3A6C-5E1A-145108D6F1FE}"/>
          </ac:cxnSpMkLst>
        </pc:cxnChg>
      </pc:sldChg>
      <pc:sldChg chg="modSp mod">
        <pc:chgData name="Shreyan Datta Chakraborty" userId="8e16d80f-77aa-4ba5-b0e9-232e8980a100" providerId="ADAL" clId="{0428C15A-4383-A648-B14C-4EFD75FFE0E0}" dt="2023-11-06T05:50:17.058" v="1897" actId="113"/>
        <pc:sldMkLst>
          <pc:docMk/>
          <pc:sldMk cId="2786013774" sldId="379"/>
        </pc:sldMkLst>
        <pc:spChg chg="mod">
          <ac:chgData name="Shreyan Datta Chakraborty" userId="8e16d80f-77aa-4ba5-b0e9-232e8980a100" providerId="ADAL" clId="{0428C15A-4383-A648-B14C-4EFD75FFE0E0}" dt="2023-11-06T05:50:17.058" v="1897" actId="113"/>
          <ac:spMkLst>
            <pc:docMk/>
            <pc:sldMk cId="2786013774" sldId="379"/>
            <ac:spMk id="15" creationId="{64EF9CE9-DE05-2283-086F-8A90C80FB102}"/>
          </ac:spMkLst>
        </pc:spChg>
      </pc:sldChg>
      <pc:sldChg chg="new del">
        <pc:chgData name="Shreyan Datta Chakraborty" userId="8e16d80f-77aa-4ba5-b0e9-232e8980a100" providerId="ADAL" clId="{0428C15A-4383-A648-B14C-4EFD75FFE0E0}" dt="2023-11-05T23:32:37.211" v="558" actId="2696"/>
        <pc:sldMkLst>
          <pc:docMk/>
          <pc:sldMk cId="368598947" sldId="381"/>
        </pc:sldMkLst>
      </pc:sldChg>
      <pc:sldChg chg="addSp delSp modSp add del mod ord modShow">
        <pc:chgData name="Shreyan Datta Chakraborty" userId="8e16d80f-77aa-4ba5-b0e9-232e8980a100" providerId="ADAL" clId="{0428C15A-4383-A648-B14C-4EFD75FFE0E0}" dt="2023-11-07T03:12:35.833" v="2736" actId="2696"/>
        <pc:sldMkLst>
          <pc:docMk/>
          <pc:sldMk cId="2987126759" sldId="381"/>
        </pc:sldMkLst>
        <pc:spChg chg="add mod">
          <ac:chgData name="Shreyan Datta Chakraborty" userId="8e16d80f-77aa-4ba5-b0e9-232e8980a100" providerId="ADAL" clId="{0428C15A-4383-A648-B14C-4EFD75FFE0E0}" dt="2023-11-05T23:41:45.407" v="727" actId="20577"/>
          <ac:spMkLst>
            <pc:docMk/>
            <pc:sldMk cId="2987126759" sldId="381"/>
            <ac:spMk id="3" creationId="{8CC3D0D7-8AB5-1AE6-8D65-BF47E25B5E68}"/>
          </ac:spMkLst>
        </pc:spChg>
        <pc:spChg chg="add del mod">
          <ac:chgData name="Shreyan Datta Chakraborty" userId="8e16d80f-77aa-4ba5-b0e9-232e8980a100" providerId="ADAL" clId="{0428C15A-4383-A648-B14C-4EFD75FFE0E0}" dt="2023-11-07T03:03:16.231" v="2279" actId="478"/>
          <ac:spMkLst>
            <pc:docMk/>
            <pc:sldMk cId="2987126759" sldId="381"/>
            <ac:spMk id="4" creationId="{D889DB4A-ACA3-0BA9-33B8-0F5125E1B5FD}"/>
          </ac:spMkLst>
        </pc:spChg>
        <pc:spChg chg="mod">
          <ac:chgData name="Shreyan Datta Chakraborty" userId="8e16d80f-77aa-4ba5-b0e9-232e8980a100" providerId="ADAL" clId="{0428C15A-4383-A648-B14C-4EFD75FFE0E0}" dt="2023-11-05T23:32:50.757" v="563" actId="14100"/>
          <ac:spMkLst>
            <pc:docMk/>
            <pc:sldMk cId="2987126759" sldId="381"/>
            <ac:spMk id="2059" creationId="{FC15A5F0-F742-CD05-EF54-FE6053DC4684}"/>
          </ac:spMkLst>
        </pc:spChg>
        <pc:grpChg chg="mod">
          <ac:chgData name="Shreyan Datta Chakraborty" userId="8e16d80f-77aa-4ba5-b0e9-232e8980a100" providerId="ADAL" clId="{0428C15A-4383-A648-B14C-4EFD75FFE0E0}" dt="2023-11-05T23:34:10.833" v="700" actId="14100"/>
          <ac:grpSpMkLst>
            <pc:docMk/>
            <pc:sldMk cId="2987126759" sldId="381"/>
            <ac:grpSpMk id="2057" creationId="{3D074748-E2AF-5714-EFE6-7D820B59BF11}"/>
          </ac:grpSpMkLst>
        </pc:grpChg>
      </pc:sldChg>
      <pc:sldChg chg="new del">
        <pc:chgData name="Shreyan Datta Chakraborty" userId="8e16d80f-77aa-4ba5-b0e9-232e8980a100" providerId="ADAL" clId="{0428C15A-4383-A648-B14C-4EFD75FFE0E0}" dt="2023-11-05T23:32:37.230" v="559" actId="2696"/>
        <pc:sldMkLst>
          <pc:docMk/>
          <pc:sldMk cId="1903042355" sldId="382"/>
        </pc:sldMkLst>
      </pc:sldChg>
      <pc:sldChg chg="delSp modSp add del mod">
        <pc:chgData name="Shreyan Datta Chakraborty" userId="8e16d80f-77aa-4ba5-b0e9-232e8980a100" providerId="ADAL" clId="{0428C15A-4383-A648-B14C-4EFD75FFE0E0}" dt="2023-11-05T23:40:21.337" v="714" actId="2696"/>
        <pc:sldMkLst>
          <pc:docMk/>
          <pc:sldMk cId="3330129418" sldId="382"/>
        </pc:sldMkLst>
        <pc:spChg chg="del">
          <ac:chgData name="Shreyan Datta Chakraborty" userId="8e16d80f-77aa-4ba5-b0e9-232e8980a100" providerId="ADAL" clId="{0428C15A-4383-A648-B14C-4EFD75FFE0E0}" dt="2023-11-05T23:40:04.729" v="711" actId="478"/>
          <ac:spMkLst>
            <pc:docMk/>
            <pc:sldMk cId="3330129418" sldId="382"/>
            <ac:spMk id="3" creationId="{8CC3D0D7-8AB5-1AE6-8D65-BF47E25B5E68}"/>
          </ac:spMkLst>
        </pc:spChg>
        <pc:spChg chg="mod">
          <ac:chgData name="Shreyan Datta Chakraborty" userId="8e16d80f-77aa-4ba5-b0e9-232e8980a100" providerId="ADAL" clId="{0428C15A-4383-A648-B14C-4EFD75FFE0E0}" dt="2023-11-05T23:39:56.218" v="710" actId="1076"/>
          <ac:spMkLst>
            <pc:docMk/>
            <pc:sldMk cId="3330129418" sldId="382"/>
            <ac:spMk id="4" creationId="{D889DB4A-ACA3-0BA9-33B8-0F5125E1B5FD}"/>
          </ac:spMkLst>
        </pc:spChg>
        <pc:spChg chg="mod">
          <ac:chgData name="Shreyan Datta Chakraborty" userId="8e16d80f-77aa-4ba5-b0e9-232e8980a100" providerId="ADAL" clId="{0428C15A-4383-A648-B14C-4EFD75FFE0E0}" dt="2023-11-05T23:40:15.978" v="713" actId="1076"/>
          <ac:spMkLst>
            <pc:docMk/>
            <pc:sldMk cId="3330129418" sldId="382"/>
            <ac:spMk id="2061" creationId="{9C01B2B9-5B45-E513-C3D7-08E1A155504A}"/>
          </ac:spMkLst>
        </pc:spChg>
        <pc:grpChg chg="mod">
          <ac:chgData name="Shreyan Datta Chakraborty" userId="8e16d80f-77aa-4ba5-b0e9-232e8980a100" providerId="ADAL" clId="{0428C15A-4383-A648-B14C-4EFD75FFE0E0}" dt="2023-11-05T23:40:11.479" v="712" actId="14100"/>
          <ac:grpSpMkLst>
            <pc:docMk/>
            <pc:sldMk cId="3330129418" sldId="382"/>
            <ac:grpSpMk id="2057" creationId="{3D074748-E2AF-5714-EFE6-7D820B59BF11}"/>
          </ac:grpSpMkLst>
        </pc:grpChg>
      </pc:sldChg>
      <pc:sldChg chg="addSp modSp add del mod ord modShow">
        <pc:chgData name="Shreyan Datta Chakraborty" userId="8e16d80f-77aa-4ba5-b0e9-232e8980a100" providerId="ADAL" clId="{0428C15A-4383-A648-B14C-4EFD75FFE0E0}" dt="2023-11-07T03:12:35.833" v="2736" actId="2696"/>
        <pc:sldMkLst>
          <pc:docMk/>
          <pc:sldMk cId="4011318280" sldId="382"/>
        </pc:sldMkLst>
        <pc:spChg chg="add mod">
          <ac:chgData name="Shreyan Datta Chakraborty" userId="8e16d80f-77aa-4ba5-b0e9-232e8980a100" providerId="ADAL" clId="{0428C15A-4383-A648-B14C-4EFD75FFE0E0}" dt="2023-11-05T23:43:34.683" v="883" actId="20577"/>
          <ac:spMkLst>
            <pc:docMk/>
            <pc:sldMk cId="4011318280" sldId="382"/>
            <ac:spMk id="3" creationId="{B231DEC5-9BAB-F902-EFD1-7B71E494B21E}"/>
          </ac:spMkLst>
        </pc:spChg>
        <pc:spChg chg="add mod">
          <ac:chgData name="Shreyan Datta Chakraborty" userId="8e16d80f-77aa-4ba5-b0e9-232e8980a100" providerId="ADAL" clId="{0428C15A-4383-A648-B14C-4EFD75FFE0E0}" dt="2023-11-06T04:03:40.508" v="1738" actId="1076"/>
          <ac:spMkLst>
            <pc:docMk/>
            <pc:sldMk cId="4011318280" sldId="382"/>
            <ac:spMk id="4" creationId="{5EDD6336-18F6-32D6-D590-D5F7832743BB}"/>
          </ac:spMkLst>
        </pc:spChg>
        <pc:spChg chg="mod">
          <ac:chgData name="Shreyan Datta Chakraborty" userId="8e16d80f-77aa-4ba5-b0e9-232e8980a100" providerId="ADAL" clId="{0428C15A-4383-A648-B14C-4EFD75FFE0E0}" dt="2023-11-05T23:40:59.715" v="722" actId="166"/>
          <ac:spMkLst>
            <pc:docMk/>
            <pc:sldMk cId="4011318280" sldId="382"/>
            <ac:spMk id="47" creationId="{37DCB3D3-6509-F8A0-5039-383459A866A7}"/>
          </ac:spMkLst>
        </pc:spChg>
        <pc:spChg chg="mod">
          <ac:chgData name="Shreyan Datta Chakraborty" userId="8e16d80f-77aa-4ba5-b0e9-232e8980a100" providerId="ADAL" clId="{0428C15A-4383-A648-B14C-4EFD75FFE0E0}" dt="2023-11-05T23:43:27.781" v="880" actId="14100"/>
          <ac:spMkLst>
            <pc:docMk/>
            <pc:sldMk cId="4011318280" sldId="382"/>
            <ac:spMk id="48" creationId="{0F900ECF-3802-472C-16BB-E4F7B4CF87E4}"/>
          </ac:spMkLst>
        </pc:spChg>
        <pc:spChg chg="mod">
          <ac:chgData name="Shreyan Datta Chakraborty" userId="8e16d80f-77aa-4ba5-b0e9-232e8980a100" providerId="ADAL" clId="{0428C15A-4383-A648-B14C-4EFD75FFE0E0}" dt="2023-11-05T23:41:15.516" v="723" actId="167"/>
          <ac:spMkLst>
            <pc:docMk/>
            <pc:sldMk cId="4011318280" sldId="382"/>
            <ac:spMk id="58" creationId="{50F02568-50C0-239E-B9C8-369D0D2DE6EA}"/>
          </ac:spMkLst>
        </pc:spChg>
        <pc:grpChg chg="mod">
          <ac:chgData name="Shreyan Datta Chakraborty" userId="8e16d80f-77aa-4ba5-b0e9-232e8980a100" providerId="ADAL" clId="{0428C15A-4383-A648-B14C-4EFD75FFE0E0}" dt="2023-11-05T23:43:12.276" v="876" actId="14100"/>
          <ac:grpSpMkLst>
            <pc:docMk/>
            <pc:sldMk cId="4011318280" sldId="382"/>
            <ac:grpSpMk id="2055" creationId="{C3489732-84F7-7963-2D09-6BC5B552CBAC}"/>
          </ac:grpSpMkLst>
        </pc:grpChg>
      </pc:sldChg>
      <pc:sldChg chg="addSp modSp add del mod ord modShow">
        <pc:chgData name="Shreyan Datta Chakraborty" userId="8e16d80f-77aa-4ba5-b0e9-232e8980a100" providerId="ADAL" clId="{0428C15A-4383-A648-B14C-4EFD75FFE0E0}" dt="2023-11-07T03:12:35.833" v="2736" actId="2696"/>
        <pc:sldMkLst>
          <pc:docMk/>
          <pc:sldMk cId="352932082" sldId="383"/>
        </pc:sldMkLst>
        <pc:spChg chg="add mod">
          <ac:chgData name="Shreyan Datta Chakraborty" userId="8e16d80f-77aa-4ba5-b0e9-232e8980a100" providerId="ADAL" clId="{0428C15A-4383-A648-B14C-4EFD75FFE0E0}" dt="2023-11-05T23:48:44.767" v="1077" actId="255"/>
          <ac:spMkLst>
            <pc:docMk/>
            <pc:sldMk cId="352932082" sldId="383"/>
            <ac:spMk id="3" creationId="{3B26EEC5-7B7C-2E62-5167-AEEE58391B6A}"/>
          </ac:spMkLst>
        </pc:spChg>
        <pc:spChg chg="add mod">
          <ac:chgData name="Shreyan Datta Chakraborty" userId="8e16d80f-77aa-4ba5-b0e9-232e8980a100" providerId="ADAL" clId="{0428C15A-4383-A648-B14C-4EFD75FFE0E0}" dt="2023-11-06T04:02:46.865" v="1730" actId="1076"/>
          <ac:spMkLst>
            <pc:docMk/>
            <pc:sldMk cId="352932082" sldId="383"/>
            <ac:spMk id="4" creationId="{3DB723E7-E1C0-D8F1-E15F-817FFAC0C8A3}"/>
          </ac:spMkLst>
        </pc:spChg>
        <pc:spChg chg="mod">
          <ac:chgData name="Shreyan Datta Chakraborty" userId="8e16d80f-77aa-4ba5-b0e9-232e8980a100" providerId="ADAL" clId="{0428C15A-4383-A648-B14C-4EFD75FFE0E0}" dt="2023-11-05T23:47:02.701" v="906" actId="14100"/>
          <ac:spMkLst>
            <pc:docMk/>
            <pc:sldMk cId="352932082" sldId="383"/>
            <ac:spMk id="2065" creationId="{499183A5-CEB4-E2A2-6657-5A6FCBA7CB00}"/>
          </ac:spMkLst>
        </pc:spChg>
        <pc:spChg chg="mod">
          <ac:chgData name="Shreyan Datta Chakraborty" userId="8e16d80f-77aa-4ba5-b0e9-232e8980a100" providerId="ADAL" clId="{0428C15A-4383-A648-B14C-4EFD75FFE0E0}" dt="2023-11-05T23:46:42.457" v="901" actId="14100"/>
          <ac:spMkLst>
            <pc:docMk/>
            <pc:sldMk cId="352932082" sldId="383"/>
            <ac:spMk id="2066" creationId="{0F6A5472-3FD0-5EA1-6320-20A875413A77}"/>
          </ac:spMkLst>
        </pc:spChg>
        <pc:grpChg chg="mod">
          <ac:chgData name="Shreyan Datta Chakraborty" userId="8e16d80f-77aa-4ba5-b0e9-232e8980a100" providerId="ADAL" clId="{0428C15A-4383-A648-B14C-4EFD75FFE0E0}" dt="2023-11-05T23:46:59.763" v="905" actId="14100"/>
          <ac:grpSpMkLst>
            <pc:docMk/>
            <pc:sldMk cId="352932082" sldId="383"/>
            <ac:grpSpMk id="2063" creationId="{507FAEC8-49C2-505A-4CBB-2E7D98FB5CDE}"/>
          </ac:grpSpMkLst>
        </pc:grpChg>
      </pc:sldChg>
      <pc:sldChg chg="add del">
        <pc:chgData name="Shreyan Datta Chakraborty" userId="8e16d80f-77aa-4ba5-b0e9-232e8980a100" providerId="ADAL" clId="{0428C15A-4383-A648-B14C-4EFD75FFE0E0}" dt="2023-11-05T23:44:45.953" v="887" actId="2696"/>
        <pc:sldMkLst>
          <pc:docMk/>
          <pc:sldMk cId="706325852" sldId="383"/>
        </pc:sldMkLst>
      </pc:sldChg>
      <pc:sldChg chg="new del">
        <pc:chgData name="Shreyan Datta Chakraborty" userId="8e16d80f-77aa-4ba5-b0e9-232e8980a100" providerId="ADAL" clId="{0428C15A-4383-A648-B14C-4EFD75FFE0E0}" dt="2023-11-05T23:32:37.245" v="560" actId="2696"/>
        <pc:sldMkLst>
          <pc:docMk/>
          <pc:sldMk cId="4174613555" sldId="383"/>
        </pc:sldMkLst>
      </pc:sldChg>
      <pc:sldChg chg="addSp delSp modSp add del mod modShow">
        <pc:chgData name="Shreyan Datta Chakraborty" userId="8e16d80f-77aa-4ba5-b0e9-232e8980a100" providerId="ADAL" clId="{0428C15A-4383-A648-B14C-4EFD75FFE0E0}" dt="2023-11-07T03:12:35.833" v="2736" actId="2696"/>
        <pc:sldMkLst>
          <pc:docMk/>
          <pc:sldMk cId="961994590" sldId="384"/>
        </pc:sldMkLst>
        <pc:spChg chg="add mod">
          <ac:chgData name="Shreyan Datta Chakraborty" userId="8e16d80f-77aa-4ba5-b0e9-232e8980a100" providerId="ADAL" clId="{0428C15A-4383-A648-B14C-4EFD75FFE0E0}" dt="2023-11-05T23:51:46.046" v="1263" actId="1076"/>
          <ac:spMkLst>
            <pc:docMk/>
            <pc:sldMk cId="961994590" sldId="384"/>
            <ac:spMk id="3" creationId="{EFD11338-DFC6-8073-D448-AEE1C6E39F34}"/>
          </ac:spMkLst>
        </pc:spChg>
        <pc:spChg chg="add del">
          <ac:chgData name="Shreyan Datta Chakraborty" userId="8e16d80f-77aa-4ba5-b0e9-232e8980a100" providerId="ADAL" clId="{0428C15A-4383-A648-B14C-4EFD75FFE0E0}" dt="2023-11-05T23:52:08.448" v="1266" actId="11529"/>
          <ac:spMkLst>
            <pc:docMk/>
            <pc:sldMk cId="961994590" sldId="384"/>
            <ac:spMk id="4" creationId="{8D6F1CBB-00A4-85E8-291C-2AE1A108DE8C}"/>
          </ac:spMkLst>
        </pc:spChg>
        <pc:spChg chg="add mod">
          <ac:chgData name="Shreyan Datta Chakraborty" userId="8e16d80f-77aa-4ba5-b0e9-232e8980a100" providerId="ADAL" clId="{0428C15A-4383-A648-B14C-4EFD75FFE0E0}" dt="2023-11-06T04:00:19.790" v="1685" actId="1076"/>
          <ac:spMkLst>
            <pc:docMk/>
            <pc:sldMk cId="961994590" sldId="384"/>
            <ac:spMk id="5" creationId="{714EB7DF-853A-5D8F-789D-4456099757BD}"/>
          </ac:spMkLst>
        </pc:spChg>
        <pc:spChg chg="mod">
          <ac:chgData name="Shreyan Datta Chakraborty" userId="8e16d80f-77aa-4ba5-b0e9-232e8980a100" providerId="ADAL" clId="{0428C15A-4383-A648-B14C-4EFD75FFE0E0}" dt="2023-11-05T23:56:51.415" v="1273" actId="1076"/>
          <ac:spMkLst>
            <pc:docMk/>
            <pc:sldMk cId="961994590" sldId="384"/>
            <ac:spMk id="42" creationId="{FF5405EF-0385-4531-CD03-80A937D58D50}"/>
          </ac:spMkLst>
        </pc:spChg>
        <pc:spChg chg="mod">
          <ac:chgData name="Shreyan Datta Chakraborty" userId="8e16d80f-77aa-4ba5-b0e9-232e8980a100" providerId="ADAL" clId="{0428C15A-4383-A648-B14C-4EFD75FFE0E0}" dt="2023-11-05T23:56:47.198" v="1272" actId="14100"/>
          <ac:spMkLst>
            <pc:docMk/>
            <pc:sldMk cId="961994590" sldId="384"/>
            <ac:spMk id="58" creationId="{50F02568-50C0-239E-B9C8-369D0D2DE6EA}"/>
          </ac:spMkLst>
        </pc:spChg>
        <pc:spChg chg="mod">
          <ac:chgData name="Shreyan Datta Chakraborty" userId="8e16d80f-77aa-4ba5-b0e9-232e8980a100" providerId="ADAL" clId="{0428C15A-4383-A648-B14C-4EFD75FFE0E0}" dt="2023-11-05T23:50:35.851" v="1088" actId="14100"/>
          <ac:spMkLst>
            <pc:docMk/>
            <pc:sldMk cId="961994590" sldId="384"/>
            <ac:spMk id="2070" creationId="{167D8D82-256B-C9A4-70B7-411516526D69}"/>
          </ac:spMkLst>
        </pc:spChg>
        <pc:spChg chg="mod">
          <ac:chgData name="Shreyan Datta Chakraborty" userId="8e16d80f-77aa-4ba5-b0e9-232e8980a100" providerId="ADAL" clId="{0428C15A-4383-A648-B14C-4EFD75FFE0E0}" dt="2023-11-05T23:50:28.329" v="1087" actId="14100"/>
          <ac:spMkLst>
            <pc:docMk/>
            <pc:sldMk cId="961994590" sldId="384"/>
            <ac:spMk id="2071" creationId="{B69BFA80-E3C2-25B8-D6A4-2364E352350A}"/>
          </ac:spMkLst>
        </pc:spChg>
      </pc:sldChg>
      <pc:sldChg chg="new del">
        <pc:chgData name="Shreyan Datta Chakraborty" userId="8e16d80f-77aa-4ba5-b0e9-232e8980a100" providerId="ADAL" clId="{0428C15A-4383-A648-B14C-4EFD75FFE0E0}" dt="2023-11-05T23:32:37.264" v="561" actId="2696"/>
        <pc:sldMkLst>
          <pc:docMk/>
          <pc:sldMk cId="2941134015" sldId="384"/>
        </pc:sldMkLst>
      </pc:sldChg>
      <pc:sldChg chg="addSp delSp modSp add mod ord modAnim modShow">
        <pc:chgData name="Shreyan Datta Chakraborty" userId="8e16d80f-77aa-4ba5-b0e9-232e8980a100" providerId="ADAL" clId="{0428C15A-4383-A648-B14C-4EFD75FFE0E0}" dt="2023-11-07T23:52:09.486" v="5266" actId="729"/>
        <pc:sldMkLst>
          <pc:docMk/>
          <pc:sldMk cId="708761047" sldId="385"/>
        </pc:sldMkLst>
        <pc:spChg chg="add mod">
          <ac:chgData name="Shreyan Datta Chakraborty" userId="8e16d80f-77aa-4ba5-b0e9-232e8980a100" providerId="ADAL" clId="{0428C15A-4383-A648-B14C-4EFD75FFE0E0}" dt="2023-11-07T04:27:35.227" v="3214" actId="20577"/>
          <ac:spMkLst>
            <pc:docMk/>
            <pc:sldMk cId="708761047" sldId="385"/>
            <ac:spMk id="2" creationId="{DED2384D-661B-6408-34FB-2EE2D03F2A8A}"/>
          </ac:spMkLst>
        </pc:spChg>
        <pc:spChg chg="mod">
          <ac:chgData name="Shreyan Datta Chakraborty" userId="8e16d80f-77aa-4ba5-b0e9-232e8980a100" providerId="ADAL" clId="{0428C15A-4383-A648-B14C-4EFD75FFE0E0}" dt="2023-11-06T01:29:02.507" v="1330" actId="13926"/>
          <ac:spMkLst>
            <pc:docMk/>
            <pc:sldMk cId="708761047" sldId="385"/>
            <ac:spMk id="3" creationId="{62A1BD13-29CB-D6ED-22CC-D90A70D0279D}"/>
          </ac:spMkLst>
        </pc:spChg>
        <pc:spChg chg="mod">
          <ac:chgData name="Shreyan Datta Chakraborty" userId="8e16d80f-77aa-4ba5-b0e9-232e8980a100" providerId="ADAL" clId="{0428C15A-4383-A648-B14C-4EFD75FFE0E0}" dt="2023-11-06T01:18:39.333" v="1286" actId="5793"/>
          <ac:spMkLst>
            <pc:docMk/>
            <pc:sldMk cId="708761047" sldId="385"/>
            <ac:spMk id="73" creationId="{E39B8983-DE77-65AC-6602-2C0D36B40C71}"/>
          </ac:spMkLst>
        </pc:spChg>
        <pc:grpChg chg="del">
          <ac:chgData name="Shreyan Datta Chakraborty" userId="8e16d80f-77aa-4ba5-b0e9-232e8980a100" providerId="ADAL" clId="{0428C15A-4383-A648-B14C-4EFD75FFE0E0}" dt="2023-11-06T01:18:37.149" v="1285" actId="478"/>
          <ac:grpSpMkLst>
            <pc:docMk/>
            <pc:sldMk cId="708761047" sldId="385"/>
            <ac:grpSpMk id="11" creationId="{0232F826-BE6B-B64C-5E85-DA2DC55DBA89}"/>
          </ac:grpSpMkLst>
        </pc:grpChg>
        <pc:grpChg chg="del">
          <ac:chgData name="Shreyan Datta Chakraborty" userId="8e16d80f-77aa-4ba5-b0e9-232e8980a100" providerId="ADAL" clId="{0428C15A-4383-A648-B14C-4EFD75FFE0E0}" dt="2023-11-06T01:18:37.149" v="1285" actId="478"/>
          <ac:grpSpMkLst>
            <pc:docMk/>
            <pc:sldMk cId="708761047" sldId="385"/>
            <ac:grpSpMk id="64" creationId="{E3E4CA03-C501-F7E9-28BC-6D2DBFC361AA}"/>
          </ac:grpSpMkLst>
        </pc:grpChg>
        <pc:grpChg chg="del">
          <ac:chgData name="Shreyan Datta Chakraborty" userId="8e16d80f-77aa-4ba5-b0e9-232e8980a100" providerId="ADAL" clId="{0428C15A-4383-A648-B14C-4EFD75FFE0E0}" dt="2023-11-06T01:18:41.461" v="1287" actId="478"/>
          <ac:grpSpMkLst>
            <pc:docMk/>
            <pc:sldMk cId="708761047" sldId="385"/>
            <ac:grpSpMk id="74" creationId="{12087B62-B001-95BE-1990-50FF77621DCA}"/>
          </ac:grpSpMkLst>
        </pc:grpChg>
        <pc:grpChg chg="del">
          <ac:chgData name="Shreyan Datta Chakraborty" userId="8e16d80f-77aa-4ba5-b0e9-232e8980a100" providerId="ADAL" clId="{0428C15A-4383-A648-B14C-4EFD75FFE0E0}" dt="2023-11-06T01:18:37.149" v="1285" actId="478"/>
          <ac:grpSpMkLst>
            <pc:docMk/>
            <pc:sldMk cId="708761047" sldId="385"/>
            <ac:grpSpMk id="88" creationId="{59FBEB72-852F-A047-8ED3-7F641792809F}"/>
          </ac:grpSpMkLst>
        </pc:grpChg>
      </pc:sldChg>
      <pc:sldChg chg="mod modShow">
        <pc:chgData name="Shreyan Datta Chakraborty" userId="8e16d80f-77aa-4ba5-b0e9-232e8980a100" providerId="ADAL" clId="{0428C15A-4383-A648-B14C-4EFD75FFE0E0}" dt="2023-11-06T05:50:33.325" v="1898" actId="729"/>
        <pc:sldMkLst>
          <pc:docMk/>
          <pc:sldMk cId="81803173" sldId="386"/>
        </pc:sldMkLst>
      </pc:sldChg>
      <pc:sldChg chg="add del">
        <pc:chgData name="Shreyan Datta Chakraborty" userId="8e16d80f-77aa-4ba5-b0e9-232e8980a100" providerId="ADAL" clId="{0428C15A-4383-A648-B14C-4EFD75FFE0E0}" dt="2023-11-06T04:05:24.386" v="1765" actId="2696"/>
        <pc:sldMkLst>
          <pc:docMk/>
          <pc:sldMk cId="1375786392" sldId="387"/>
        </pc:sldMkLst>
      </pc:sldChg>
      <pc:sldChg chg="addSp delSp modSp add del mod modAnim modShow">
        <pc:chgData name="Shreyan Datta Chakraborty" userId="8e16d80f-77aa-4ba5-b0e9-232e8980a100" providerId="ADAL" clId="{0428C15A-4383-A648-B14C-4EFD75FFE0E0}" dt="2023-11-07T03:17:03.555" v="3102" actId="2696"/>
        <pc:sldMkLst>
          <pc:docMk/>
          <pc:sldMk cId="3926867436" sldId="388"/>
        </pc:sldMkLst>
        <pc:spChg chg="mod">
          <ac:chgData name="Shreyan Datta Chakraborty" userId="8e16d80f-77aa-4ba5-b0e9-232e8980a100" providerId="ADAL" clId="{0428C15A-4383-A648-B14C-4EFD75FFE0E0}" dt="2023-11-06T04:00:07.074" v="1683" actId="20577"/>
          <ac:spMkLst>
            <pc:docMk/>
            <pc:sldMk cId="3926867436" sldId="388"/>
            <ac:spMk id="2" creationId="{496E9A5C-AC7F-EC41-F04F-873EB24E5193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3" creationId="{EFD11338-DFC6-8073-D448-AEE1C6E39F34}"/>
          </ac:spMkLst>
        </pc:spChg>
        <pc:spChg chg="add mod">
          <ac:chgData name="Shreyan Datta Chakraborty" userId="8e16d80f-77aa-4ba5-b0e9-232e8980a100" providerId="ADAL" clId="{0428C15A-4383-A648-B14C-4EFD75FFE0E0}" dt="2023-11-06T07:26:02.026" v="2073" actId="14100"/>
          <ac:spMkLst>
            <pc:docMk/>
            <pc:sldMk cId="3926867436" sldId="388"/>
            <ac:spMk id="4" creationId="{2C79BD0F-BA71-95EC-1B54-311BECCAB767}"/>
          </ac:spMkLst>
        </pc:spChg>
        <pc:spChg chg="del">
          <ac:chgData name="Shreyan Datta Chakraborty" userId="8e16d80f-77aa-4ba5-b0e9-232e8980a100" providerId="ADAL" clId="{0428C15A-4383-A648-B14C-4EFD75FFE0E0}" dt="2023-11-06T03:58:21.044" v="1650" actId="478"/>
          <ac:spMkLst>
            <pc:docMk/>
            <pc:sldMk cId="3926867436" sldId="388"/>
            <ac:spMk id="5" creationId="{714EB7DF-853A-5D8F-789D-4456099757BD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7" creationId="{EF4F9307-41EC-F45A-2D82-0E43335CC02C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8" creationId="{724E5127-BD84-80E8-96DC-CB2A6ABB43D4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9" creationId="{46BE432B-6620-D7C3-4DB0-F40F8725EE19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0" creationId="{9774D92E-62C0-FF2E-BAB4-9B57AFBBFB3E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1" creationId="{429666EE-6342-A9E3-0168-1C5E2A5DCBF3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2" creationId="{94EBBF90-356E-8CDD-F238-850A9A884CCA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3" creationId="{15E9C36D-DCD0-6D53-20DB-372D1152A326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5" creationId="{B7858610-5B9B-3575-6BD4-08E62CF8EB4E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6" creationId="{2A922C33-7C80-E68D-A6B1-D856F3310969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7" creationId="{3870D338-3A26-70A8-3983-528437736102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8" creationId="{D8D2892A-4FB6-D449-5B48-0C11CC9FCF15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19" creationId="{AAC2C844-5474-5A55-AC71-1558E655FC10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0" creationId="{B1336D3A-FB87-EEE6-11E2-29F28CD11952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1" creationId="{A0A38C11-F272-AF99-A844-72AB757492CB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2" creationId="{8D7E6A74-2CA4-7323-0E3E-15638693D367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3" creationId="{8D3F31C4-B150-925E-423D-765497B69253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4" creationId="{F4D8A776-2DE7-C121-CEE1-F0EF494CCA48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5" creationId="{02AFF4C8-11E5-FAF8-92FA-2B6ABC5672D0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6" creationId="{A72A9404-66FC-66FE-E5E4-B0622B76772A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7" creationId="{FF51817B-045E-90C3-AF36-A58CA176ABAE}"/>
          </ac:spMkLst>
        </pc:spChg>
        <pc:spChg chg="mod">
          <ac:chgData name="Shreyan Datta Chakraborty" userId="8e16d80f-77aa-4ba5-b0e9-232e8980a100" providerId="ADAL" clId="{0428C15A-4383-A648-B14C-4EFD75FFE0E0}" dt="2023-11-06T03:58:36.155" v="1654" actId="14100"/>
          <ac:spMkLst>
            <pc:docMk/>
            <pc:sldMk cId="3926867436" sldId="388"/>
            <ac:spMk id="28" creationId="{F3BB57F0-1240-3DC8-ADC3-F417C3998FE4}"/>
          </ac:spMkLst>
        </pc:spChg>
        <pc:spChg chg="add del mod">
          <ac:chgData name="Shreyan Datta Chakraborty" userId="8e16d80f-77aa-4ba5-b0e9-232e8980a100" providerId="ADAL" clId="{0428C15A-4383-A648-B14C-4EFD75FFE0E0}" dt="2023-11-06T03:58:36.459" v="1655"/>
          <ac:spMkLst>
            <pc:docMk/>
            <pc:sldMk cId="3926867436" sldId="388"/>
            <ac:spMk id="29" creationId="{703DA7F9-9A9D-3151-2E4C-7EFC639FA7FD}"/>
          </ac:spMkLst>
        </pc:spChg>
        <pc:spChg chg="add del mod">
          <ac:chgData name="Shreyan Datta Chakraborty" userId="8e16d80f-77aa-4ba5-b0e9-232e8980a100" providerId="ADAL" clId="{0428C15A-4383-A648-B14C-4EFD75FFE0E0}" dt="2023-11-06T03:58:36.459" v="1655"/>
          <ac:spMkLst>
            <pc:docMk/>
            <pc:sldMk cId="3926867436" sldId="388"/>
            <ac:spMk id="30" creationId="{485B0701-52AD-192C-815F-357F011F2EDB}"/>
          </ac:spMkLst>
        </pc:spChg>
        <pc:spChg chg="add del mod">
          <ac:chgData name="Shreyan Datta Chakraborty" userId="8e16d80f-77aa-4ba5-b0e9-232e8980a100" providerId="ADAL" clId="{0428C15A-4383-A648-B14C-4EFD75FFE0E0}" dt="2023-11-06T03:58:36.459" v="1655"/>
          <ac:spMkLst>
            <pc:docMk/>
            <pc:sldMk cId="3926867436" sldId="388"/>
            <ac:spMk id="31" creationId="{0C087CAF-BD98-7344-8613-3833DE21B277}"/>
          </ac:spMkLst>
        </pc:spChg>
        <pc:spChg chg="add del mod">
          <ac:chgData name="Shreyan Datta Chakraborty" userId="8e16d80f-77aa-4ba5-b0e9-232e8980a100" providerId="ADAL" clId="{0428C15A-4383-A648-B14C-4EFD75FFE0E0}" dt="2023-11-06T03:58:36.459" v="1655"/>
          <ac:spMkLst>
            <pc:docMk/>
            <pc:sldMk cId="3926867436" sldId="388"/>
            <ac:spMk id="32" creationId="{E9AC4AC6-1A5D-6C50-8425-DAFF1DDA1137}"/>
          </ac:spMkLst>
        </pc:spChg>
        <pc:spChg chg="mod topLvl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35" creationId="{3C76C31F-A56C-5ED8-FFDE-71BFF5EF8600}"/>
          </ac:spMkLst>
        </pc:spChg>
        <pc:spChg chg="mod topLvl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36" creationId="{D194E45A-5627-DEB3-3DB3-8E74BAA88E1E}"/>
          </ac:spMkLst>
        </pc:spChg>
        <pc:spChg chg="mod topLvl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37" creationId="{67F49D6A-B137-8817-AA55-74F04F74E1F5}"/>
          </ac:spMkLst>
        </pc:spChg>
        <pc:spChg chg="del mod">
          <ac:chgData name="Shreyan Datta Chakraborty" userId="8e16d80f-77aa-4ba5-b0e9-232e8980a100" providerId="ADAL" clId="{0428C15A-4383-A648-B14C-4EFD75FFE0E0}" dt="2023-11-06T04:01:58.467" v="1715" actId="478"/>
          <ac:spMkLst>
            <pc:docMk/>
            <pc:sldMk cId="3926867436" sldId="388"/>
            <ac:spMk id="38" creationId="{F274DC9E-D4A0-81E0-A1FE-AF23AEDDF417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39" creationId="{FEF69C03-131E-E818-3867-620F0EBC6C2B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40" creationId="{DC3C35FD-CE6C-9589-F816-120858AAFFB9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41" creationId="{B814F82F-1E6E-18F3-16B4-A740B0976BCF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42" creationId="{FF5405EF-0385-4531-CD03-80A937D58D50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43" creationId="{7B0F064D-73F7-F65D-D7B9-B0B4847C9FFB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44" creationId="{17EE1899-F9A6-08C9-F4FA-36AAB0F244A4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45" creationId="{BDA20689-ACA8-DE42-9C1C-F60807EA6469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46" creationId="{259BF902-4B34-0947-71DA-39B152C295C9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49" creationId="{F1D47A37-4866-889D-071A-8073BA0335F2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0" creationId="{F5055CBA-70DE-9163-5007-645140EF3231}"/>
          </ac:spMkLst>
        </pc:spChg>
        <pc:spChg chg="add del 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1" creationId="{25F37BEE-6846-DC8F-DCF6-DF9F286F4405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2" creationId="{FAD74804-514E-08B7-4A59-2FD2E758862D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3" creationId="{79CE3599-CF33-1A1D-6B4D-8ADD3CD9D8BD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4" creationId="{C6614D92-50D2-0F2F-9C4E-A2B80AB52FF3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5" creationId="{29154071-C1FD-DB92-B668-31542ECEBBA9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56" creationId="{52735BAF-1B99-CF58-A997-96F74B03D163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7" creationId="{584B7203-5202-6946-E5A9-A5A97DE4F06E}"/>
          </ac:spMkLst>
        </pc:spChg>
        <pc:spChg chg="del">
          <ac:chgData name="Shreyan Datta Chakraborty" userId="8e16d80f-77aa-4ba5-b0e9-232e8980a100" providerId="ADAL" clId="{0428C15A-4383-A648-B14C-4EFD75FFE0E0}" dt="2023-11-06T03:58:23.356" v="1651" actId="478"/>
          <ac:spMkLst>
            <pc:docMk/>
            <pc:sldMk cId="3926867436" sldId="388"/>
            <ac:spMk id="58" creationId="{50F02568-50C0-239E-B9C8-369D0D2DE6EA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59" creationId="{1B427222-3F1B-6BA8-EAB3-B2EA20B73093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60" creationId="{C608B9AC-E90E-104B-C2CB-E836E1744F65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61" creationId="{03CC64FC-BA84-B15B-569C-17F9439C824C}"/>
          </ac:spMkLst>
        </pc:spChg>
        <pc:spChg chg="mod">
          <ac:chgData name="Shreyan Datta Chakraborty" userId="8e16d80f-77aa-4ba5-b0e9-232e8980a100" providerId="ADAL" clId="{0428C15A-4383-A648-B14C-4EFD75FFE0E0}" dt="2023-11-06T04:32:52.730" v="1856" actId="165"/>
          <ac:spMkLst>
            <pc:docMk/>
            <pc:sldMk cId="3926867436" sldId="388"/>
            <ac:spMk id="62" creationId="{FC8AEDB7-878B-F346-71B4-5EDA3A1D5AFF}"/>
          </ac:spMkLst>
        </pc:spChg>
        <pc:spChg chg="add mod">
          <ac:chgData name="Shreyan Datta Chakraborty" userId="8e16d80f-77aa-4ba5-b0e9-232e8980a100" providerId="ADAL" clId="{0428C15A-4383-A648-B14C-4EFD75FFE0E0}" dt="2023-11-06T04:21:14.239" v="1793" actId="14100"/>
          <ac:spMkLst>
            <pc:docMk/>
            <pc:sldMk cId="3926867436" sldId="388"/>
            <ac:spMk id="63" creationId="{85BCFE57-126B-E627-3089-CEEB7B5E99BA}"/>
          </ac:spMkLst>
        </pc:spChg>
        <pc:spChg chg="add mod">
          <ac:chgData name="Shreyan Datta Chakraborty" userId="8e16d80f-77aa-4ba5-b0e9-232e8980a100" providerId="ADAL" clId="{0428C15A-4383-A648-B14C-4EFD75FFE0E0}" dt="2023-11-06T04:21:08.725" v="1792" actId="1076"/>
          <ac:spMkLst>
            <pc:docMk/>
            <pc:sldMk cId="3926867436" sldId="388"/>
            <ac:spMk id="2048" creationId="{35236EB3-3DB2-DD85-7842-D081167B7979}"/>
          </ac:spMkLst>
        </pc:spChg>
        <pc:spChg chg="add mod">
          <ac:chgData name="Shreyan Datta Chakraborty" userId="8e16d80f-77aa-4ba5-b0e9-232e8980a100" providerId="ADAL" clId="{0428C15A-4383-A648-B14C-4EFD75FFE0E0}" dt="2023-11-06T04:20:58.569" v="1791" actId="1076"/>
          <ac:spMkLst>
            <pc:docMk/>
            <pc:sldMk cId="3926867436" sldId="388"/>
            <ac:spMk id="2049" creationId="{C6D240DC-B286-DE11-5215-28671FC169F6}"/>
          </ac:spMkLst>
        </pc:spChg>
        <pc:spChg chg="add mod">
          <ac:chgData name="Shreyan Datta Chakraborty" userId="8e16d80f-77aa-4ba5-b0e9-232e8980a100" providerId="ADAL" clId="{0428C15A-4383-A648-B14C-4EFD75FFE0E0}" dt="2023-11-06T04:20:31.888" v="1787" actId="1076"/>
          <ac:spMkLst>
            <pc:docMk/>
            <pc:sldMk cId="3926867436" sldId="388"/>
            <ac:spMk id="2050" creationId="{B5A8FD3D-2E9A-3593-C30A-986B3C1DD6D4}"/>
          </ac:spMkLst>
        </pc:spChg>
        <pc:spChg chg="add mod">
          <ac:chgData name="Shreyan Datta Chakraborty" userId="8e16d80f-77aa-4ba5-b0e9-232e8980a100" providerId="ADAL" clId="{0428C15A-4383-A648-B14C-4EFD75FFE0E0}" dt="2023-11-06T04:20:15.570" v="1784" actId="1076"/>
          <ac:spMkLst>
            <pc:docMk/>
            <pc:sldMk cId="3926867436" sldId="388"/>
            <ac:spMk id="2051" creationId="{42476539-F0DD-E43C-48FB-B342E16558A8}"/>
          </ac:spMkLst>
        </pc:spChg>
        <pc:grpChg chg="add del mod">
          <ac:chgData name="Shreyan Datta Chakraborty" userId="8e16d80f-77aa-4ba5-b0e9-232e8980a100" providerId="ADAL" clId="{0428C15A-4383-A648-B14C-4EFD75FFE0E0}" dt="2023-11-06T03:58:36.459" v="1655"/>
          <ac:grpSpMkLst>
            <pc:docMk/>
            <pc:sldMk cId="3926867436" sldId="388"/>
            <ac:grpSpMk id="4" creationId="{690174DC-24F1-36E8-3244-8E158BE8B781}"/>
          </ac:grpSpMkLst>
        </pc:grpChg>
        <pc:grpChg chg="mod">
          <ac:chgData name="Shreyan Datta Chakraborty" userId="8e16d80f-77aa-4ba5-b0e9-232e8980a100" providerId="ADAL" clId="{0428C15A-4383-A648-B14C-4EFD75FFE0E0}" dt="2023-11-06T03:58:36.155" v="1654" actId="14100"/>
          <ac:grpSpMkLst>
            <pc:docMk/>
            <pc:sldMk cId="3926867436" sldId="388"/>
            <ac:grpSpMk id="6" creationId="{9F669C8A-AF07-BD23-F3CE-CA830FFD4A03}"/>
          </ac:grpSpMkLst>
        </pc:grpChg>
        <pc:grpChg chg="add del mod">
          <ac:chgData name="Shreyan Datta Chakraborty" userId="8e16d80f-77aa-4ba5-b0e9-232e8980a100" providerId="ADAL" clId="{0428C15A-4383-A648-B14C-4EFD75FFE0E0}" dt="2023-11-06T04:32:52.730" v="1856" actId="165"/>
          <ac:grpSpMkLst>
            <pc:docMk/>
            <pc:sldMk cId="3926867436" sldId="388"/>
            <ac:grpSpMk id="33" creationId="{EBBE44D5-F619-435B-CC1D-EF9B15EBBD59}"/>
          </ac:grpSpMkLst>
        </pc:grpChg>
        <pc:grpChg chg="mod topLvl">
          <ac:chgData name="Shreyan Datta Chakraborty" userId="8e16d80f-77aa-4ba5-b0e9-232e8980a100" providerId="ADAL" clId="{0428C15A-4383-A648-B14C-4EFD75FFE0E0}" dt="2023-11-06T04:32:52.730" v="1856" actId="165"/>
          <ac:grpSpMkLst>
            <pc:docMk/>
            <pc:sldMk cId="3926867436" sldId="388"/>
            <ac:grpSpMk id="34" creationId="{BAFEA759-387D-F795-CE63-5372C97D369E}"/>
          </ac:grpSpMkLst>
        </pc:grpChg>
        <pc:grpChg chg="del">
          <ac:chgData name="Shreyan Datta Chakraborty" userId="8e16d80f-77aa-4ba5-b0e9-232e8980a100" providerId="ADAL" clId="{0428C15A-4383-A648-B14C-4EFD75FFE0E0}" dt="2023-11-06T03:58:23.356" v="1651" actId="478"/>
          <ac:grpSpMkLst>
            <pc:docMk/>
            <pc:sldMk cId="3926867436" sldId="388"/>
            <ac:grpSpMk id="2055" creationId="{C3489732-84F7-7963-2D09-6BC5B552CBAC}"/>
          </ac:grpSpMkLst>
        </pc:grpChg>
        <pc:grpChg chg="del">
          <ac:chgData name="Shreyan Datta Chakraborty" userId="8e16d80f-77aa-4ba5-b0e9-232e8980a100" providerId="ADAL" clId="{0428C15A-4383-A648-B14C-4EFD75FFE0E0}" dt="2023-11-06T03:58:23.356" v="1651" actId="478"/>
          <ac:grpSpMkLst>
            <pc:docMk/>
            <pc:sldMk cId="3926867436" sldId="388"/>
            <ac:grpSpMk id="2057" creationId="{3D074748-E2AF-5714-EFE6-7D820B59BF11}"/>
          </ac:grpSpMkLst>
        </pc:grpChg>
        <pc:grpChg chg="del">
          <ac:chgData name="Shreyan Datta Chakraborty" userId="8e16d80f-77aa-4ba5-b0e9-232e8980a100" providerId="ADAL" clId="{0428C15A-4383-A648-B14C-4EFD75FFE0E0}" dt="2023-11-06T03:58:23.356" v="1651" actId="478"/>
          <ac:grpSpMkLst>
            <pc:docMk/>
            <pc:sldMk cId="3926867436" sldId="388"/>
            <ac:grpSpMk id="2063" creationId="{507FAEC8-49C2-505A-4CBB-2E7D98FB5CDE}"/>
          </ac:grpSpMkLst>
        </pc:grpChg>
        <pc:grpChg chg="del">
          <ac:chgData name="Shreyan Datta Chakraborty" userId="8e16d80f-77aa-4ba5-b0e9-232e8980a100" providerId="ADAL" clId="{0428C15A-4383-A648-B14C-4EFD75FFE0E0}" dt="2023-11-06T03:58:23.356" v="1651" actId="478"/>
          <ac:grpSpMkLst>
            <pc:docMk/>
            <pc:sldMk cId="3926867436" sldId="388"/>
            <ac:grpSpMk id="2069" creationId="{46076B0B-AC37-673C-3E03-53E7CC956BA8}"/>
          </ac:grpSpMkLst>
        </pc:grpChg>
      </pc:sldChg>
      <pc:sldChg chg="mod modShow">
        <pc:chgData name="Shreyan Datta Chakraborty" userId="8e16d80f-77aa-4ba5-b0e9-232e8980a100" providerId="ADAL" clId="{0428C15A-4383-A648-B14C-4EFD75FFE0E0}" dt="2023-11-07T20:16:54.934" v="4413" actId="729"/>
        <pc:sldMkLst>
          <pc:docMk/>
          <pc:sldMk cId="1742603404" sldId="391"/>
        </pc:sldMkLst>
      </pc:sldChg>
      <pc:sldChg chg="addSp delSp modSp add del mod ord">
        <pc:chgData name="Shreyan Datta Chakraborty" userId="8e16d80f-77aa-4ba5-b0e9-232e8980a100" providerId="ADAL" clId="{0428C15A-4383-A648-B14C-4EFD75FFE0E0}" dt="2023-11-07T05:54:53.697" v="3256" actId="2696"/>
        <pc:sldMkLst>
          <pc:docMk/>
          <pc:sldMk cId="1158006737" sldId="396"/>
        </pc:sldMkLst>
        <pc:spChg chg="del">
          <ac:chgData name="Shreyan Datta Chakraborty" userId="8e16d80f-77aa-4ba5-b0e9-232e8980a100" providerId="ADAL" clId="{0428C15A-4383-A648-B14C-4EFD75FFE0E0}" dt="2023-11-07T03:09:45.564" v="2504" actId="478"/>
          <ac:spMkLst>
            <pc:docMk/>
            <pc:sldMk cId="1158006737" sldId="396"/>
            <ac:spMk id="2073" creationId="{A61F243F-77C5-85FF-2798-9E37749742C8}"/>
          </ac:spMkLst>
        </pc:spChg>
        <pc:grpChg chg="del">
          <ac:chgData name="Shreyan Datta Chakraborty" userId="8e16d80f-77aa-4ba5-b0e9-232e8980a100" providerId="ADAL" clId="{0428C15A-4383-A648-B14C-4EFD75FFE0E0}" dt="2023-11-07T03:08:55.129" v="2500" actId="478"/>
          <ac:grpSpMkLst>
            <pc:docMk/>
            <pc:sldMk cId="1158006737" sldId="396"/>
            <ac:grpSpMk id="2094" creationId="{7561DCF9-973D-7DF4-BF34-3B5542619B2F}"/>
          </ac:grpSpMkLst>
        </pc:grpChg>
        <pc:picChg chg="add mod">
          <ac:chgData name="Shreyan Datta Chakraborty" userId="8e16d80f-77aa-4ba5-b0e9-232e8980a100" providerId="ADAL" clId="{0428C15A-4383-A648-B14C-4EFD75FFE0E0}" dt="2023-11-07T05:26:27.781" v="3223" actId="1076"/>
          <ac:picMkLst>
            <pc:docMk/>
            <pc:sldMk cId="1158006737" sldId="396"/>
            <ac:picMk id="4" creationId="{B8E5378E-331B-4DB8-250A-603839B88FC2}"/>
          </ac:picMkLst>
        </pc:picChg>
        <pc:picChg chg="del">
          <ac:chgData name="Shreyan Datta Chakraborty" userId="8e16d80f-77aa-4ba5-b0e9-232e8980a100" providerId="ADAL" clId="{0428C15A-4383-A648-B14C-4EFD75FFE0E0}" dt="2023-11-07T05:26:21.040" v="3219" actId="478"/>
          <ac:picMkLst>
            <pc:docMk/>
            <pc:sldMk cId="1158006737" sldId="396"/>
            <ac:picMk id="2093" creationId="{964A6324-08FB-E545-975E-E0891C30456D}"/>
          </ac:picMkLst>
        </pc:picChg>
        <pc:cxnChg chg="del">
          <ac:chgData name="Shreyan Datta Chakraborty" userId="8e16d80f-77aa-4ba5-b0e9-232e8980a100" providerId="ADAL" clId="{0428C15A-4383-A648-B14C-4EFD75FFE0E0}" dt="2023-11-07T03:08:56.638" v="2501" actId="478"/>
          <ac:cxnSpMkLst>
            <pc:docMk/>
            <pc:sldMk cId="1158006737" sldId="396"/>
            <ac:cxnSpMk id="2098" creationId="{FC23A3E2-2440-3A6C-5E1A-145108D6F1FE}"/>
          </ac:cxnSpMkLst>
        </pc:cxnChg>
      </pc:sldChg>
      <pc:sldChg chg="modSp add del mod modNotesTx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1478378776" sldId="397"/>
        </pc:sldMkLst>
        <pc:spChg chg="mod">
          <ac:chgData name="Shreyan Datta Chakraborty" userId="8e16d80f-77aa-4ba5-b0e9-232e8980a100" providerId="ADAL" clId="{0428C15A-4383-A648-B14C-4EFD75FFE0E0}" dt="2023-11-07T03:18:41.072" v="3106" actId="207"/>
          <ac:spMkLst>
            <pc:docMk/>
            <pc:sldMk cId="1478378776" sldId="397"/>
            <ac:spMk id="2095" creationId="{D62DF07F-40A7-C3FE-2CC9-B10841D2CA9E}"/>
          </ac:spMkLst>
        </pc:spChg>
        <pc:grpChg chg="mod">
          <ac:chgData name="Shreyan Datta Chakraborty" userId="8e16d80f-77aa-4ba5-b0e9-232e8980a100" providerId="ADAL" clId="{0428C15A-4383-A648-B14C-4EFD75FFE0E0}" dt="2023-11-07T03:10:02.058" v="2507" actId="1076"/>
          <ac:grpSpMkLst>
            <pc:docMk/>
            <pc:sldMk cId="1478378776" sldId="397"/>
            <ac:grpSpMk id="2094" creationId="{7561DCF9-973D-7DF4-BF34-3B5542619B2F}"/>
          </ac:grpSpMkLst>
        </pc:grpChg>
        <pc:cxnChg chg="mod">
          <ac:chgData name="Shreyan Datta Chakraborty" userId="8e16d80f-77aa-4ba5-b0e9-232e8980a100" providerId="ADAL" clId="{0428C15A-4383-A648-B14C-4EFD75FFE0E0}" dt="2023-11-07T03:18:46.856" v="3107" actId="692"/>
          <ac:cxnSpMkLst>
            <pc:docMk/>
            <pc:sldMk cId="1478378776" sldId="397"/>
            <ac:cxnSpMk id="2098" creationId="{FC23A3E2-2440-3A6C-5E1A-145108D6F1FE}"/>
          </ac:cxnSpMkLst>
        </pc:cxnChg>
      </pc:sldChg>
      <pc:sldChg chg="modSp add del mod modNotesTx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1879241708" sldId="398"/>
        </pc:sldMkLst>
        <pc:spChg chg="mod">
          <ac:chgData name="Shreyan Datta Chakraborty" userId="8e16d80f-77aa-4ba5-b0e9-232e8980a100" providerId="ADAL" clId="{0428C15A-4383-A648-B14C-4EFD75FFE0E0}" dt="2023-11-07T03:13:53.565" v="2809" actId="20577"/>
          <ac:spMkLst>
            <pc:docMk/>
            <pc:sldMk cId="1879241708" sldId="398"/>
            <ac:spMk id="2095" creationId="{D62DF07F-40A7-C3FE-2CC9-B10841D2CA9E}"/>
          </ac:spMkLst>
        </pc:spChg>
        <pc:grpChg chg="mod">
          <ac:chgData name="Shreyan Datta Chakraborty" userId="8e16d80f-77aa-4ba5-b0e9-232e8980a100" providerId="ADAL" clId="{0428C15A-4383-A648-B14C-4EFD75FFE0E0}" dt="2023-11-07T03:12:42.218" v="2737" actId="1076"/>
          <ac:grpSpMkLst>
            <pc:docMk/>
            <pc:sldMk cId="1879241708" sldId="398"/>
            <ac:grpSpMk id="2094" creationId="{7561DCF9-973D-7DF4-BF34-3B5542619B2F}"/>
          </ac:grpSpMkLst>
        </pc:grpChg>
        <pc:cxnChg chg="mod">
          <ac:chgData name="Shreyan Datta Chakraborty" userId="8e16d80f-77aa-4ba5-b0e9-232e8980a100" providerId="ADAL" clId="{0428C15A-4383-A648-B14C-4EFD75FFE0E0}" dt="2023-11-07T03:12:49.165" v="2739" actId="14100"/>
          <ac:cxnSpMkLst>
            <pc:docMk/>
            <pc:sldMk cId="1879241708" sldId="398"/>
            <ac:cxnSpMk id="2098" creationId="{FC23A3E2-2440-3A6C-5E1A-145108D6F1FE}"/>
          </ac:cxnSpMkLst>
        </pc:cxnChg>
      </pc:sldChg>
      <pc:sldChg chg="modSp add del mod modNotesTx">
        <pc:chgData name="Shreyan Datta Chakraborty" userId="8e16d80f-77aa-4ba5-b0e9-232e8980a100" providerId="ADAL" clId="{0428C15A-4383-A648-B14C-4EFD75FFE0E0}" dt="2023-11-07T07:41:40.576" v="4078" actId="2696"/>
        <pc:sldMkLst>
          <pc:docMk/>
          <pc:sldMk cId="569856316" sldId="399"/>
        </pc:sldMkLst>
        <pc:spChg chg="mod">
          <ac:chgData name="Shreyan Datta Chakraborty" userId="8e16d80f-77aa-4ba5-b0e9-232e8980a100" providerId="ADAL" clId="{0428C15A-4383-A648-B14C-4EFD75FFE0E0}" dt="2023-11-07T05:13:34.143" v="3216" actId="1076"/>
          <ac:spMkLst>
            <pc:docMk/>
            <pc:sldMk cId="569856316" sldId="399"/>
            <ac:spMk id="40" creationId="{DC3C35FD-CE6C-9589-F816-120858AAFFB9}"/>
          </ac:spMkLst>
        </pc:spChg>
        <pc:spChg chg="mod">
          <ac:chgData name="Shreyan Datta Chakraborty" userId="8e16d80f-77aa-4ba5-b0e9-232e8980a100" providerId="ADAL" clId="{0428C15A-4383-A648-B14C-4EFD75FFE0E0}" dt="2023-11-07T05:13:28.441" v="3215" actId="14100"/>
          <ac:spMkLst>
            <pc:docMk/>
            <pc:sldMk cId="569856316" sldId="399"/>
            <ac:spMk id="42" creationId="{FF5405EF-0385-4531-CD03-80A937D58D50}"/>
          </ac:spMkLst>
        </pc:spChg>
        <pc:spChg chg="mod">
          <ac:chgData name="Shreyan Datta Chakraborty" userId="8e16d80f-77aa-4ba5-b0e9-232e8980a100" providerId="ADAL" clId="{0428C15A-4383-A648-B14C-4EFD75FFE0E0}" dt="2023-11-07T05:13:34.143" v="3216" actId="1076"/>
          <ac:spMkLst>
            <pc:docMk/>
            <pc:sldMk cId="569856316" sldId="399"/>
            <ac:spMk id="49" creationId="{F1D47A37-4866-889D-071A-8073BA0335F2}"/>
          </ac:spMkLst>
        </pc:spChg>
        <pc:spChg chg="mod">
          <ac:chgData name="Shreyan Datta Chakraborty" userId="8e16d80f-77aa-4ba5-b0e9-232e8980a100" providerId="ADAL" clId="{0428C15A-4383-A648-B14C-4EFD75FFE0E0}" dt="2023-11-07T05:13:34.143" v="3216" actId="1076"/>
          <ac:spMkLst>
            <pc:docMk/>
            <pc:sldMk cId="569856316" sldId="399"/>
            <ac:spMk id="56" creationId="{52735BAF-1B99-CF58-A997-96F74B03D163}"/>
          </ac:spMkLst>
        </pc:spChg>
        <pc:spChg chg="mod">
          <ac:chgData name="Shreyan Datta Chakraborty" userId="8e16d80f-77aa-4ba5-b0e9-232e8980a100" providerId="ADAL" clId="{0428C15A-4383-A648-B14C-4EFD75FFE0E0}" dt="2023-11-07T05:13:34.143" v="3216" actId="1076"/>
          <ac:spMkLst>
            <pc:docMk/>
            <pc:sldMk cId="569856316" sldId="399"/>
            <ac:spMk id="58" creationId="{50F02568-50C0-239E-B9C8-369D0D2DE6EA}"/>
          </ac:spMkLst>
        </pc:spChg>
        <pc:spChg chg="mod">
          <ac:chgData name="Shreyan Datta Chakraborty" userId="8e16d80f-77aa-4ba5-b0e9-232e8980a100" providerId="ADAL" clId="{0428C15A-4383-A648-B14C-4EFD75FFE0E0}" dt="2023-11-07T03:15:34.621" v="3046" actId="20577"/>
          <ac:spMkLst>
            <pc:docMk/>
            <pc:sldMk cId="569856316" sldId="399"/>
            <ac:spMk id="2095" creationId="{D62DF07F-40A7-C3FE-2CC9-B10841D2CA9E}"/>
          </ac:spMkLst>
        </pc:spChg>
        <pc:grpChg chg="mod">
          <ac:chgData name="Shreyan Datta Chakraborty" userId="8e16d80f-77aa-4ba5-b0e9-232e8980a100" providerId="ADAL" clId="{0428C15A-4383-A648-B14C-4EFD75FFE0E0}" dt="2023-11-07T05:13:34.143" v="3216" actId="1076"/>
          <ac:grpSpMkLst>
            <pc:docMk/>
            <pc:sldMk cId="569856316" sldId="399"/>
            <ac:grpSpMk id="2080" creationId="{CD773379-F553-ACB9-9A23-4076E1B759BD}"/>
          </ac:grpSpMkLst>
        </pc:grpChg>
        <pc:grpChg chg="mod">
          <ac:chgData name="Shreyan Datta Chakraborty" userId="8e16d80f-77aa-4ba5-b0e9-232e8980a100" providerId="ADAL" clId="{0428C15A-4383-A648-B14C-4EFD75FFE0E0}" dt="2023-11-07T05:13:34.143" v="3216" actId="1076"/>
          <ac:grpSpMkLst>
            <pc:docMk/>
            <pc:sldMk cId="569856316" sldId="399"/>
            <ac:grpSpMk id="2081" creationId="{391E3654-F033-0533-C591-44DCB59B060B}"/>
          </ac:grpSpMkLst>
        </pc:grpChg>
        <pc:grpChg chg="mod">
          <ac:chgData name="Shreyan Datta Chakraborty" userId="8e16d80f-77aa-4ba5-b0e9-232e8980a100" providerId="ADAL" clId="{0428C15A-4383-A648-B14C-4EFD75FFE0E0}" dt="2023-11-07T05:13:34.143" v="3216" actId="1076"/>
          <ac:grpSpMkLst>
            <pc:docMk/>
            <pc:sldMk cId="569856316" sldId="399"/>
            <ac:grpSpMk id="2082" creationId="{C30BF5D7-48D0-12D4-ECED-32563CB8896A}"/>
          </ac:grpSpMkLst>
        </pc:grpChg>
        <pc:grpChg chg="mod">
          <ac:chgData name="Shreyan Datta Chakraborty" userId="8e16d80f-77aa-4ba5-b0e9-232e8980a100" providerId="ADAL" clId="{0428C15A-4383-A648-B14C-4EFD75FFE0E0}" dt="2023-11-07T05:13:34.143" v="3216" actId="1076"/>
          <ac:grpSpMkLst>
            <pc:docMk/>
            <pc:sldMk cId="569856316" sldId="399"/>
            <ac:grpSpMk id="2087" creationId="{A84864D5-6DBF-DF78-F6FD-ED8FA1FE1F97}"/>
          </ac:grpSpMkLst>
        </pc:grpChg>
        <pc:grpChg chg="mod">
          <ac:chgData name="Shreyan Datta Chakraborty" userId="8e16d80f-77aa-4ba5-b0e9-232e8980a100" providerId="ADAL" clId="{0428C15A-4383-A648-B14C-4EFD75FFE0E0}" dt="2023-11-07T05:13:34.143" v="3216" actId="1076"/>
          <ac:grpSpMkLst>
            <pc:docMk/>
            <pc:sldMk cId="569856316" sldId="399"/>
            <ac:grpSpMk id="2094" creationId="{7561DCF9-973D-7DF4-BF34-3B5542619B2F}"/>
          </ac:grpSpMkLst>
        </pc:grpChg>
        <pc:picChg chg="mod">
          <ac:chgData name="Shreyan Datta Chakraborty" userId="8e16d80f-77aa-4ba5-b0e9-232e8980a100" providerId="ADAL" clId="{0428C15A-4383-A648-B14C-4EFD75FFE0E0}" dt="2023-11-07T05:13:34.143" v="3216" actId="1076"/>
          <ac:picMkLst>
            <pc:docMk/>
            <pc:sldMk cId="569856316" sldId="399"/>
            <ac:picMk id="2084" creationId="{2D1CFEF8-6197-B2D6-1916-05656F40F9CE}"/>
          </ac:picMkLst>
        </pc:picChg>
        <pc:picChg chg="mod">
          <ac:chgData name="Shreyan Datta Chakraborty" userId="8e16d80f-77aa-4ba5-b0e9-232e8980a100" providerId="ADAL" clId="{0428C15A-4383-A648-B14C-4EFD75FFE0E0}" dt="2023-11-07T05:13:34.143" v="3216" actId="1076"/>
          <ac:picMkLst>
            <pc:docMk/>
            <pc:sldMk cId="569856316" sldId="399"/>
            <ac:picMk id="2086" creationId="{4F465E23-6014-5C02-213E-137D97367121}"/>
          </ac:picMkLst>
        </pc:picChg>
        <pc:picChg chg="mod">
          <ac:chgData name="Shreyan Datta Chakraborty" userId="8e16d80f-77aa-4ba5-b0e9-232e8980a100" providerId="ADAL" clId="{0428C15A-4383-A648-B14C-4EFD75FFE0E0}" dt="2023-11-07T05:13:34.143" v="3216" actId="1076"/>
          <ac:picMkLst>
            <pc:docMk/>
            <pc:sldMk cId="569856316" sldId="399"/>
            <ac:picMk id="2091" creationId="{620B5D12-90F4-DBB4-839D-427790C55218}"/>
          </ac:picMkLst>
        </pc:picChg>
        <pc:picChg chg="mod">
          <ac:chgData name="Shreyan Datta Chakraborty" userId="8e16d80f-77aa-4ba5-b0e9-232e8980a100" providerId="ADAL" clId="{0428C15A-4383-A648-B14C-4EFD75FFE0E0}" dt="2023-11-07T05:13:34.143" v="3216" actId="1076"/>
          <ac:picMkLst>
            <pc:docMk/>
            <pc:sldMk cId="569856316" sldId="399"/>
            <ac:picMk id="2093" creationId="{964A6324-08FB-E545-975E-E0891C30456D}"/>
          </ac:picMkLst>
        </pc:picChg>
        <pc:cxnChg chg="mod">
          <ac:chgData name="Shreyan Datta Chakraborty" userId="8e16d80f-77aa-4ba5-b0e9-232e8980a100" providerId="ADAL" clId="{0428C15A-4383-A648-B14C-4EFD75FFE0E0}" dt="2023-11-07T05:13:34.143" v="3216" actId="1076"/>
          <ac:cxnSpMkLst>
            <pc:docMk/>
            <pc:sldMk cId="569856316" sldId="399"/>
            <ac:cxnSpMk id="2098" creationId="{FC23A3E2-2440-3A6C-5E1A-145108D6F1FE}"/>
          </ac:cxnSpMkLst>
        </pc:cxnChg>
      </pc:sldChg>
      <pc:sldChg chg="addSp delSp modSp mod">
        <pc:chgData name="Shreyan Datta Chakraborty" userId="8e16d80f-77aa-4ba5-b0e9-232e8980a100" providerId="ADAL" clId="{0428C15A-4383-A648-B14C-4EFD75FFE0E0}" dt="2023-11-07T05:53:23.387" v="3255" actId="478"/>
        <pc:sldMkLst>
          <pc:docMk/>
          <pc:sldMk cId="1676416836" sldId="403"/>
        </pc:sldMkLst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0" creationId="{FFC6BC5E-2761-7813-30EA-A072FB1A5CD3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1" creationId="{0717FBFE-816D-37B4-5229-B2CF48335539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6" creationId="{C2DED236-4C3E-789C-A5FB-1654C9E6A42E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7" creationId="{168418A5-87C1-EED5-AA5B-9AA17B6FCA11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31" creationId="{54BFBA12-647A-DA90-C944-53956FE80295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32" creationId="{616A5068-F948-B076-56AC-7FF40C98D23B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061" creationId="{9C01B2B9-5B45-E513-C3D7-08E1A155504A}"/>
          </ac:spMkLst>
        </pc:spChg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1676416836" sldId="403"/>
            <ac:spMk id="2074" creationId="{0AA790BF-69C0-5516-03D3-11A89CBD879C}"/>
          </ac:spMkLst>
        </pc:s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11" creationId="{F282B5F0-DE1D-F2D6-7F07-77F17C730A6E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18" creationId="{88E367B2-4DDB-379C-AA0C-56238F21038A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24" creationId="{C07B6C8E-173A-A0A6-8301-286AF59C0003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29" creationId="{19D4A219-DD9F-F763-2D49-B4413F3BB374}"/>
          </ac:grpSpMkLst>
        </pc:grpChg>
        <pc:grpChg chg="del mod">
          <ac:chgData name="Shreyan Datta Chakraborty" userId="8e16d80f-77aa-4ba5-b0e9-232e8980a100" providerId="ADAL" clId="{0428C15A-4383-A648-B14C-4EFD75FFE0E0}" dt="2023-11-07T05:52:22.062" v="3253" actId="478"/>
          <ac:grpSpMkLst>
            <pc:docMk/>
            <pc:sldMk cId="1676416836" sldId="403"/>
            <ac:grpSpMk id="38" creationId="{57FCA0B4-2C13-139D-A476-86229B32CC31}"/>
          </ac:grpSpMkLst>
        </pc:grpChg>
        <pc:grpChg chg="del">
          <ac:chgData name="Shreyan Datta Chakraborty" userId="8e16d80f-77aa-4ba5-b0e9-232e8980a100" providerId="ADAL" clId="{0428C15A-4383-A648-B14C-4EFD75FFE0E0}" dt="2023-11-07T05:34:43.666" v="3230" actId="478"/>
          <ac:grpSpMkLst>
            <pc:docMk/>
            <pc:sldMk cId="1676416836" sldId="403"/>
            <ac:grpSpMk id="39" creationId="{C4115468-B1AE-0916-1865-19D04BF4AD93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43" creationId="{DBA23413-2EAE-DA65-5313-2DD31D043EB1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47" creationId="{9C606329-985C-CB01-0886-E720A5BFB9F8}"/>
          </ac:grpSpMkLst>
        </pc:grpChg>
        <pc:grpChg chg="mod">
          <ac:chgData name="Shreyan Datta Chakraborty" userId="8e16d80f-77aa-4ba5-b0e9-232e8980a100" providerId="ADAL" clId="{0428C15A-4383-A648-B14C-4EFD75FFE0E0}" dt="2023-11-07T05:46:56.865" v="3232" actId="931"/>
          <ac:grpSpMkLst>
            <pc:docMk/>
            <pc:sldMk cId="1676416836" sldId="403"/>
            <ac:grpSpMk id="2082" creationId="{C30BF5D7-48D0-12D4-ECED-32563CB8896A}"/>
          </ac:grpSpMkLst>
        </pc:grpChg>
        <pc:picChg chg="add mod modCrop">
          <ac:chgData name="Shreyan Datta Chakraborty" userId="8e16d80f-77aa-4ba5-b0e9-232e8980a100" providerId="ADAL" clId="{0428C15A-4383-A648-B14C-4EFD75FFE0E0}" dt="2023-11-07T05:52:30.743" v="3254" actId="1076"/>
          <ac:picMkLst>
            <pc:docMk/>
            <pc:sldMk cId="1676416836" sldId="403"/>
            <ac:picMk id="5" creationId="{409B9686-D075-E54F-5DD6-0DBF88164CAB}"/>
          </ac:picMkLst>
        </pc:picChg>
        <pc:picChg chg="del mod">
          <ac:chgData name="Shreyan Datta Chakraborty" userId="8e16d80f-77aa-4ba5-b0e9-232e8980a100" providerId="ADAL" clId="{0428C15A-4383-A648-B14C-4EFD75FFE0E0}" dt="2023-11-07T05:52:22.062" v="3253" actId="478"/>
          <ac:picMkLst>
            <pc:docMk/>
            <pc:sldMk cId="1676416836" sldId="403"/>
            <ac:picMk id="37" creationId="{351B6C0A-2AE1-2618-7B31-E997ADE5EC18}"/>
          </ac:picMkLst>
        </pc:picChg>
        <pc:picChg chg="mod">
          <ac:chgData name="Shreyan Datta Chakraborty" userId="8e16d80f-77aa-4ba5-b0e9-232e8980a100" providerId="ADAL" clId="{0428C15A-4383-A648-B14C-4EFD75FFE0E0}" dt="2023-11-07T05:46:56.865" v="3232" actId="931"/>
          <ac:picMkLst>
            <pc:docMk/>
            <pc:sldMk cId="1676416836" sldId="403"/>
            <ac:picMk id="41" creationId="{8B3A5A47-BFF1-A5AA-4584-D2722E55041A}"/>
          </ac:picMkLst>
        </pc:picChg>
        <pc:picChg chg="add mod">
          <ac:chgData name="Shreyan Datta Chakraborty" userId="8e16d80f-77aa-4ba5-b0e9-232e8980a100" providerId="ADAL" clId="{0428C15A-4383-A648-B14C-4EFD75FFE0E0}" dt="2023-11-07T05:46:56.865" v="3232" actId="931"/>
          <ac:picMkLst>
            <pc:docMk/>
            <pc:sldMk cId="1676416836" sldId="403"/>
            <ac:picMk id="48" creationId="{ACCA28F1-6D81-CA84-A80B-B8B8664F086F}"/>
          </ac:picMkLst>
        </pc:picChg>
        <pc:picChg chg="add del mod">
          <ac:chgData name="Shreyan Datta Chakraborty" userId="8e16d80f-77aa-4ba5-b0e9-232e8980a100" providerId="ADAL" clId="{0428C15A-4383-A648-B14C-4EFD75FFE0E0}" dt="2023-11-07T05:53:23.387" v="3255" actId="478"/>
          <ac:picMkLst>
            <pc:docMk/>
            <pc:sldMk cId="1676416836" sldId="403"/>
            <ac:picMk id="58" creationId="{86ECD813-40B1-D4F2-54AA-05326AC0F5D7}"/>
          </ac:picMkLst>
        </pc:picChg>
        <pc:picChg chg="mod">
          <ac:chgData name="Shreyan Datta Chakraborty" userId="8e16d80f-77aa-4ba5-b0e9-232e8980a100" providerId="ADAL" clId="{0428C15A-4383-A648-B14C-4EFD75FFE0E0}" dt="2023-11-07T05:46:56.865" v="3232" actId="931"/>
          <ac:picMkLst>
            <pc:docMk/>
            <pc:sldMk cId="1676416836" sldId="403"/>
            <ac:picMk id="2091" creationId="{620B5D12-90F4-DBB4-839D-427790C55218}"/>
          </ac:picMkLst>
        </pc:picChg>
        <pc:picChg chg="del">
          <ac:chgData name="Shreyan Datta Chakraborty" userId="8e16d80f-77aa-4ba5-b0e9-232e8980a100" providerId="ADAL" clId="{0428C15A-4383-A648-B14C-4EFD75FFE0E0}" dt="2023-11-07T05:34:43.666" v="3230" actId="478"/>
          <ac:picMkLst>
            <pc:docMk/>
            <pc:sldMk cId="1676416836" sldId="403"/>
            <ac:picMk id="2093" creationId="{964A6324-08FB-E545-975E-E0891C30456D}"/>
          </ac:picMkLst>
        </pc:picChg>
      </pc:sldChg>
      <pc:sldChg chg="del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3829815887" sldId="404"/>
        </pc:sldMkLst>
      </pc:sldChg>
      <pc:sldChg chg="del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317629947" sldId="406"/>
        </pc:sldMkLst>
      </pc:sldChg>
      <pc:sldChg chg="modSp del">
        <pc:chgData name="Shreyan Datta Chakraborty" userId="8e16d80f-77aa-4ba5-b0e9-232e8980a100" providerId="ADAL" clId="{0428C15A-4383-A648-B14C-4EFD75FFE0E0}" dt="2023-11-08T21:57:10.949" v="7144" actId="2696"/>
        <pc:sldMkLst>
          <pc:docMk/>
          <pc:sldMk cId="445720472" sldId="407"/>
        </pc:sldMkLst>
        <pc:spChg chg="mod">
          <ac:chgData name="Shreyan Datta Chakraborty" userId="8e16d80f-77aa-4ba5-b0e9-232e8980a100" providerId="ADAL" clId="{0428C15A-4383-A648-B14C-4EFD75FFE0E0}" dt="2023-11-07T05:46:56.865" v="3232" actId="931"/>
          <ac:spMkLst>
            <pc:docMk/>
            <pc:sldMk cId="445720472" sldId="407"/>
            <ac:spMk id="68" creationId="{DE6EECEA-5CAB-A4B9-CA7A-C83AE3064BBC}"/>
          </ac:spMkLst>
        </pc:spChg>
        <pc:graphicFrameChg chg="mod">
          <ac:chgData name="Shreyan Datta Chakraborty" userId="8e16d80f-77aa-4ba5-b0e9-232e8980a100" providerId="ADAL" clId="{0428C15A-4383-A648-B14C-4EFD75FFE0E0}" dt="2023-11-07T05:46:56.865" v="3232" actId="931"/>
          <ac:graphicFrameMkLst>
            <pc:docMk/>
            <pc:sldMk cId="445720472" sldId="407"/>
            <ac:graphicFrameMk id="39" creationId="{28DCDA1C-8F8F-21BC-C453-5796D4B43BE6}"/>
          </ac:graphicFrameMkLst>
        </pc:graphicFrameChg>
        <pc:picChg chg="mod">
          <ac:chgData name="Shreyan Datta Chakraborty" userId="8e16d80f-77aa-4ba5-b0e9-232e8980a100" providerId="ADAL" clId="{0428C15A-4383-A648-B14C-4EFD75FFE0E0}" dt="2023-11-07T05:46:56.865" v="3232" actId="931"/>
          <ac:picMkLst>
            <pc:docMk/>
            <pc:sldMk cId="445720472" sldId="407"/>
            <ac:picMk id="40" creationId="{6060382B-D2C4-25C5-5C4F-25E02EFFD13A}"/>
          </ac:picMkLst>
        </pc:picChg>
      </pc:sldChg>
      <pc:sldChg chg="add">
        <pc:chgData name="Shreyan Datta Chakraborty" userId="8e16d80f-77aa-4ba5-b0e9-232e8980a100" providerId="ADAL" clId="{0428C15A-4383-A648-B14C-4EFD75FFE0E0}" dt="2023-11-08T21:57:14.947" v="7145"/>
        <pc:sldMkLst>
          <pc:docMk/>
          <pc:sldMk cId="528521342" sldId="407"/>
        </pc:sldMkLst>
      </pc:sldChg>
      <pc:sldChg chg="del">
        <pc:chgData name="Shreyan Datta Chakraborty" userId="8e16d80f-77aa-4ba5-b0e9-232e8980a100" providerId="ADAL" clId="{0428C15A-4383-A648-B14C-4EFD75FFE0E0}" dt="2023-11-07T20:09:59.821" v="4398" actId="2696"/>
        <pc:sldMkLst>
          <pc:docMk/>
          <pc:sldMk cId="814683666" sldId="408"/>
        </pc:sldMkLst>
      </pc:sldChg>
      <pc:sldChg chg="modSp mod">
        <pc:chgData name="Shreyan Datta Chakraborty" userId="8e16d80f-77aa-4ba5-b0e9-232e8980a100" providerId="ADAL" clId="{0428C15A-4383-A648-B14C-4EFD75FFE0E0}" dt="2023-11-07T20:16:07.567" v="4412" actId="113"/>
        <pc:sldMkLst>
          <pc:docMk/>
          <pc:sldMk cId="2733503652" sldId="409"/>
        </pc:sldMkLst>
        <pc:spChg chg="mod">
          <ac:chgData name="Shreyan Datta Chakraborty" userId="8e16d80f-77aa-4ba5-b0e9-232e8980a100" providerId="ADAL" clId="{0428C15A-4383-A648-B14C-4EFD75FFE0E0}" dt="2023-11-07T20:16:07.567" v="4412" actId="113"/>
          <ac:spMkLst>
            <pc:docMk/>
            <pc:sldMk cId="2733503652" sldId="409"/>
            <ac:spMk id="5" creationId="{A7B1CAE4-1752-C4BE-C6DF-642DFC6B21EF}"/>
          </ac:spMkLst>
        </pc:spChg>
      </pc:sldChg>
      <pc:sldChg chg="modSp mod">
        <pc:chgData name="Shreyan Datta Chakraborty" userId="8e16d80f-77aa-4ba5-b0e9-232e8980a100" providerId="ADAL" clId="{0428C15A-4383-A648-B14C-4EFD75FFE0E0}" dt="2023-11-07T20:15:58.211" v="4411" actId="113"/>
        <pc:sldMkLst>
          <pc:docMk/>
          <pc:sldMk cId="2813896743" sldId="410"/>
        </pc:sldMkLst>
        <pc:spChg chg="mod">
          <ac:chgData name="Shreyan Datta Chakraborty" userId="8e16d80f-77aa-4ba5-b0e9-232e8980a100" providerId="ADAL" clId="{0428C15A-4383-A648-B14C-4EFD75FFE0E0}" dt="2023-11-07T20:15:58.211" v="4411" actId="113"/>
          <ac:spMkLst>
            <pc:docMk/>
            <pc:sldMk cId="2813896743" sldId="410"/>
            <ac:spMk id="5" creationId="{A7B1CAE4-1752-C4BE-C6DF-642DFC6B21EF}"/>
          </ac:spMkLst>
        </pc:spChg>
      </pc:sldChg>
      <pc:sldChg chg="modSp mod">
        <pc:chgData name="Shreyan Datta Chakraborty" userId="8e16d80f-77aa-4ba5-b0e9-232e8980a100" providerId="ADAL" clId="{0428C15A-4383-A648-B14C-4EFD75FFE0E0}" dt="2023-11-07T19:58:46.651" v="4275" actId="113"/>
        <pc:sldMkLst>
          <pc:docMk/>
          <pc:sldMk cId="502713536" sldId="411"/>
        </pc:sldMkLst>
        <pc:spChg chg="mod">
          <ac:chgData name="Shreyan Datta Chakraborty" userId="8e16d80f-77aa-4ba5-b0e9-232e8980a100" providerId="ADAL" clId="{0428C15A-4383-A648-B14C-4EFD75FFE0E0}" dt="2023-11-07T19:58:46.651" v="4275" actId="113"/>
          <ac:spMkLst>
            <pc:docMk/>
            <pc:sldMk cId="502713536" sldId="411"/>
            <ac:spMk id="5" creationId="{A7B1CAE4-1752-C4BE-C6DF-642DFC6B21EF}"/>
          </ac:spMkLst>
        </pc:spChg>
      </pc:sldChg>
      <pc:sldChg chg="del modNotesTx">
        <pc:chgData name="Shreyan Datta Chakraborty" userId="8e16d80f-77aa-4ba5-b0e9-232e8980a100" providerId="ADAL" clId="{0428C15A-4383-A648-B14C-4EFD75FFE0E0}" dt="2023-11-08T21:47:04.077" v="6950" actId="2696"/>
        <pc:sldMkLst>
          <pc:docMk/>
          <pc:sldMk cId="3220425090" sldId="412"/>
        </pc:sldMkLst>
      </pc:sldChg>
      <pc:sldChg chg="del">
        <pc:chgData name="Shreyan Datta Chakraborty" userId="8e16d80f-77aa-4ba5-b0e9-232e8980a100" providerId="ADAL" clId="{0428C15A-4383-A648-B14C-4EFD75FFE0E0}" dt="2023-11-07T20:09:52.030" v="4397" actId="2696"/>
        <pc:sldMkLst>
          <pc:docMk/>
          <pc:sldMk cId="2232728838" sldId="414"/>
        </pc:sldMkLst>
      </pc:sldChg>
      <pc:sldChg chg="addSp delSp modSp del mod modNotesTx">
        <pc:chgData name="Shreyan Datta Chakraborty" userId="8e16d80f-77aa-4ba5-b0e9-232e8980a100" providerId="ADAL" clId="{0428C15A-4383-A648-B14C-4EFD75FFE0E0}" dt="2023-11-07T20:09:52.030" v="4397" actId="2696"/>
        <pc:sldMkLst>
          <pc:docMk/>
          <pc:sldMk cId="3821290079" sldId="415"/>
        </pc:sldMkLst>
        <pc:spChg chg="mod">
          <ac:chgData name="Shreyan Datta Chakraborty" userId="8e16d80f-77aa-4ba5-b0e9-232e8980a100" providerId="ADAL" clId="{0428C15A-4383-A648-B14C-4EFD75FFE0E0}" dt="2023-11-07T07:27:20.244" v="3982" actId="20577"/>
          <ac:spMkLst>
            <pc:docMk/>
            <pc:sldMk cId="3821290079" sldId="415"/>
            <ac:spMk id="3" creationId="{EF3C717F-5A0B-73C7-7CD3-859F5F0D320B}"/>
          </ac:spMkLst>
        </pc:spChg>
        <pc:spChg chg="add del mod">
          <ac:chgData name="Shreyan Datta Chakraborty" userId="8e16d80f-77aa-4ba5-b0e9-232e8980a100" providerId="ADAL" clId="{0428C15A-4383-A648-B14C-4EFD75FFE0E0}" dt="2023-11-07T07:27:15.446" v="3970" actId="478"/>
          <ac:spMkLst>
            <pc:docMk/>
            <pc:sldMk cId="3821290079" sldId="415"/>
            <ac:spMk id="10" creationId="{5E57E149-AE78-82EB-B50F-1A943E74FF6B}"/>
          </ac:spMkLst>
        </pc:spChg>
        <pc:picChg chg="add del mod">
          <ac:chgData name="Shreyan Datta Chakraborty" userId="8e16d80f-77aa-4ba5-b0e9-232e8980a100" providerId="ADAL" clId="{0428C15A-4383-A648-B14C-4EFD75FFE0E0}" dt="2023-11-07T07:04:54.711" v="3260"/>
          <ac:picMkLst>
            <pc:docMk/>
            <pc:sldMk cId="3821290079" sldId="415"/>
            <ac:picMk id="7" creationId="{A393B1AB-6D68-52BD-7A90-9134370BE2AE}"/>
          </ac:picMkLst>
        </pc:picChg>
      </pc:sldChg>
      <pc:sldChg chg="modSp del mod modNotesTx">
        <pc:chgData name="Shreyan Datta Chakraborty" userId="8e16d80f-77aa-4ba5-b0e9-232e8980a100" providerId="ADAL" clId="{0428C15A-4383-A648-B14C-4EFD75FFE0E0}" dt="2023-11-07T20:09:52.030" v="4397" actId="2696"/>
        <pc:sldMkLst>
          <pc:docMk/>
          <pc:sldMk cId="744705912" sldId="416"/>
        </pc:sldMkLst>
        <pc:spChg chg="mod">
          <ac:chgData name="Shreyan Datta Chakraborty" userId="8e16d80f-77aa-4ba5-b0e9-232e8980a100" providerId="ADAL" clId="{0428C15A-4383-A648-B14C-4EFD75FFE0E0}" dt="2023-11-07T07:36:16.699" v="4021" actId="20577"/>
          <ac:spMkLst>
            <pc:docMk/>
            <pc:sldMk cId="744705912" sldId="416"/>
            <ac:spMk id="10" creationId="{CCD5A843-DC6E-EDB1-0981-3A8CCE0DB0C7}"/>
          </ac:spMkLst>
        </pc:spChg>
      </pc:sldChg>
      <pc:sldChg chg="modSp del mod modNotesTx">
        <pc:chgData name="Shreyan Datta Chakraborty" userId="8e16d80f-77aa-4ba5-b0e9-232e8980a100" providerId="ADAL" clId="{0428C15A-4383-A648-B14C-4EFD75FFE0E0}" dt="2023-11-07T20:09:52.030" v="4397" actId="2696"/>
        <pc:sldMkLst>
          <pc:docMk/>
          <pc:sldMk cId="4036631968" sldId="417"/>
        </pc:sldMkLst>
        <pc:spChg chg="mod">
          <ac:chgData name="Shreyan Datta Chakraborty" userId="8e16d80f-77aa-4ba5-b0e9-232e8980a100" providerId="ADAL" clId="{0428C15A-4383-A648-B14C-4EFD75FFE0E0}" dt="2023-11-07T07:39:46.708" v="4076" actId="20577"/>
          <ac:spMkLst>
            <pc:docMk/>
            <pc:sldMk cId="4036631968" sldId="417"/>
            <ac:spMk id="5" creationId="{DC079336-7F63-F69C-98F8-8D70B32F88DE}"/>
          </ac:spMkLst>
        </pc:spChg>
      </pc:sldChg>
      <pc:sldChg chg="modSp del mod modNotesTx">
        <pc:chgData name="Shreyan Datta Chakraborty" userId="8e16d80f-77aa-4ba5-b0e9-232e8980a100" providerId="ADAL" clId="{0428C15A-4383-A648-B14C-4EFD75FFE0E0}" dt="2023-11-07T20:09:52.030" v="4397" actId="2696"/>
        <pc:sldMkLst>
          <pc:docMk/>
          <pc:sldMk cId="1609032400" sldId="418"/>
        </pc:sldMkLst>
        <pc:spChg chg="mod">
          <ac:chgData name="Shreyan Datta Chakraborty" userId="8e16d80f-77aa-4ba5-b0e9-232e8980a100" providerId="ADAL" clId="{0428C15A-4383-A648-B14C-4EFD75FFE0E0}" dt="2023-11-07T08:08:37.282" v="4092" actId="20577"/>
          <ac:spMkLst>
            <pc:docMk/>
            <pc:sldMk cId="1609032400" sldId="418"/>
            <ac:spMk id="10" creationId="{8EE9066C-850D-CE47-43F7-EBB52D8AD095}"/>
          </ac:spMkLst>
        </pc:spChg>
      </pc:sldChg>
      <pc:sldChg chg="addSp modSp modNotesTx">
        <pc:chgData name="Shreyan Datta Chakraborty" userId="8e16d80f-77aa-4ba5-b0e9-232e8980a100" providerId="ADAL" clId="{0428C15A-4383-A648-B14C-4EFD75FFE0E0}" dt="2023-11-07T23:46:44.403" v="5133"/>
        <pc:sldMkLst>
          <pc:docMk/>
          <pc:sldMk cId="2538916289" sldId="420"/>
        </pc:sldMkLst>
        <pc:spChg chg="add mod">
          <ac:chgData name="Shreyan Datta Chakraborty" userId="8e16d80f-77aa-4ba5-b0e9-232e8980a100" providerId="ADAL" clId="{0428C15A-4383-A648-B14C-4EFD75FFE0E0}" dt="2023-11-07T23:46:44.403" v="5133"/>
          <ac:spMkLst>
            <pc:docMk/>
            <pc:sldMk cId="2538916289" sldId="420"/>
            <ac:spMk id="2" creationId="{AAB06D3B-D1A1-A266-68CF-0325D8C521D1}"/>
          </ac:spMkLst>
        </pc:spChg>
      </pc:sldChg>
      <pc:sldChg chg="addSp delSp modSp mod addCm delCm modCm modNotesTx">
        <pc:chgData name="Shreyan Datta Chakraborty" userId="8e16d80f-77aa-4ba5-b0e9-232e8980a100" providerId="ADAL" clId="{0428C15A-4383-A648-B14C-4EFD75FFE0E0}" dt="2023-11-08T08:37:56.366" v="6030" actId="20577"/>
        <pc:sldMkLst>
          <pc:docMk/>
          <pc:sldMk cId="120109526" sldId="421"/>
        </pc:sldMkLst>
        <pc:spChg chg="add del mod">
          <ac:chgData name="Shreyan Datta Chakraborty" userId="8e16d80f-77aa-4ba5-b0e9-232e8980a100" providerId="ADAL" clId="{0428C15A-4383-A648-B14C-4EFD75FFE0E0}" dt="2023-11-08T01:53:37.019" v="5284"/>
          <ac:spMkLst>
            <pc:docMk/>
            <pc:sldMk cId="120109526" sldId="421"/>
            <ac:spMk id="5" creationId="{E0E9B4F9-B4DF-9DE7-BC95-17DC27497B11}"/>
          </ac:spMkLst>
        </pc:spChg>
      </pc:sldChg>
      <pc:sldChg chg="delSp modSp mod modNotesTx">
        <pc:chgData name="Shreyan Datta Chakraborty" userId="8e16d80f-77aa-4ba5-b0e9-232e8980a100" providerId="ADAL" clId="{0428C15A-4383-A648-B14C-4EFD75FFE0E0}" dt="2023-11-08T08:38:00.488" v="6031" actId="20577"/>
        <pc:sldMkLst>
          <pc:docMk/>
          <pc:sldMk cId="494903265" sldId="422"/>
        </pc:sldMkLst>
        <pc:spChg chg="mod topLvl">
          <ac:chgData name="Shreyan Datta Chakraborty" userId="8e16d80f-77aa-4ba5-b0e9-232e8980a100" providerId="ADAL" clId="{0428C15A-4383-A648-B14C-4EFD75FFE0E0}" dt="2023-11-07T20:02:26.012" v="4349" actId="2711"/>
          <ac:spMkLst>
            <pc:docMk/>
            <pc:sldMk cId="494903265" sldId="422"/>
            <ac:spMk id="3" creationId="{EF3C717F-5A0B-73C7-7CD3-859F5F0D320B}"/>
          </ac:spMkLst>
        </pc:spChg>
        <pc:grpChg chg="del mod">
          <ac:chgData name="Shreyan Datta Chakraborty" userId="8e16d80f-77aa-4ba5-b0e9-232e8980a100" providerId="ADAL" clId="{0428C15A-4383-A648-B14C-4EFD75FFE0E0}" dt="2023-11-07T20:02:12.869" v="4347" actId="165"/>
          <ac:grpSpMkLst>
            <pc:docMk/>
            <pc:sldMk cId="494903265" sldId="422"/>
            <ac:grpSpMk id="9" creationId="{86DAD916-7714-3736-1E92-957EC211A9A1}"/>
          </ac:grpSpMkLst>
        </pc:grpChg>
        <pc:cxnChg chg="mod topLvl">
          <ac:chgData name="Shreyan Datta Chakraborty" userId="8e16d80f-77aa-4ba5-b0e9-232e8980a100" providerId="ADAL" clId="{0428C15A-4383-A648-B14C-4EFD75FFE0E0}" dt="2023-11-07T20:02:12.869" v="4347" actId="165"/>
          <ac:cxnSpMkLst>
            <pc:docMk/>
            <pc:sldMk cId="494903265" sldId="422"/>
            <ac:cxnSpMk id="5" creationId="{58DF68BF-296C-E179-D511-EF2464A6AF0E}"/>
          </ac:cxnSpMkLst>
        </pc:cxnChg>
      </pc:sldChg>
      <pc:sldChg chg="delSp modSp mod modNotesTx">
        <pc:chgData name="Shreyan Datta Chakraborty" userId="8e16d80f-77aa-4ba5-b0e9-232e8980a100" providerId="ADAL" clId="{0428C15A-4383-A648-B14C-4EFD75FFE0E0}" dt="2023-11-08T08:38:06.490" v="6032" actId="20577"/>
        <pc:sldMkLst>
          <pc:docMk/>
          <pc:sldMk cId="3501371982" sldId="423"/>
        </pc:sldMkLst>
        <pc:spChg chg="mod topLvl">
          <ac:chgData name="Shreyan Datta Chakraborty" userId="8e16d80f-77aa-4ba5-b0e9-232e8980a100" providerId="ADAL" clId="{0428C15A-4383-A648-B14C-4EFD75FFE0E0}" dt="2023-11-08T04:55:09.508" v="5774" actId="2711"/>
          <ac:spMkLst>
            <pc:docMk/>
            <pc:sldMk cId="3501371982" sldId="423"/>
            <ac:spMk id="10" creationId="{CCD5A843-DC6E-EDB1-0981-3A8CCE0DB0C7}"/>
          </ac:spMkLst>
        </pc:spChg>
        <pc:grpChg chg="del mod">
          <ac:chgData name="Shreyan Datta Chakraborty" userId="8e16d80f-77aa-4ba5-b0e9-232e8980a100" providerId="ADAL" clId="{0428C15A-4383-A648-B14C-4EFD75FFE0E0}" dt="2023-11-07T20:02:50.542" v="4356" actId="165"/>
          <ac:grpSpMkLst>
            <pc:docMk/>
            <pc:sldMk cId="3501371982" sldId="423"/>
            <ac:grpSpMk id="7" creationId="{50C6A75D-2DE1-B637-3B23-7EBBB0AE2536}"/>
          </ac:grpSpMkLst>
        </pc:grpChg>
        <pc:cxnChg chg="mod topLvl">
          <ac:chgData name="Shreyan Datta Chakraborty" userId="8e16d80f-77aa-4ba5-b0e9-232e8980a100" providerId="ADAL" clId="{0428C15A-4383-A648-B14C-4EFD75FFE0E0}" dt="2023-11-07T20:02:50.542" v="4356" actId="165"/>
          <ac:cxnSpMkLst>
            <pc:docMk/>
            <pc:sldMk cId="3501371982" sldId="423"/>
            <ac:cxnSpMk id="11" creationId="{E0732898-375F-E2E5-595C-2B34AD5EBB5D}"/>
          </ac:cxnSpMkLst>
        </pc:cxnChg>
      </pc:sldChg>
      <pc:sldChg chg="delSp modSp mod modNotesTx">
        <pc:chgData name="Shreyan Datta Chakraborty" userId="8e16d80f-77aa-4ba5-b0e9-232e8980a100" providerId="ADAL" clId="{0428C15A-4383-A648-B14C-4EFD75FFE0E0}" dt="2023-11-08T08:38:12.320" v="6033" actId="20577"/>
        <pc:sldMkLst>
          <pc:docMk/>
          <pc:sldMk cId="3521844581" sldId="424"/>
        </pc:sldMkLst>
        <pc:spChg chg="mod topLvl">
          <ac:chgData name="Shreyan Datta Chakraborty" userId="8e16d80f-77aa-4ba5-b0e9-232e8980a100" providerId="ADAL" clId="{0428C15A-4383-A648-B14C-4EFD75FFE0E0}" dt="2023-11-08T04:56:53.456" v="5776" actId="2711"/>
          <ac:spMkLst>
            <pc:docMk/>
            <pc:sldMk cId="3521844581" sldId="424"/>
            <ac:spMk id="5" creationId="{DC079336-7F63-F69C-98F8-8D70B32F88DE}"/>
          </ac:spMkLst>
        </pc:spChg>
        <pc:grpChg chg="del">
          <ac:chgData name="Shreyan Datta Chakraborty" userId="8e16d80f-77aa-4ba5-b0e9-232e8980a100" providerId="ADAL" clId="{0428C15A-4383-A648-B14C-4EFD75FFE0E0}" dt="2023-11-07T20:04:29.752" v="4375" actId="165"/>
          <ac:grpSpMkLst>
            <pc:docMk/>
            <pc:sldMk cId="3521844581" sldId="424"/>
            <ac:grpSpMk id="3" creationId="{3C70EBFB-D553-68A0-1903-C5F503E364CA}"/>
          </ac:grpSpMkLst>
        </pc:grpChg>
        <pc:cxnChg chg="mod topLvl">
          <ac:chgData name="Shreyan Datta Chakraborty" userId="8e16d80f-77aa-4ba5-b0e9-232e8980a100" providerId="ADAL" clId="{0428C15A-4383-A648-B14C-4EFD75FFE0E0}" dt="2023-11-07T20:04:29.752" v="4375" actId="165"/>
          <ac:cxnSpMkLst>
            <pc:docMk/>
            <pc:sldMk cId="3521844581" sldId="424"/>
            <ac:cxnSpMk id="9" creationId="{359339DA-302F-8EC2-2A4C-3927B73A406F}"/>
          </ac:cxnSpMkLst>
        </pc:cxnChg>
      </pc:sldChg>
      <pc:sldChg chg="delSp modSp mod modNotesTx">
        <pc:chgData name="Shreyan Datta Chakraborty" userId="8e16d80f-77aa-4ba5-b0e9-232e8980a100" providerId="ADAL" clId="{0428C15A-4383-A648-B14C-4EFD75FFE0E0}" dt="2023-11-08T08:38:15.319" v="6034" actId="20577"/>
        <pc:sldMkLst>
          <pc:docMk/>
          <pc:sldMk cId="658758765" sldId="425"/>
        </pc:sldMkLst>
        <pc:spChg chg="mod topLvl">
          <ac:chgData name="Shreyan Datta Chakraborty" userId="8e16d80f-77aa-4ba5-b0e9-232e8980a100" providerId="ADAL" clId="{0428C15A-4383-A648-B14C-4EFD75FFE0E0}" dt="2023-11-07T20:05:43.897" v="4396" actId="1076"/>
          <ac:spMkLst>
            <pc:docMk/>
            <pc:sldMk cId="658758765" sldId="425"/>
            <ac:spMk id="10" creationId="{8EE9066C-850D-CE47-43F7-EBB52D8AD095}"/>
          </ac:spMkLst>
        </pc:spChg>
        <pc:grpChg chg="del">
          <ac:chgData name="Shreyan Datta Chakraborty" userId="8e16d80f-77aa-4ba5-b0e9-232e8980a100" providerId="ADAL" clId="{0428C15A-4383-A648-B14C-4EFD75FFE0E0}" dt="2023-11-07T20:05:18.157" v="4383" actId="165"/>
          <ac:grpSpMkLst>
            <pc:docMk/>
            <pc:sldMk cId="658758765" sldId="425"/>
            <ac:grpSpMk id="7" creationId="{639735D7-7E67-8FD7-A68B-FB8F07B45843}"/>
          </ac:grpSpMkLst>
        </pc:grpChg>
        <pc:cxnChg chg="mod topLvl">
          <ac:chgData name="Shreyan Datta Chakraborty" userId="8e16d80f-77aa-4ba5-b0e9-232e8980a100" providerId="ADAL" clId="{0428C15A-4383-A648-B14C-4EFD75FFE0E0}" dt="2023-11-07T20:05:18.157" v="4383" actId="165"/>
          <ac:cxnSpMkLst>
            <pc:docMk/>
            <pc:sldMk cId="658758765" sldId="425"/>
            <ac:cxnSpMk id="11" creationId="{0967AA3F-D90F-0895-AB76-967203AFFA19}"/>
          </ac:cxnSpMkLst>
        </pc:cxnChg>
      </pc:sldChg>
      <pc:sldChg chg="modNotesTx">
        <pc:chgData name="Shreyan Datta Chakraborty" userId="8e16d80f-77aa-4ba5-b0e9-232e8980a100" providerId="ADAL" clId="{0428C15A-4383-A648-B14C-4EFD75FFE0E0}" dt="2023-11-08T08:59:25.585" v="6111" actId="20577"/>
        <pc:sldMkLst>
          <pc:docMk/>
          <pc:sldMk cId="2905571673" sldId="427"/>
        </pc:sldMkLst>
      </pc:sldChg>
      <pc:sldChg chg="modSp mod">
        <pc:chgData name="Shreyan Datta Chakraborty" userId="8e16d80f-77aa-4ba5-b0e9-232e8980a100" providerId="ADAL" clId="{0428C15A-4383-A648-B14C-4EFD75FFE0E0}" dt="2023-11-08T06:16:22.590" v="5778" actId="2711"/>
        <pc:sldMkLst>
          <pc:docMk/>
          <pc:sldMk cId="1671997131" sldId="429"/>
        </pc:sldMkLst>
        <pc:spChg chg="mod">
          <ac:chgData name="Shreyan Datta Chakraborty" userId="8e16d80f-77aa-4ba5-b0e9-232e8980a100" providerId="ADAL" clId="{0428C15A-4383-A648-B14C-4EFD75FFE0E0}" dt="2023-11-08T06:16:22.590" v="5778" actId="2711"/>
          <ac:spMkLst>
            <pc:docMk/>
            <pc:sldMk cId="1671997131" sldId="429"/>
            <ac:spMk id="7" creationId="{0FAC2A42-EC52-34FA-3233-BCED39821B57}"/>
          </ac:spMkLst>
        </pc:spChg>
      </pc:sldChg>
      <pc:sldChg chg="modSp mod ord">
        <pc:chgData name="Shreyan Datta Chakraborty" userId="8e16d80f-77aa-4ba5-b0e9-232e8980a100" providerId="ADAL" clId="{0428C15A-4383-A648-B14C-4EFD75FFE0E0}" dt="2023-11-08T21:56:26.275" v="7143" actId="20578"/>
        <pc:sldMkLst>
          <pc:docMk/>
          <pc:sldMk cId="2084510560" sldId="434"/>
        </pc:sldMkLst>
        <pc:graphicFrameChg chg="mod modGraphic">
          <ac:chgData name="Shreyan Datta Chakraborty" userId="8e16d80f-77aa-4ba5-b0e9-232e8980a100" providerId="ADAL" clId="{0428C15A-4383-A648-B14C-4EFD75FFE0E0}" dt="2023-11-08T17:54:31.982" v="6617" actId="20577"/>
          <ac:graphicFrameMkLst>
            <pc:docMk/>
            <pc:sldMk cId="2084510560" sldId="434"/>
            <ac:graphicFrameMk id="3" creationId="{DF96594D-CAD9-9C59-D531-8C01290DDEEA}"/>
          </ac:graphicFrameMkLst>
        </pc:graphicFrameChg>
      </pc:sldChg>
      <pc:sldChg chg="addSp delSp modSp mod">
        <pc:chgData name="Shreyan Datta Chakraborty" userId="8e16d80f-77aa-4ba5-b0e9-232e8980a100" providerId="ADAL" clId="{0428C15A-4383-A648-B14C-4EFD75FFE0E0}" dt="2023-11-08T09:03:33.372" v="6149" actId="164"/>
        <pc:sldMkLst>
          <pc:docMk/>
          <pc:sldMk cId="1986792322" sldId="436"/>
        </pc:sldMkLst>
        <pc:spChg chg="add mod">
          <ac:chgData name="Shreyan Datta Chakraborty" userId="8e16d80f-77aa-4ba5-b0e9-232e8980a100" providerId="ADAL" clId="{0428C15A-4383-A648-B14C-4EFD75FFE0E0}" dt="2023-11-08T09:03:33.372" v="6149" actId="164"/>
          <ac:spMkLst>
            <pc:docMk/>
            <pc:sldMk cId="1986792322" sldId="436"/>
            <ac:spMk id="4" creationId="{2934D5B6-901D-27B1-3ED9-AAE652B4C4E2}"/>
          </ac:spMkLst>
        </pc:spChg>
        <pc:spChg chg="add del mod">
          <ac:chgData name="Shreyan Datta Chakraborty" userId="8e16d80f-77aa-4ba5-b0e9-232e8980a100" providerId="ADAL" clId="{0428C15A-4383-A648-B14C-4EFD75FFE0E0}" dt="2023-11-08T09:00:55.650" v="6116"/>
          <ac:spMkLst>
            <pc:docMk/>
            <pc:sldMk cId="1986792322" sldId="436"/>
            <ac:spMk id="5" creationId="{0693A418-7E23-64F5-9611-66CEDC672EDD}"/>
          </ac:spMkLst>
        </pc:spChg>
        <pc:spChg chg="add mod">
          <ac:chgData name="Shreyan Datta Chakraborty" userId="8e16d80f-77aa-4ba5-b0e9-232e8980a100" providerId="ADAL" clId="{0428C15A-4383-A648-B14C-4EFD75FFE0E0}" dt="2023-11-08T09:03:33.372" v="6149" actId="164"/>
          <ac:spMkLst>
            <pc:docMk/>
            <pc:sldMk cId="1986792322" sldId="436"/>
            <ac:spMk id="6" creationId="{4F1D8F52-68BC-B5C6-3901-DF52D4D397FF}"/>
          </ac:spMkLst>
        </pc:spChg>
        <pc:spChg chg="add del mod">
          <ac:chgData name="Shreyan Datta Chakraborty" userId="8e16d80f-77aa-4ba5-b0e9-232e8980a100" providerId="ADAL" clId="{0428C15A-4383-A648-B14C-4EFD75FFE0E0}" dt="2023-11-08T09:01:19.331" v="6122"/>
          <ac:spMkLst>
            <pc:docMk/>
            <pc:sldMk cId="1986792322" sldId="436"/>
            <ac:spMk id="7" creationId="{4A7DBDE2-8BD9-E931-C6E5-8DA11C6C7958}"/>
          </ac:spMkLst>
        </pc:spChg>
        <pc:spChg chg="add del mod">
          <ac:chgData name="Shreyan Datta Chakraborty" userId="8e16d80f-77aa-4ba5-b0e9-232e8980a100" providerId="ADAL" clId="{0428C15A-4383-A648-B14C-4EFD75FFE0E0}" dt="2023-11-08T09:01:21.812" v="6124"/>
          <ac:spMkLst>
            <pc:docMk/>
            <pc:sldMk cId="1986792322" sldId="436"/>
            <ac:spMk id="8" creationId="{071466B9-897D-8779-67FF-E49401DE1233}"/>
          </ac:spMkLst>
        </pc:spChg>
        <pc:spChg chg="add del mod">
          <ac:chgData name="Shreyan Datta Chakraborty" userId="8e16d80f-77aa-4ba5-b0e9-232e8980a100" providerId="ADAL" clId="{0428C15A-4383-A648-B14C-4EFD75FFE0E0}" dt="2023-11-08T09:01:45.103" v="6128"/>
          <ac:spMkLst>
            <pc:docMk/>
            <pc:sldMk cId="1986792322" sldId="436"/>
            <ac:spMk id="10" creationId="{A1413C95-5993-2D5E-32E5-2D955BE6991F}"/>
          </ac:spMkLst>
        </pc:spChg>
        <pc:spChg chg="add mod">
          <ac:chgData name="Shreyan Datta Chakraborty" userId="8e16d80f-77aa-4ba5-b0e9-232e8980a100" providerId="ADAL" clId="{0428C15A-4383-A648-B14C-4EFD75FFE0E0}" dt="2023-11-08T09:03:33.372" v="6149" actId="164"/>
          <ac:spMkLst>
            <pc:docMk/>
            <pc:sldMk cId="1986792322" sldId="436"/>
            <ac:spMk id="11" creationId="{5CEBFA49-B3E6-A437-4EB5-0BC2F5253592}"/>
          </ac:spMkLst>
        </pc:spChg>
        <pc:spChg chg="add mod">
          <ac:chgData name="Shreyan Datta Chakraborty" userId="8e16d80f-77aa-4ba5-b0e9-232e8980a100" providerId="ADAL" clId="{0428C15A-4383-A648-B14C-4EFD75FFE0E0}" dt="2023-11-08T09:03:33.372" v="6149" actId="164"/>
          <ac:spMkLst>
            <pc:docMk/>
            <pc:sldMk cId="1986792322" sldId="436"/>
            <ac:spMk id="12" creationId="{C6318FD6-602E-61F1-EA88-3EF32D1F1CF5}"/>
          </ac:spMkLst>
        </pc:spChg>
        <pc:spChg chg="add mod">
          <ac:chgData name="Shreyan Datta Chakraborty" userId="8e16d80f-77aa-4ba5-b0e9-232e8980a100" providerId="ADAL" clId="{0428C15A-4383-A648-B14C-4EFD75FFE0E0}" dt="2023-11-08T09:03:33.372" v="6149" actId="164"/>
          <ac:spMkLst>
            <pc:docMk/>
            <pc:sldMk cId="1986792322" sldId="436"/>
            <ac:spMk id="13" creationId="{1E58D354-1AAC-A7FE-36ED-F6F6EB8E18A6}"/>
          </ac:spMkLst>
        </pc:spChg>
        <pc:grpChg chg="add mod">
          <ac:chgData name="Shreyan Datta Chakraborty" userId="8e16d80f-77aa-4ba5-b0e9-232e8980a100" providerId="ADAL" clId="{0428C15A-4383-A648-B14C-4EFD75FFE0E0}" dt="2023-11-08T09:03:33.372" v="6149" actId="164"/>
          <ac:grpSpMkLst>
            <pc:docMk/>
            <pc:sldMk cId="1986792322" sldId="436"/>
            <ac:grpSpMk id="14" creationId="{81BFA6F2-56DD-6063-DC9D-211987CA7129}"/>
          </ac:grpSpMkLst>
        </pc:grpChg>
        <pc:picChg chg="mod">
          <ac:chgData name="Shreyan Datta Chakraborty" userId="8e16d80f-77aa-4ba5-b0e9-232e8980a100" providerId="ADAL" clId="{0428C15A-4383-A648-B14C-4EFD75FFE0E0}" dt="2023-11-08T09:03:33.372" v="6149" actId="164"/>
          <ac:picMkLst>
            <pc:docMk/>
            <pc:sldMk cId="1986792322" sldId="436"/>
            <ac:picMk id="2" creationId="{3F3FC441-01FB-424B-1AF7-A2D4A1B0D910}"/>
          </ac:picMkLst>
        </pc:picChg>
        <pc:picChg chg="add del mod">
          <ac:chgData name="Shreyan Datta Chakraborty" userId="8e16d80f-77aa-4ba5-b0e9-232e8980a100" providerId="ADAL" clId="{0428C15A-4383-A648-B14C-4EFD75FFE0E0}" dt="2023-11-08T09:03:16.700" v="6146" actId="478"/>
          <ac:picMkLst>
            <pc:docMk/>
            <pc:sldMk cId="1986792322" sldId="436"/>
            <ac:picMk id="9" creationId="{9EACEAC6-FCF6-DC5C-DBB3-CB47AD796033}"/>
          </ac:picMkLst>
        </pc:picChg>
      </pc:sldChg>
      <pc:sldChg chg="modSp mod">
        <pc:chgData name="Shreyan Datta Chakraborty" userId="8e16d80f-77aa-4ba5-b0e9-232e8980a100" providerId="ADAL" clId="{0428C15A-4383-A648-B14C-4EFD75FFE0E0}" dt="2023-11-08T21:10:57.870" v="6672" actId="115"/>
        <pc:sldMkLst>
          <pc:docMk/>
          <pc:sldMk cId="4287056248" sldId="437"/>
        </pc:sldMkLst>
        <pc:spChg chg="mod">
          <ac:chgData name="Shreyan Datta Chakraborty" userId="8e16d80f-77aa-4ba5-b0e9-232e8980a100" providerId="ADAL" clId="{0428C15A-4383-A648-B14C-4EFD75FFE0E0}" dt="2023-11-07T23:51:35.960" v="5251" actId="20577"/>
          <ac:spMkLst>
            <pc:docMk/>
            <pc:sldMk cId="4287056248" sldId="437"/>
            <ac:spMk id="25" creationId="{91448A82-D3F1-BCEF-9863-30B9F919645B}"/>
          </ac:spMkLst>
        </pc:spChg>
        <pc:graphicFrameChg chg="mod modGraphic">
          <ac:chgData name="Shreyan Datta Chakraborty" userId="8e16d80f-77aa-4ba5-b0e9-232e8980a100" providerId="ADAL" clId="{0428C15A-4383-A648-B14C-4EFD75FFE0E0}" dt="2023-11-08T21:10:57.870" v="6672" actId="115"/>
          <ac:graphicFrameMkLst>
            <pc:docMk/>
            <pc:sldMk cId="4287056248" sldId="437"/>
            <ac:graphicFrameMk id="3" creationId="{B604447E-CDB2-16E2-1900-C1D8C261E548}"/>
          </ac:graphicFrameMkLst>
        </pc:graphicFrameChg>
      </pc:sldChg>
      <pc:sldChg chg="modSp mod">
        <pc:chgData name="Shreyan Datta Chakraborty" userId="8e16d80f-77aa-4ba5-b0e9-232e8980a100" providerId="ADAL" clId="{0428C15A-4383-A648-B14C-4EFD75FFE0E0}" dt="2023-11-07T23:52:14.016" v="5268" actId="20577"/>
        <pc:sldMkLst>
          <pc:docMk/>
          <pc:sldMk cId="437343606" sldId="438"/>
        </pc:sldMkLst>
        <pc:spChg chg="mod">
          <ac:chgData name="Shreyan Datta Chakraborty" userId="8e16d80f-77aa-4ba5-b0e9-232e8980a100" providerId="ADAL" clId="{0428C15A-4383-A648-B14C-4EFD75FFE0E0}" dt="2023-11-07T23:52:14.016" v="5268" actId="20577"/>
          <ac:spMkLst>
            <pc:docMk/>
            <pc:sldMk cId="437343606" sldId="438"/>
            <ac:spMk id="25" creationId="{91448A82-D3F1-BCEF-9863-30B9F919645B}"/>
          </ac:spMkLst>
        </pc:spChg>
      </pc:sldChg>
      <pc:sldChg chg="addSp delSp modSp mod delAnim modAnim modNotesTx">
        <pc:chgData name="Shreyan Datta Chakraborty" userId="8e16d80f-77aa-4ba5-b0e9-232e8980a100" providerId="ADAL" clId="{0428C15A-4383-A648-B14C-4EFD75FFE0E0}" dt="2023-11-08T01:50:21.421" v="5279" actId="165"/>
        <pc:sldMkLst>
          <pc:docMk/>
          <pc:sldMk cId="745781653" sldId="440"/>
        </pc:sldMkLst>
        <pc:spChg chg="mod">
          <ac:chgData name="Shreyan Datta Chakraborty" userId="8e16d80f-77aa-4ba5-b0e9-232e8980a100" providerId="ADAL" clId="{0428C15A-4383-A648-B14C-4EFD75FFE0E0}" dt="2023-11-07T20:42:32.168" v="4452"/>
          <ac:spMkLst>
            <pc:docMk/>
            <pc:sldMk cId="745781653" sldId="440"/>
            <ac:spMk id="5" creationId="{AB45A576-0755-F21A-709D-C8DD3048959B}"/>
          </ac:spMkLst>
        </pc:spChg>
        <pc:spChg chg="mod">
          <ac:chgData name="Shreyan Datta Chakraborty" userId="8e16d80f-77aa-4ba5-b0e9-232e8980a100" providerId="ADAL" clId="{0428C15A-4383-A648-B14C-4EFD75FFE0E0}" dt="2023-11-07T20:42:32.168" v="4452"/>
          <ac:spMkLst>
            <pc:docMk/>
            <pc:sldMk cId="745781653" sldId="440"/>
            <ac:spMk id="6" creationId="{CD138A16-4F60-27F2-EC73-B5EBAE07DE53}"/>
          </ac:spMkLst>
        </pc:spChg>
        <pc:spChg chg="mod">
          <ac:chgData name="Shreyan Datta Chakraborty" userId="8e16d80f-77aa-4ba5-b0e9-232e8980a100" providerId="ADAL" clId="{0428C15A-4383-A648-B14C-4EFD75FFE0E0}" dt="2023-11-08T01:50:21.421" v="5279" actId="165"/>
          <ac:spMkLst>
            <pc:docMk/>
            <pc:sldMk cId="745781653" sldId="440"/>
            <ac:spMk id="74" creationId="{0D69362D-6C14-6F8D-F7A3-4C3A2AC45980}"/>
          </ac:spMkLst>
        </pc:spChg>
        <pc:spChg chg="mod">
          <ac:chgData name="Shreyan Datta Chakraborty" userId="8e16d80f-77aa-4ba5-b0e9-232e8980a100" providerId="ADAL" clId="{0428C15A-4383-A648-B14C-4EFD75FFE0E0}" dt="2023-11-08T01:50:21.421" v="5279" actId="165"/>
          <ac:spMkLst>
            <pc:docMk/>
            <pc:sldMk cId="745781653" sldId="440"/>
            <ac:spMk id="97" creationId="{0DAB9198-2FD6-9790-64A7-41B8E7E99799}"/>
          </ac:spMkLst>
        </pc:spChg>
        <pc:grpChg chg="add mod">
          <ac:chgData name="Shreyan Datta Chakraborty" userId="8e16d80f-77aa-4ba5-b0e9-232e8980a100" providerId="ADAL" clId="{0428C15A-4383-A648-B14C-4EFD75FFE0E0}" dt="2023-11-07T20:42:32.168" v="4452"/>
          <ac:grpSpMkLst>
            <pc:docMk/>
            <pc:sldMk cId="745781653" sldId="440"/>
            <ac:grpSpMk id="2" creationId="{B430094A-98D5-27A3-1199-DCAEF3C68758}"/>
          </ac:grpSpMkLst>
        </pc:grpChg>
        <pc:grpChg chg="del">
          <ac:chgData name="Shreyan Datta Chakraborty" userId="8e16d80f-77aa-4ba5-b0e9-232e8980a100" providerId="ADAL" clId="{0428C15A-4383-A648-B14C-4EFD75FFE0E0}" dt="2023-11-07T20:42:31.699" v="4451" actId="478"/>
          <ac:grpSpMkLst>
            <pc:docMk/>
            <pc:sldMk cId="745781653" sldId="440"/>
            <ac:grpSpMk id="123" creationId="{B8375871-C207-2BF1-C3DB-1023050B323C}"/>
          </ac:grpSpMkLst>
        </pc:grpChg>
        <pc:grpChg chg="mod topLvl">
          <ac:chgData name="Shreyan Datta Chakraborty" userId="8e16d80f-77aa-4ba5-b0e9-232e8980a100" providerId="ADAL" clId="{0428C15A-4383-A648-B14C-4EFD75FFE0E0}" dt="2023-11-08T01:50:21.421" v="5279" actId="165"/>
          <ac:grpSpMkLst>
            <pc:docMk/>
            <pc:sldMk cId="745781653" sldId="440"/>
            <ac:grpSpMk id="132" creationId="{CCED2F57-8C08-3DBB-2AF8-8C7094831511}"/>
          </ac:grpSpMkLst>
        </pc:grpChg>
        <pc:grpChg chg="add del mod">
          <ac:chgData name="Shreyan Datta Chakraborty" userId="8e16d80f-77aa-4ba5-b0e9-232e8980a100" providerId="ADAL" clId="{0428C15A-4383-A648-B14C-4EFD75FFE0E0}" dt="2023-11-08T01:50:21.421" v="5279" actId="165"/>
          <ac:grpSpMkLst>
            <pc:docMk/>
            <pc:sldMk cId="745781653" sldId="440"/>
            <ac:grpSpMk id="133" creationId="{C861B0B2-E791-3013-64DB-D5AA67A78B3A}"/>
          </ac:grpSpMkLst>
        </pc:grpChg>
        <pc:picChg chg="mod">
          <ac:chgData name="Shreyan Datta Chakraborty" userId="8e16d80f-77aa-4ba5-b0e9-232e8980a100" providerId="ADAL" clId="{0428C15A-4383-A648-B14C-4EFD75FFE0E0}" dt="2023-11-07T20:42:32.168" v="4452"/>
          <ac:picMkLst>
            <pc:docMk/>
            <pc:sldMk cId="745781653" sldId="440"/>
            <ac:picMk id="3" creationId="{9D48466C-0F60-458B-ECE6-113E14E9ECB5}"/>
          </ac:picMkLst>
        </pc:picChg>
        <pc:picChg chg="mod">
          <ac:chgData name="Shreyan Datta Chakraborty" userId="8e16d80f-77aa-4ba5-b0e9-232e8980a100" providerId="ADAL" clId="{0428C15A-4383-A648-B14C-4EFD75FFE0E0}" dt="2023-11-08T01:50:21.421" v="5279" actId="165"/>
          <ac:picMkLst>
            <pc:docMk/>
            <pc:sldMk cId="745781653" sldId="440"/>
            <ac:picMk id="96" creationId="{48768981-F5FE-1050-56A3-5B3C8FA350C8}"/>
          </ac:picMkLst>
        </pc:picChg>
        <pc:cxnChg chg="mod topLvl">
          <ac:chgData name="Shreyan Datta Chakraborty" userId="8e16d80f-77aa-4ba5-b0e9-232e8980a100" providerId="ADAL" clId="{0428C15A-4383-A648-B14C-4EFD75FFE0E0}" dt="2023-11-08T01:50:21.421" v="5279" actId="165"/>
          <ac:cxnSpMkLst>
            <pc:docMk/>
            <pc:sldMk cId="745781653" sldId="440"/>
            <ac:cxnSpMk id="54" creationId="{A4A1719C-3F65-EF78-8178-E5FF922A9FE8}"/>
          </ac:cxnSpMkLst>
        </pc:cxnChg>
      </pc:sldChg>
      <pc:sldChg chg="addSp delSp modSp mod modNotesTx">
        <pc:chgData name="Shreyan Datta Chakraborty" userId="8e16d80f-77aa-4ba5-b0e9-232e8980a100" providerId="ADAL" clId="{0428C15A-4383-A648-B14C-4EFD75FFE0E0}" dt="2023-11-07T20:42:59.501" v="4469"/>
        <pc:sldMkLst>
          <pc:docMk/>
          <pc:sldMk cId="333158483" sldId="442"/>
        </pc:sldMkLst>
        <pc:spChg chg="add del mod">
          <ac:chgData name="Shreyan Datta Chakraborty" userId="8e16d80f-77aa-4ba5-b0e9-232e8980a100" providerId="ADAL" clId="{0428C15A-4383-A648-B14C-4EFD75FFE0E0}" dt="2023-11-07T20:40:22.668" v="4418"/>
          <ac:spMkLst>
            <pc:docMk/>
            <pc:sldMk cId="333158483" sldId="442"/>
            <ac:spMk id="3" creationId="{AFF5722E-9208-F74A-AC7C-3AA0E7E251A6}"/>
          </ac:spMkLst>
        </pc:spChg>
        <pc:spChg chg="mod topLvl">
          <ac:chgData name="Shreyan Datta Chakraborty" userId="8e16d80f-77aa-4ba5-b0e9-232e8980a100" providerId="ADAL" clId="{0428C15A-4383-A648-B14C-4EFD75FFE0E0}" dt="2023-11-07T20:41:57.879" v="4443" actId="164"/>
          <ac:spMkLst>
            <pc:docMk/>
            <pc:sldMk cId="333158483" sldId="442"/>
            <ac:spMk id="90" creationId="{50357040-0E6D-E425-B355-92023A3EB7EE}"/>
          </ac:spMkLst>
        </pc:spChg>
        <pc:spChg chg="mod topLvl">
          <ac:chgData name="Shreyan Datta Chakraborty" userId="8e16d80f-77aa-4ba5-b0e9-232e8980a100" providerId="ADAL" clId="{0428C15A-4383-A648-B14C-4EFD75FFE0E0}" dt="2023-11-07T20:41:57.879" v="4443" actId="164"/>
          <ac:spMkLst>
            <pc:docMk/>
            <pc:sldMk cId="333158483" sldId="442"/>
            <ac:spMk id="103" creationId="{199C9C15-6CDE-85A2-F1BA-7C65D104A285}"/>
          </ac:spMkLst>
        </pc:spChg>
        <pc:grpChg chg="add mod">
          <ac:chgData name="Shreyan Datta Chakraborty" userId="8e16d80f-77aa-4ba5-b0e9-232e8980a100" providerId="ADAL" clId="{0428C15A-4383-A648-B14C-4EFD75FFE0E0}" dt="2023-11-07T20:41:57.879" v="4443" actId="164"/>
          <ac:grpSpMkLst>
            <pc:docMk/>
            <pc:sldMk cId="333158483" sldId="442"/>
            <ac:grpSpMk id="7" creationId="{97EBD3F7-7EDC-CC0E-7146-51749E324977}"/>
          </ac:grpSpMkLst>
        </pc:grpChg>
        <pc:grpChg chg="add del">
          <ac:chgData name="Shreyan Datta Chakraborty" userId="8e16d80f-77aa-4ba5-b0e9-232e8980a100" providerId="ADAL" clId="{0428C15A-4383-A648-B14C-4EFD75FFE0E0}" dt="2023-11-07T20:41:31.508" v="4439" actId="165"/>
          <ac:grpSpMkLst>
            <pc:docMk/>
            <pc:sldMk cId="333158483" sldId="442"/>
            <ac:grpSpMk id="123" creationId="{B8375871-C207-2BF1-C3DB-1023050B323C}"/>
          </ac:grpSpMkLst>
        </pc:grpChg>
        <pc:picChg chg="add del mod modCrop">
          <ac:chgData name="Shreyan Datta Chakraborty" userId="8e16d80f-77aa-4ba5-b0e9-232e8980a100" providerId="ADAL" clId="{0428C15A-4383-A648-B14C-4EFD75FFE0E0}" dt="2023-11-07T20:41:57.879" v="4443" actId="164"/>
          <ac:picMkLst>
            <pc:docMk/>
            <pc:sldMk cId="333158483" sldId="442"/>
            <ac:picMk id="6" creationId="{4DD8C0BA-5366-B688-7C55-74045FCFDC2B}"/>
          </ac:picMkLst>
        </pc:picChg>
        <pc:picChg chg="del mod topLvl">
          <ac:chgData name="Shreyan Datta Chakraborty" userId="8e16d80f-77aa-4ba5-b0e9-232e8980a100" providerId="ADAL" clId="{0428C15A-4383-A648-B14C-4EFD75FFE0E0}" dt="2023-11-07T20:41:44.819" v="4442" actId="478"/>
          <ac:picMkLst>
            <pc:docMk/>
            <pc:sldMk cId="333158483" sldId="442"/>
            <ac:picMk id="106" creationId="{C5DB582D-E9B7-F5D5-05A5-BB4572AFBE93}"/>
          </ac:picMkLst>
        </pc:picChg>
      </pc:sldChg>
      <pc:sldChg chg="addSp delSp modSp mod modNotesTx">
        <pc:chgData name="Shreyan Datta Chakraborty" userId="8e16d80f-77aa-4ba5-b0e9-232e8980a100" providerId="ADAL" clId="{0428C15A-4383-A648-B14C-4EFD75FFE0E0}" dt="2023-11-07T20:43:05.067" v="4470"/>
        <pc:sldMkLst>
          <pc:docMk/>
          <pc:sldMk cId="1824581935" sldId="444"/>
        </pc:sldMkLst>
        <pc:spChg chg="mod">
          <ac:chgData name="Shreyan Datta Chakraborty" userId="8e16d80f-77aa-4ba5-b0e9-232e8980a100" providerId="ADAL" clId="{0428C15A-4383-A648-B14C-4EFD75FFE0E0}" dt="2023-11-07T20:42:10.169" v="4444"/>
          <ac:spMkLst>
            <pc:docMk/>
            <pc:sldMk cId="1824581935" sldId="444"/>
            <ac:spMk id="6" creationId="{2DC48953-51C2-2139-B1CD-9388F9808503}"/>
          </ac:spMkLst>
        </pc:spChg>
        <pc:spChg chg="mod">
          <ac:chgData name="Shreyan Datta Chakraborty" userId="8e16d80f-77aa-4ba5-b0e9-232e8980a100" providerId="ADAL" clId="{0428C15A-4383-A648-B14C-4EFD75FFE0E0}" dt="2023-11-07T20:42:10.169" v="4444"/>
          <ac:spMkLst>
            <pc:docMk/>
            <pc:sldMk cId="1824581935" sldId="444"/>
            <ac:spMk id="7" creationId="{59280C51-31A4-BCAE-15EC-7E4313FF9FC2}"/>
          </ac:spMkLst>
        </pc:spChg>
        <pc:spChg chg="mod">
          <ac:chgData name="Shreyan Datta Chakraborty" userId="8e16d80f-77aa-4ba5-b0e9-232e8980a100" providerId="ADAL" clId="{0428C15A-4383-A648-B14C-4EFD75FFE0E0}" dt="2023-11-07T20:42:25.606" v="4450"/>
          <ac:spMkLst>
            <pc:docMk/>
            <pc:sldMk cId="1824581935" sldId="444"/>
            <ac:spMk id="10" creationId="{ECEAE3A9-272A-EFA5-3DD4-CB31E32BBDA3}"/>
          </ac:spMkLst>
        </pc:spChg>
        <pc:spChg chg="mod">
          <ac:chgData name="Shreyan Datta Chakraborty" userId="8e16d80f-77aa-4ba5-b0e9-232e8980a100" providerId="ADAL" clId="{0428C15A-4383-A648-B14C-4EFD75FFE0E0}" dt="2023-11-07T20:42:25.606" v="4450"/>
          <ac:spMkLst>
            <pc:docMk/>
            <pc:sldMk cId="1824581935" sldId="444"/>
            <ac:spMk id="11" creationId="{F5A29B1B-5BD5-FA4F-CF8F-2398419CC71F}"/>
          </ac:spMkLst>
        </pc:spChg>
        <pc:grpChg chg="add del mod">
          <ac:chgData name="Shreyan Datta Chakraborty" userId="8e16d80f-77aa-4ba5-b0e9-232e8980a100" providerId="ADAL" clId="{0428C15A-4383-A648-B14C-4EFD75FFE0E0}" dt="2023-11-07T20:42:21.058" v="4448" actId="478"/>
          <ac:grpSpMkLst>
            <pc:docMk/>
            <pc:sldMk cId="1824581935" sldId="444"/>
            <ac:grpSpMk id="3" creationId="{6A24A31D-F563-26F7-BB42-F4922F2A9511}"/>
          </ac:grpSpMkLst>
        </pc:grpChg>
        <pc:grpChg chg="add mod">
          <ac:chgData name="Shreyan Datta Chakraborty" userId="8e16d80f-77aa-4ba5-b0e9-232e8980a100" providerId="ADAL" clId="{0428C15A-4383-A648-B14C-4EFD75FFE0E0}" dt="2023-11-07T20:42:25.606" v="4450"/>
          <ac:grpSpMkLst>
            <pc:docMk/>
            <pc:sldMk cId="1824581935" sldId="444"/>
            <ac:grpSpMk id="8" creationId="{D7EBC2FB-793B-8177-456F-BF913D3E6015}"/>
          </ac:grpSpMkLst>
        </pc:grpChg>
        <pc:grpChg chg="del">
          <ac:chgData name="Shreyan Datta Chakraborty" userId="8e16d80f-77aa-4ba5-b0e9-232e8980a100" providerId="ADAL" clId="{0428C15A-4383-A648-B14C-4EFD75FFE0E0}" dt="2023-11-07T20:42:24.819" v="4449" actId="478"/>
          <ac:grpSpMkLst>
            <pc:docMk/>
            <pc:sldMk cId="1824581935" sldId="444"/>
            <ac:grpSpMk id="123" creationId="{B8375871-C207-2BF1-C3DB-1023050B323C}"/>
          </ac:grpSpMkLst>
        </pc:grpChg>
        <pc:picChg chg="mod">
          <ac:chgData name="Shreyan Datta Chakraborty" userId="8e16d80f-77aa-4ba5-b0e9-232e8980a100" providerId="ADAL" clId="{0428C15A-4383-A648-B14C-4EFD75FFE0E0}" dt="2023-11-07T20:42:10.169" v="4444"/>
          <ac:picMkLst>
            <pc:docMk/>
            <pc:sldMk cId="1824581935" sldId="444"/>
            <ac:picMk id="5" creationId="{31D5F05A-01AB-2D22-FD24-B19A59AD7406}"/>
          </ac:picMkLst>
        </pc:picChg>
        <pc:picChg chg="mod">
          <ac:chgData name="Shreyan Datta Chakraborty" userId="8e16d80f-77aa-4ba5-b0e9-232e8980a100" providerId="ADAL" clId="{0428C15A-4383-A648-B14C-4EFD75FFE0E0}" dt="2023-11-07T20:42:25.606" v="4450"/>
          <ac:picMkLst>
            <pc:docMk/>
            <pc:sldMk cId="1824581935" sldId="444"/>
            <ac:picMk id="9" creationId="{8E1F25D7-9E34-9CAD-58CB-43893273C21C}"/>
          </ac:picMkLst>
        </pc:picChg>
      </pc:sldChg>
      <pc:sldChg chg="modNotesTx">
        <pc:chgData name="Shreyan Datta Chakraborty" userId="8e16d80f-77aa-4ba5-b0e9-232e8980a100" providerId="ADAL" clId="{0428C15A-4383-A648-B14C-4EFD75FFE0E0}" dt="2023-11-07T23:05:49.780" v="4769" actId="20577"/>
        <pc:sldMkLst>
          <pc:docMk/>
          <pc:sldMk cId="3583304053" sldId="445"/>
        </pc:sldMkLst>
      </pc:sldChg>
      <pc:sldChg chg="modNotesTx">
        <pc:chgData name="Shreyan Datta Chakraborty" userId="8e16d80f-77aa-4ba5-b0e9-232e8980a100" providerId="ADAL" clId="{0428C15A-4383-A648-B14C-4EFD75FFE0E0}" dt="2023-11-07T20:44:11.544" v="4477" actId="20577"/>
        <pc:sldMkLst>
          <pc:docMk/>
          <pc:sldMk cId="3012727066" sldId="446"/>
        </pc:sldMkLst>
      </pc:sldChg>
      <pc:sldChg chg="modSp new mod">
        <pc:chgData name="Shreyan Datta Chakraborty" userId="8e16d80f-77aa-4ba5-b0e9-232e8980a100" providerId="ADAL" clId="{0428C15A-4383-A648-B14C-4EFD75FFE0E0}" dt="2023-11-07T23:45:59.370" v="5125" actId="20577"/>
        <pc:sldMkLst>
          <pc:docMk/>
          <pc:sldMk cId="3461975783" sldId="449"/>
        </pc:sldMkLst>
        <pc:spChg chg="mod">
          <ac:chgData name="Shreyan Datta Chakraborty" userId="8e16d80f-77aa-4ba5-b0e9-232e8980a100" providerId="ADAL" clId="{0428C15A-4383-A648-B14C-4EFD75FFE0E0}" dt="2023-11-07T23:45:59.370" v="5125" actId="20577"/>
          <ac:spMkLst>
            <pc:docMk/>
            <pc:sldMk cId="3461975783" sldId="449"/>
            <ac:spMk id="3" creationId="{72E3E6EA-111F-56AA-553A-86DC36436039}"/>
          </ac:spMkLst>
        </pc:spChg>
      </pc:sldChg>
      <pc:sldChg chg="add del">
        <pc:chgData name="Shreyan Datta Chakraborty" userId="8e16d80f-77aa-4ba5-b0e9-232e8980a100" providerId="ADAL" clId="{0428C15A-4383-A648-B14C-4EFD75FFE0E0}" dt="2023-11-07T23:45:23.345" v="5116" actId="2696"/>
        <pc:sldMkLst>
          <pc:docMk/>
          <pc:sldMk cId="4008683422" sldId="449"/>
        </pc:sldMkLst>
      </pc:sldChg>
      <pc:sldChg chg="addSp delSp modSp add mod">
        <pc:chgData name="Shreyan Datta Chakraborty" userId="8e16d80f-77aa-4ba5-b0e9-232e8980a100" providerId="ADAL" clId="{0428C15A-4383-A648-B14C-4EFD75FFE0E0}" dt="2023-11-08T17:10:36.675" v="6213" actId="20577"/>
        <pc:sldMkLst>
          <pc:docMk/>
          <pc:sldMk cId="3061916073" sldId="451"/>
        </pc:sldMkLst>
        <pc:spChg chg="mod">
          <ac:chgData name="Shreyan Datta Chakraborty" userId="8e16d80f-77aa-4ba5-b0e9-232e8980a100" providerId="ADAL" clId="{0428C15A-4383-A648-B14C-4EFD75FFE0E0}" dt="2023-11-08T02:28:24.427" v="5765" actId="20577"/>
          <ac:spMkLst>
            <pc:docMk/>
            <pc:sldMk cId="3061916073" sldId="451"/>
            <ac:spMk id="2" creationId="{280DBD70-EF42-7D89-3E51-0C4D906CA6BC}"/>
          </ac:spMkLst>
        </pc:spChg>
        <pc:spChg chg="mod">
          <ac:chgData name="Shreyan Datta Chakraborty" userId="8e16d80f-77aa-4ba5-b0e9-232e8980a100" providerId="ADAL" clId="{0428C15A-4383-A648-B14C-4EFD75FFE0E0}" dt="2023-11-08T02:26:57.913" v="5685"/>
          <ac:spMkLst>
            <pc:docMk/>
            <pc:sldMk cId="3061916073" sldId="451"/>
            <ac:spMk id="5" creationId="{48F49AA5-B017-FA7B-DDED-2FCA31B41CC9}"/>
          </ac:spMkLst>
        </pc:spChg>
        <pc:spChg chg="mod">
          <ac:chgData name="Shreyan Datta Chakraborty" userId="8e16d80f-77aa-4ba5-b0e9-232e8980a100" providerId="ADAL" clId="{0428C15A-4383-A648-B14C-4EFD75FFE0E0}" dt="2023-11-08T02:26:57.913" v="5685"/>
          <ac:spMkLst>
            <pc:docMk/>
            <pc:sldMk cId="3061916073" sldId="451"/>
            <ac:spMk id="6" creationId="{E061AA6A-4F44-D7F3-31FE-5AF0D598E8AC}"/>
          </ac:spMkLst>
        </pc:spChg>
        <pc:spChg chg="add mod">
          <ac:chgData name="Shreyan Datta Chakraborty" userId="8e16d80f-77aa-4ba5-b0e9-232e8980a100" providerId="ADAL" clId="{0428C15A-4383-A648-B14C-4EFD75FFE0E0}" dt="2023-11-08T17:10:36.675" v="6213" actId="20577"/>
          <ac:spMkLst>
            <pc:docMk/>
            <pc:sldMk cId="3061916073" sldId="451"/>
            <ac:spMk id="7" creationId="{FC62CB40-7539-6249-CFEF-D4283301FC83}"/>
          </ac:spMkLst>
        </pc:spChg>
        <pc:spChg chg="del mod">
          <ac:chgData name="Shreyan Datta Chakraborty" userId="8e16d80f-77aa-4ba5-b0e9-232e8980a100" providerId="ADAL" clId="{0428C15A-4383-A648-B14C-4EFD75FFE0E0}" dt="2023-11-08T02:27:20.473" v="5689" actId="478"/>
          <ac:spMkLst>
            <pc:docMk/>
            <pc:sldMk cId="3061916073" sldId="451"/>
            <ac:spMk id="395" creationId="{00000000-0000-0000-0000-000000000000}"/>
          </ac:spMkLst>
        </pc:spChg>
        <pc:grpChg chg="add mod">
          <ac:chgData name="Shreyan Datta Chakraborty" userId="8e16d80f-77aa-4ba5-b0e9-232e8980a100" providerId="ADAL" clId="{0428C15A-4383-A648-B14C-4EFD75FFE0E0}" dt="2023-11-08T02:27:28.822" v="5690" actId="164"/>
          <ac:grpSpMkLst>
            <pc:docMk/>
            <pc:sldMk cId="3061916073" sldId="451"/>
            <ac:grpSpMk id="3" creationId="{13FF722E-AAE1-69FE-79BB-E5EF188AD9DF}"/>
          </ac:grpSpMkLst>
        </pc:grpChg>
        <pc:grpChg chg="add mod">
          <ac:chgData name="Shreyan Datta Chakraborty" userId="8e16d80f-77aa-4ba5-b0e9-232e8980a100" providerId="ADAL" clId="{0428C15A-4383-A648-B14C-4EFD75FFE0E0}" dt="2023-11-08T02:27:55.298" v="5697" actId="1076"/>
          <ac:grpSpMkLst>
            <pc:docMk/>
            <pc:sldMk cId="3061916073" sldId="451"/>
            <ac:grpSpMk id="8" creationId="{5A72C544-FB3E-4073-EA06-3639AF3E9C0B}"/>
          </ac:grpSpMkLst>
        </pc:grpChg>
      </pc:sldChg>
      <pc:sldChg chg="add del">
        <pc:chgData name="Shreyan Datta Chakraborty" userId="8e16d80f-77aa-4ba5-b0e9-232e8980a100" providerId="ADAL" clId="{0428C15A-4383-A648-B14C-4EFD75FFE0E0}" dt="2023-11-08T08:51:53.120" v="6081" actId="2696"/>
        <pc:sldMkLst>
          <pc:docMk/>
          <pc:sldMk cId="515357534" sldId="452"/>
        </pc:sldMkLst>
      </pc:sldChg>
      <pc:sldChg chg="addSp delSp modSp del mod">
        <pc:chgData name="Shreyan Datta Chakraborty" userId="8e16d80f-77aa-4ba5-b0e9-232e8980a100" providerId="ADAL" clId="{0428C15A-4383-A648-B14C-4EFD75FFE0E0}" dt="2023-11-08T08:45:47.290" v="6038" actId="2696"/>
        <pc:sldMkLst>
          <pc:docMk/>
          <pc:sldMk cId="637327513" sldId="452"/>
        </pc:sldMkLst>
        <pc:spChg chg="add del">
          <ac:chgData name="Shreyan Datta Chakraborty" userId="8e16d80f-77aa-4ba5-b0e9-232e8980a100" providerId="ADAL" clId="{0428C15A-4383-A648-B14C-4EFD75FFE0E0}" dt="2023-11-08T08:18:34.681" v="5792" actId="22"/>
          <ac:spMkLst>
            <pc:docMk/>
            <pc:sldMk cId="637327513" sldId="452"/>
            <ac:spMk id="6" creationId="{FF63AAFC-DFE0-17C1-8E84-75A525CE2DF6}"/>
          </ac:spMkLst>
        </pc:spChg>
        <pc:spChg chg="add del mod">
          <ac:chgData name="Shreyan Datta Chakraborty" userId="8e16d80f-77aa-4ba5-b0e9-232e8980a100" providerId="ADAL" clId="{0428C15A-4383-A648-B14C-4EFD75FFE0E0}" dt="2023-11-08T08:27:09.369" v="5807" actId="767"/>
          <ac:spMkLst>
            <pc:docMk/>
            <pc:sldMk cId="637327513" sldId="452"/>
            <ac:spMk id="8" creationId="{5C7F6830-87AD-5603-E8F3-245606B66C7F}"/>
          </ac:spMkLst>
        </pc:spChg>
        <pc:spChg chg="add del mod">
          <ac:chgData name="Shreyan Datta Chakraborty" userId="8e16d80f-77aa-4ba5-b0e9-232e8980a100" providerId="ADAL" clId="{0428C15A-4383-A648-B14C-4EFD75FFE0E0}" dt="2023-11-08T08:29:28.663" v="5820" actId="478"/>
          <ac:spMkLst>
            <pc:docMk/>
            <pc:sldMk cId="637327513" sldId="452"/>
            <ac:spMk id="9" creationId="{58027542-679D-0919-1D8B-97B0C46BD282}"/>
          </ac:spMkLst>
        </pc:spChg>
        <pc:spChg chg="add del mod">
          <ac:chgData name="Shreyan Datta Chakraborty" userId="8e16d80f-77aa-4ba5-b0e9-232e8980a100" providerId="ADAL" clId="{0428C15A-4383-A648-B14C-4EFD75FFE0E0}" dt="2023-11-08T08:28:05.623" v="5811"/>
          <ac:spMkLst>
            <pc:docMk/>
            <pc:sldMk cId="637327513" sldId="452"/>
            <ac:spMk id="10" creationId="{9E9C4C27-E426-AFE9-3325-0BDE67BDC954}"/>
          </ac:spMkLst>
        </pc:spChg>
        <pc:spChg chg="add mod">
          <ac:chgData name="Shreyan Datta Chakraborty" userId="8e16d80f-77aa-4ba5-b0e9-232e8980a100" providerId="ADAL" clId="{0428C15A-4383-A648-B14C-4EFD75FFE0E0}" dt="2023-11-08T08:37:31.478" v="6029" actId="167"/>
          <ac:spMkLst>
            <pc:docMk/>
            <pc:sldMk cId="637327513" sldId="452"/>
            <ac:spMk id="11" creationId="{C133CE24-8F96-B508-501A-78858BA1A348}"/>
          </ac:spMkLst>
        </pc:spChg>
        <pc:graphicFrameChg chg="add del mod">
          <ac:chgData name="Shreyan Datta Chakraborty" userId="8e16d80f-77aa-4ba5-b0e9-232e8980a100" providerId="ADAL" clId="{0428C15A-4383-A648-B14C-4EFD75FFE0E0}" dt="2023-11-08T08:18:28.922" v="5789"/>
          <ac:graphicFrameMkLst>
            <pc:docMk/>
            <pc:sldMk cId="637327513" sldId="452"/>
            <ac:graphicFrameMk id="3" creationId="{7EAC16EB-18A7-B844-B12B-34FB431BC935}"/>
          </ac:graphicFrameMkLst>
        </pc:graphicFrameChg>
        <pc:graphicFrameChg chg="add mod modGraphic">
          <ac:chgData name="Shreyan Datta Chakraborty" userId="8e16d80f-77aa-4ba5-b0e9-232e8980a100" providerId="ADAL" clId="{0428C15A-4383-A648-B14C-4EFD75FFE0E0}" dt="2023-11-08T08:44:47.617" v="6036" actId="2711"/>
          <ac:graphicFrameMkLst>
            <pc:docMk/>
            <pc:sldMk cId="637327513" sldId="452"/>
            <ac:graphicFrameMk id="7" creationId="{D871C2CE-7486-57DD-D4AE-0283026661E0}"/>
          </ac:graphicFrameMkLst>
        </pc:graphicFrameChg>
      </pc:sldChg>
      <pc:sldChg chg="addSp modSp del mod modNotes">
        <pc:chgData name="Shreyan Datta Chakraborty" userId="8e16d80f-77aa-4ba5-b0e9-232e8980a100" providerId="ADAL" clId="{0428C15A-4383-A648-B14C-4EFD75FFE0E0}" dt="2023-11-08T22:06:37.025" v="7188" actId="2696"/>
        <pc:sldMkLst>
          <pc:docMk/>
          <pc:sldMk cId="1971886041" sldId="453"/>
        </pc:sldMkLst>
        <pc:spChg chg="add mod">
          <ac:chgData name="Shreyan Datta Chakraborty" userId="8e16d80f-77aa-4ba5-b0e9-232e8980a100" providerId="ADAL" clId="{0428C15A-4383-A648-B14C-4EFD75FFE0E0}" dt="2023-11-08T22:03:49.170" v="7187" actId="20577"/>
          <ac:spMkLst>
            <pc:docMk/>
            <pc:sldMk cId="1971886041" sldId="453"/>
            <ac:spMk id="5" creationId="{5C5361B4-484F-F8E7-34B0-3203444AFF00}"/>
          </ac:spMkLst>
        </pc:spChg>
      </pc:sldChg>
      <pc:sldChg chg="addSp modSp mod">
        <pc:chgData name="Shreyan Datta Chakraborty" userId="8e16d80f-77aa-4ba5-b0e9-232e8980a100" providerId="ADAL" clId="{0428C15A-4383-A648-B14C-4EFD75FFE0E0}" dt="2023-11-08T22:09:36.848" v="7213" actId="20577"/>
        <pc:sldMkLst>
          <pc:docMk/>
          <pc:sldMk cId="1422633457" sldId="457"/>
        </pc:sldMkLst>
        <pc:spChg chg="add mod">
          <ac:chgData name="Shreyan Datta Chakraborty" userId="8e16d80f-77aa-4ba5-b0e9-232e8980a100" providerId="ADAL" clId="{0428C15A-4383-A648-B14C-4EFD75FFE0E0}" dt="2023-11-08T22:09:36.848" v="7213" actId="20577"/>
          <ac:spMkLst>
            <pc:docMk/>
            <pc:sldMk cId="1422633457" sldId="457"/>
            <ac:spMk id="4" creationId="{119984D1-2C54-3088-E118-735368F69FAB}"/>
          </ac:spMkLst>
        </pc:spChg>
        <pc:spChg chg="mod">
          <ac:chgData name="Shreyan Datta Chakraborty" userId="8e16d80f-77aa-4ba5-b0e9-232e8980a100" providerId="ADAL" clId="{0428C15A-4383-A648-B14C-4EFD75FFE0E0}" dt="2023-11-08T06:36:27.714" v="5779" actId="20577"/>
          <ac:spMkLst>
            <pc:docMk/>
            <pc:sldMk cId="1422633457" sldId="457"/>
            <ac:spMk id="395" creationId="{00000000-0000-0000-0000-000000000000}"/>
          </ac:spMkLst>
        </pc:spChg>
      </pc:sldChg>
      <pc:sldChg chg="modNotesTx">
        <pc:chgData name="Shreyan Datta Chakraborty" userId="8e16d80f-77aa-4ba5-b0e9-232e8980a100" providerId="ADAL" clId="{0428C15A-4383-A648-B14C-4EFD75FFE0E0}" dt="2023-11-08T08:58:55.190" v="6106" actId="20577"/>
        <pc:sldMkLst>
          <pc:docMk/>
          <pc:sldMk cId="3654279583" sldId="461"/>
        </pc:sldMkLst>
      </pc:sldChg>
      <pc:sldChg chg="add del">
        <pc:chgData name="Shreyan Datta Chakraborty" userId="8e16d80f-77aa-4ba5-b0e9-232e8980a100" providerId="ADAL" clId="{0428C15A-4383-A648-B14C-4EFD75FFE0E0}" dt="2023-11-08T08:34:58.489" v="5921" actId="2696"/>
        <pc:sldMkLst>
          <pc:docMk/>
          <pc:sldMk cId="2730263557" sldId="462"/>
        </pc:sldMkLst>
      </pc:sldChg>
      <pc:sldChg chg="add del">
        <pc:chgData name="Shreyan Datta Chakraborty" userId="8e16d80f-77aa-4ba5-b0e9-232e8980a100" providerId="ADAL" clId="{0428C15A-4383-A648-B14C-4EFD75FFE0E0}" dt="2023-11-08T08:34:58.489" v="5921" actId="2696"/>
        <pc:sldMkLst>
          <pc:docMk/>
          <pc:sldMk cId="1928394446" sldId="463"/>
        </pc:sldMkLst>
      </pc:sldChg>
      <pc:sldChg chg="add del">
        <pc:chgData name="Shreyan Datta Chakraborty" userId="8e16d80f-77aa-4ba5-b0e9-232e8980a100" providerId="ADAL" clId="{0428C15A-4383-A648-B14C-4EFD75FFE0E0}" dt="2023-11-08T08:36:57.492" v="6025" actId="2696"/>
        <pc:sldMkLst>
          <pc:docMk/>
          <pc:sldMk cId="3400503734" sldId="464"/>
        </pc:sldMkLst>
      </pc:sldChg>
      <pc:sldChg chg="add del">
        <pc:chgData name="Shreyan Datta Chakraborty" userId="8e16d80f-77aa-4ba5-b0e9-232e8980a100" providerId="ADAL" clId="{0428C15A-4383-A648-B14C-4EFD75FFE0E0}" dt="2023-11-08T08:36:57.492" v="6025" actId="2696"/>
        <pc:sldMkLst>
          <pc:docMk/>
          <pc:sldMk cId="2029886277" sldId="465"/>
        </pc:sldMkLst>
      </pc:sldChg>
      <pc:sldChg chg="modNotesTx">
        <pc:chgData name="Shreyan Datta Chakraborty" userId="8e16d80f-77aa-4ba5-b0e9-232e8980a100" providerId="ADAL" clId="{0428C15A-4383-A648-B14C-4EFD75FFE0E0}" dt="2023-11-08T08:59:06.192" v="6109" actId="20577"/>
        <pc:sldMkLst>
          <pc:docMk/>
          <pc:sldMk cId="1487745011" sldId="466"/>
        </pc:sldMkLst>
      </pc:sldChg>
      <pc:sldChg chg="modNotesTx">
        <pc:chgData name="Shreyan Datta Chakraborty" userId="8e16d80f-77aa-4ba5-b0e9-232e8980a100" providerId="ADAL" clId="{0428C15A-4383-A648-B14C-4EFD75FFE0E0}" dt="2023-11-08T08:58:50.505" v="6105" actId="20577"/>
        <pc:sldMkLst>
          <pc:docMk/>
          <pc:sldMk cId="3887858075" sldId="467"/>
        </pc:sldMkLst>
      </pc:sldChg>
      <pc:sldChg chg="modNotesTx">
        <pc:chgData name="Shreyan Datta Chakraborty" userId="8e16d80f-77aa-4ba5-b0e9-232e8980a100" providerId="ADAL" clId="{0428C15A-4383-A648-B14C-4EFD75FFE0E0}" dt="2023-11-08T08:59:02.967" v="6108" actId="20577"/>
        <pc:sldMkLst>
          <pc:docMk/>
          <pc:sldMk cId="1476599744" sldId="468"/>
        </pc:sldMkLst>
      </pc:sldChg>
      <pc:sldChg chg="modNotesTx">
        <pc:chgData name="Shreyan Datta Chakraborty" userId="8e16d80f-77aa-4ba5-b0e9-232e8980a100" providerId="ADAL" clId="{0428C15A-4383-A648-B14C-4EFD75FFE0E0}" dt="2023-11-08T08:58:59.633" v="6107" actId="20577"/>
        <pc:sldMkLst>
          <pc:docMk/>
          <pc:sldMk cId="503182321" sldId="469"/>
        </pc:sldMkLst>
      </pc:sldChg>
      <pc:sldChg chg="del">
        <pc:chgData name="Shreyan Datta Chakraborty" userId="8e16d80f-77aa-4ba5-b0e9-232e8980a100" providerId="ADAL" clId="{0428C15A-4383-A648-B14C-4EFD75FFE0E0}" dt="2023-11-08T21:48:49.881" v="6955" actId="2696"/>
        <pc:sldMkLst>
          <pc:docMk/>
          <pc:sldMk cId="3153307447" sldId="470"/>
        </pc:sldMkLst>
      </pc:sldChg>
      <pc:sldChg chg="add ord">
        <pc:chgData name="Shreyan Datta Chakraborty" userId="8e16d80f-77aa-4ba5-b0e9-232e8980a100" providerId="ADAL" clId="{0428C15A-4383-A648-B14C-4EFD75FFE0E0}" dt="2023-11-08T22:03:09.940" v="7180"/>
        <pc:sldMkLst>
          <pc:docMk/>
          <pc:sldMk cId="3899210753" sldId="470"/>
        </pc:sldMkLst>
      </pc:sldChg>
      <pc:sldChg chg="del modNotesTx">
        <pc:chgData name="Shreyan Datta Chakraborty" userId="8e16d80f-77aa-4ba5-b0e9-232e8980a100" providerId="ADAL" clId="{0428C15A-4383-A648-B14C-4EFD75FFE0E0}" dt="2023-11-08T17:54:50.834" v="6618" actId="2696"/>
        <pc:sldMkLst>
          <pc:docMk/>
          <pc:sldMk cId="1425815505" sldId="471"/>
        </pc:sldMkLst>
      </pc:sldChg>
      <pc:sldChg chg="add">
        <pc:chgData name="Shreyan Datta Chakraborty" userId="8e16d80f-77aa-4ba5-b0e9-232e8980a100" providerId="ADAL" clId="{0428C15A-4383-A648-B14C-4EFD75FFE0E0}" dt="2023-11-08T21:57:14.947" v="7145"/>
        <pc:sldMkLst>
          <pc:docMk/>
          <pc:sldMk cId="961198796" sldId="472"/>
        </pc:sldMkLst>
      </pc:sldChg>
      <pc:sldChg chg="del">
        <pc:chgData name="Shreyan Datta Chakraborty" userId="8e16d80f-77aa-4ba5-b0e9-232e8980a100" providerId="ADAL" clId="{0428C15A-4383-A648-B14C-4EFD75FFE0E0}" dt="2023-11-08T21:58:33.729" v="7146" actId="2696"/>
        <pc:sldMkLst>
          <pc:docMk/>
          <pc:sldMk cId="1884393572" sldId="472"/>
        </pc:sldMkLst>
      </pc:sldChg>
      <pc:sldChg chg="modSp mod">
        <pc:chgData name="Shreyan Datta Chakraborty" userId="8e16d80f-77aa-4ba5-b0e9-232e8980a100" providerId="ADAL" clId="{0428C15A-4383-A648-B14C-4EFD75FFE0E0}" dt="2023-11-08T18:14:53.517" v="6620" actId="20577"/>
        <pc:sldMkLst>
          <pc:docMk/>
          <pc:sldMk cId="3496700648" sldId="473"/>
        </pc:sldMkLst>
        <pc:spChg chg="mod">
          <ac:chgData name="Shreyan Datta Chakraborty" userId="8e16d80f-77aa-4ba5-b0e9-232e8980a100" providerId="ADAL" clId="{0428C15A-4383-A648-B14C-4EFD75FFE0E0}" dt="2023-11-08T18:14:53.517" v="6620" actId="20577"/>
          <ac:spMkLst>
            <pc:docMk/>
            <pc:sldMk cId="3496700648" sldId="473"/>
            <ac:spMk id="8" creationId="{41780354-602E-0AF0-D2E9-381C9EE8F332}"/>
          </ac:spMkLst>
        </pc:spChg>
      </pc:sldChg>
      <pc:sldChg chg="del">
        <pc:chgData name="Shreyan Datta Chakraborty" userId="8e16d80f-77aa-4ba5-b0e9-232e8980a100" providerId="ADAL" clId="{0428C15A-4383-A648-B14C-4EFD75FFE0E0}" dt="2023-11-08T21:47:04.077" v="6950" actId="2696"/>
        <pc:sldMkLst>
          <pc:docMk/>
          <pc:sldMk cId="3182170248" sldId="475"/>
        </pc:sldMkLst>
      </pc:sldChg>
      <pc:sldChg chg="addSp modSp mod modNotes">
        <pc:chgData name="Shreyan Datta Chakraborty" userId="8e16d80f-77aa-4ba5-b0e9-232e8980a100" providerId="ADAL" clId="{0428C15A-4383-A648-B14C-4EFD75FFE0E0}" dt="2023-11-08T21:43:13.968" v="6949" actId="122"/>
        <pc:sldMkLst>
          <pc:docMk/>
          <pc:sldMk cId="85616894" sldId="479"/>
        </pc:sldMkLst>
        <pc:graphicFrameChg chg="add mod modGraphic">
          <ac:chgData name="Shreyan Datta Chakraborty" userId="8e16d80f-77aa-4ba5-b0e9-232e8980a100" providerId="ADAL" clId="{0428C15A-4383-A648-B14C-4EFD75FFE0E0}" dt="2023-11-08T21:43:13.968" v="6949" actId="122"/>
          <ac:graphicFrameMkLst>
            <pc:docMk/>
            <pc:sldMk cId="85616894" sldId="479"/>
            <ac:graphicFrameMk id="4" creationId="{018A1B8D-0BC5-0D67-2468-1203C0DB885D}"/>
          </ac:graphicFrameMkLst>
        </pc:graphicFrameChg>
        <pc:picChg chg="add mod">
          <ac:chgData name="Shreyan Datta Chakraborty" userId="8e16d80f-77aa-4ba5-b0e9-232e8980a100" providerId="ADAL" clId="{0428C15A-4383-A648-B14C-4EFD75FFE0E0}" dt="2023-11-08T21:41:55.181" v="6936" actId="1076"/>
          <ac:picMkLst>
            <pc:docMk/>
            <pc:sldMk cId="85616894" sldId="479"/>
            <ac:picMk id="6" creationId="{8B0D02FC-6D07-0FAB-A141-BAC50AE71E2D}"/>
          </ac:picMkLst>
        </pc:picChg>
        <pc:picChg chg="add mod">
          <ac:chgData name="Shreyan Datta Chakraborty" userId="8e16d80f-77aa-4ba5-b0e9-232e8980a100" providerId="ADAL" clId="{0428C15A-4383-A648-B14C-4EFD75FFE0E0}" dt="2023-11-08T21:41:57.436" v="6937" actId="1076"/>
          <ac:picMkLst>
            <pc:docMk/>
            <pc:sldMk cId="85616894" sldId="479"/>
            <ac:picMk id="7" creationId="{7D207926-81AD-FA65-D295-C202A31EBD65}"/>
          </ac:picMkLst>
        </pc:picChg>
        <pc:picChg chg="add mod">
          <ac:chgData name="Shreyan Datta Chakraborty" userId="8e16d80f-77aa-4ba5-b0e9-232e8980a100" providerId="ADAL" clId="{0428C15A-4383-A648-B14C-4EFD75FFE0E0}" dt="2023-11-08T21:42:00.314" v="6938" actId="1076"/>
          <ac:picMkLst>
            <pc:docMk/>
            <pc:sldMk cId="85616894" sldId="479"/>
            <ac:picMk id="9" creationId="{9FBA5BCA-127E-FE44-B018-2FC30118EB66}"/>
          </ac:picMkLst>
        </pc:picChg>
        <pc:picChg chg="add mod">
          <ac:chgData name="Shreyan Datta Chakraborty" userId="8e16d80f-77aa-4ba5-b0e9-232e8980a100" providerId="ADAL" clId="{0428C15A-4383-A648-B14C-4EFD75FFE0E0}" dt="2023-11-08T21:42:13.863" v="6943" actId="1076"/>
          <ac:picMkLst>
            <pc:docMk/>
            <pc:sldMk cId="85616894" sldId="479"/>
            <ac:picMk id="10" creationId="{F6BF226B-F65F-02FE-0CEB-BA188E7397A9}"/>
          </ac:picMkLst>
        </pc:picChg>
        <pc:picChg chg="add mod modCrop">
          <ac:chgData name="Shreyan Datta Chakraborty" userId="8e16d80f-77aa-4ba5-b0e9-232e8980a100" providerId="ADAL" clId="{0428C15A-4383-A648-B14C-4EFD75FFE0E0}" dt="2023-11-08T21:42:16.397" v="6944" actId="1076"/>
          <ac:picMkLst>
            <pc:docMk/>
            <pc:sldMk cId="85616894" sldId="479"/>
            <ac:picMk id="12" creationId="{8B88E730-B540-94D8-0E07-812F8245D7F1}"/>
          </ac:picMkLst>
        </pc:picChg>
        <pc:picChg chg="add mod modCrop">
          <ac:chgData name="Shreyan Datta Chakraborty" userId="8e16d80f-77aa-4ba5-b0e9-232e8980a100" providerId="ADAL" clId="{0428C15A-4383-A648-B14C-4EFD75FFE0E0}" dt="2023-11-08T21:42:19.430" v="6945" actId="1076"/>
          <ac:picMkLst>
            <pc:docMk/>
            <pc:sldMk cId="85616894" sldId="479"/>
            <ac:picMk id="13" creationId="{667DBC68-AF11-0E0C-834E-9F78C0E69221}"/>
          </ac:picMkLst>
        </pc:picChg>
        <pc:picChg chg="add mod">
          <ac:chgData name="Shreyan Datta Chakraborty" userId="8e16d80f-77aa-4ba5-b0e9-232e8980a100" providerId="ADAL" clId="{0428C15A-4383-A648-B14C-4EFD75FFE0E0}" dt="2023-11-08T21:42:02.748" v="6939" actId="1076"/>
          <ac:picMkLst>
            <pc:docMk/>
            <pc:sldMk cId="85616894" sldId="479"/>
            <ac:picMk id="15" creationId="{90252DA2-27F2-C3F5-7AD8-2A9EC2A71758}"/>
          </ac:picMkLst>
        </pc:picChg>
      </pc:sldChg>
      <pc:sldChg chg="new">
        <pc:chgData name="Shreyan Datta Chakraborty" userId="8e16d80f-77aa-4ba5-b0e9-232e8980a100" providerId="ADAL" clId="{0428C15A-4383-A648-B14C-4EFD75FFE0E0}" dt="2023-11-08T21:09:45.696" v="6659" actId="680"/>
        <pc:sldMkLst>
          <pc:docMk/>
          <pc:sldMk cId="210989627" sldId="479"/>
        </pc:sldMkLst>
      </pc:sldChg>
      <pc:sldChg chg="del">
        <pc:chgData name="Shreyan Datta Chakraborty" userId="8e16d80f-77aa-4ba5-b0e9-232e8980a100" providerId="ADAL" clId="{0428C15A-4383-A648-B14C-4EFD75FFE0E0}" dt="2023-11-08T21:10:02.094" v="6660" actId="2696"/>
        <pc:sldMkLst>
          <pc:docMk/>
          <pc:sldMk cId="210989627" sldId="480"/>
        </pc:sldMkLst>
      </pc:sldChg>
      <pc:sldChg chg="add ord">
        <pc:chgData name="Shreyan Datta Chakraborty" userId="8e16d80f-77aa-4ba5-b0e9-232e8980a100" providerId="ADAL" clId="{0428C15A-4383-A648-B14C-4EFD75FFE0E0}" dt="2023-11-08T22:03:09.940" v="7180"/>
        <pc:sldMkLst>
          <pc:docMk/>
          <pc:sldMk cId="1008347484" sldId="487"/>
        </pc:sldMkLst>
      </pc:sldChg>
      <pc:sldChg chg="add ord">
        <pc:chgData name="Shreyan Datta Chakraborty" userId="8e16d80f-77aa-4ba5-b0e9-232e8980a100" providerId="ADAL" clId="{0428C15A-4383-A648-B14C-4EFD75FFE0E0}" dt="2023-11-08T22:03:09.940" v="7180"/>
        <pc:sldMkLst>
          <pc:docMk/>
          <pc:sldMk cId="876163158" sldId="488"/>
        </pc:sldMkLst>
      </pc:sldChg>
      <pc:sldChg chg="add ord">
        <pc:chgData name="Shreyan Datta Chakraborty" userId="8e16d80f-77aa-4ba5-b0e9-232e8980a100" providerId="ADAL" clId="{0428C15A-4383-A648-B14C-4EFD75FFE0E0}" dt="2023-11-08T22:03:09.940" v="7180"/>
        <pc:sldMkLst>
          <pc:docMk/>
          <pc:sldMk cId="53695002" sldId="489"/>
        </pc:sldMkLst>
      </pc:sldChg>
      <pc:sldMasterChg chg="delSldLayout">
        <pc:chgData name="Shreyan Datta Chakraborty" userId="8e16d80f-77aa-4ba5-b0e9-232e8980a100" providerId="ADAL" clId="{0428C15A-4383-A648-B14C-4EFD75FFE0E0}" dt="2023-11-06T04:05:24.386" v="1765" actId="2696"/>
        <pc:sldMasterMkLst>
          <pc:docMk/>
          <pc:sldMasterMk cId="0" sldId="2147483678"/>
        </pc:sldMasterMkLst>
        <pc:sldLayoutChg chg="del">
          <pc:chgData name="Shreyan Datta Chakraborty" userId="8e16d80f-77aa-4ba5-b0e9-232e8980a100" providerId="ADAL" clId="{0428C15A-4383-A648-B14C-4EFD75FFE0E0}" dt="2023-11-06T04:05:24.386" v="1765" actId="2696"/>
          <pc:sldLayoutMkLst>
            <pc:docMk/>
            <pc:sldMasterMk cId="0" sldId="2147483678"/>
            <pc:sldLayoutMk cId="2209248226" sldId="2147483735"/>
          </pc:sldLayoutMkLst>
        </pc:sldLayoutChg>
      </pc:sldMasterChg>
    </pc:docChg>
  </pc:docChgLst>
  <pc:docChgLst>
    <pc:chgData name="Muchahary, Frankle" userId="0f2bf491-0617-4378-90b8-89af8fa381b9" providerId="ADAL" clId="{90877F19-00D2-4A00-8128-E78E36266C9A}"/>
    <pc:docChg chg="undo redo custSel addSld delSld modSld sldOrd delMainMaster modMainMaster addSection delSection modSection replTag">
      <pc:chgData name="Muchahary, Frankle" userId="0f2bf491-0617-4378-90b8-89af8fa381b9" providerId="ADAL" clId="{90877F19-00D2-4A00-8128-E78E36266C9A}" dt="2023-11-09T06:03:31.920" v="184157" actId="20577"/>
      <pc:docMkLst>
        <pc:docMk/>
      </pc:docMkLst>
      <pc:sldChg chg="modSp del mod">
        <pc:chgData name="Muchahary, Frankle" userId="0f2bf491-0617-4378-90b8-89af8fa381b9" providerId="ADAL" clId="{90877F19-00D2-4A00-8128-E78E36266C9A}" dt="2023-11-08T07:22:40.538" v="171293" actId="47"/>
        <pc:sldMkLst>
          <pc:docMk/>
          <pc:sldMk cId="0" sldId="256"/>
        </pc:sldMkLst>
        <pc:spChg chg="mod">
          <ac:chgData name="Muchahary, Frankle" userId="0f2bf491-0617-4378-90b8-89af8fa381b9" providerId="ADAL" clId="{90877F19-00D2-4A00-8128-E78E36266C9A}" dt="2023-11-08T06:03:57.437" v="163571" actId="20577"/>
          <ac:spMkLst>
            <pc:docMk/>
            <pc:sldMk cId="0" sldId="256"/>
            <ac:spMk id="396" creationId="{00000000-0000-0000-0000-000000000000}"/>
          </ac:spMkLst>
        </pc:spChg>
      </pc:sldChg>
      <pc:sldChg chg="add del">
        <pc:chgData name="Muchahary, Frankle" userId="0f2bf491-0617-4378-90b8-89af8fa381b9" providerId="ADAL" clId="{90877F19-00D2-4A00-8128-E78E36266C9A}" dt="2023-11-08T05:47:24.639" v="163043" actId="47"/>
        <pc:sldMkLst>
          <pc:docMk/>
          <pc:sldMk cId="0" sldId="257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58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59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0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1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2"/>
        </pc:sldMkLst>
      </pc:sldChg>
      <pc:sldChg chg="del">
        <pc:chgData name="Muchahary, Frankle" userId="0f2bf491-0617-4378-90b8-89af8fa381b9" providerId="ADAL" clId="{90877F19-00D2-4A00-8128-E78E36266C9A}" dt="2023-11-03T03:31:22.306" v="0" actId="2696"/>
        <pc:sldMkLst>
          <pc:docMk/>
          <pc:sldMk cId="1977195009" sldId="263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4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5"/>
        </pc:sldMkLst>
      </pc:sldChg>
      <pc:sldChg chg="add del mod modTransition modShow">
        <pc:chgData name="Muchahary, Frankle" userId="0f2bf491-0617-4378-90b8-89af8fa381b9" providerId="ADAL" clId="{90877F19-00D2-4A00-8128-E78E36266C9A}" dt="2023-11-08T05:48:59.308" v="163060" actId="47"/>
        <pc:sldMkLst>
          <pc:docMk/>
          <pc:sldMk cId="90826900" sldId="266"/>
        </pc:sldMkLst>
      </pc:sldChg>
      <pc:sldChg chg="del">
        <pc:chgData name="Muchahary, Frankle" userId="0f2bf491-0617-4378-90b8-89af8fa381b9" providerId="ADAL" clId="{90877F19-00D2-4A00-8128-E78E36266C9A}" dt="2023-11-03T03:31:22.306" v="0" actId="2696"/>
        <pc:sldMkLst>
          <pc:docMk/>
          <pc:sldMk cId="2102992376" sldId="267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68"/>
        </pc:sldMkLst>
      </pc:sldChg>
      <pc:sldChg chg="del">
        <pc:chgData name="Muchahary, Frankle" userId="0f2bf491-0617-4378-90b8-89af8fa381b9" providerId="ADAL" clId="{90877F19-00D2-4A00-8128-E78E36266C9A}" dt="2023-11-03T03:33:52.482" v="4" actId="2696"/>
        <pc:sldMkLst>
          <pc:docMk/>
          <pc:sldMk cId="3418042157" sldId="269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0"/>
        </pc:sldMkLst>
      </pc:sldChg>
      <pc:sldChg chg="add del">
        <pc:chgData name="Muchahary, Frankle" userId="0f2bf491-0617-4378-90b8-89af8fa381b9" providerId="ADAL" clId="{90877F19-00D2-4A00-8128-E78E36266C9A}" dt="2023-11-03T03:33:52.482" v="4" actId="2696"/>
        <pc:sldMkLst>
          <pc:docMk/>
          <pc:sldMk cId="2011350010" sldId="271"/>
        </pc:sldMkLst>
      </pc:sldChg>
      <pc:sldChg chg="del">
        <pc:chgData name="Muchahary, Frankle" userId="0f2bf491-0617-4378-90b8-89af8fa381b9" providerId="ADAL" clId="{90877F19-00D2-4A00-8128-E78E36266C9A}" dt="2023-11-03T03:33:46.870" v="2" actId="2696"/>
        <pc:sldMkLst>
          <pc:docMk/>
          <pc:sldMk cId="3895679521" sldId="271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2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3"/>
        </pc:sldMkLst>
      </pc:sldChg>
      <pc:sldChg chg="add del mod modTransition modShow">
        <pc:chgData name="Muchahary, Frankle" userId="0f2bf491-0617-4378-90b8-89af8fa381b9" providerId="ADAL" clId="{90877F19-00D2-4A00-8128-E78E36266C9A}" dt="2023-11-08T05:49:03.006" v="163062" actId="47"/>
        <pc:sldMkLst>
          <pc:docMk/>
          <pc:sldMk cId="2330763518" sldId="274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5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6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7"/>
        </pc:sldMkLst>
      </pc:sldChg>
      <pc:sldChg chg="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0" sldId="278"/>
        </pc:sldMkLst>
      </pc:sldChg>
      <pc:sldChg chg="del mod modTransition modShow">
        <pc:chgData name="Muchahary, Frankle" userId="0f2bf491-0617-4378-90b8-89af8fa381b9" providerId="ADAL" clId="{90877F19-00D2-4A00-8128-E78E36266C9A}" dt="2023-11-08T05:49:04.671" v="163063" actId="47"/>
        <pc:sldMkLst>
          <pc:docMk/>
          <pc:sldMk cId="0" sldId="279"/>
        </pc:sldMkLst>
      </pc:sldChg>
      <pc:sldChg chg="del mod modTransition modShow">
        <pc:chgData name="Muchahary, Frankle" userId="0f2bf491-0617-4378-90b8-89af8fa381b9" providerId="ADAL" clId="{90877F19-00D2-4A00-8128-E78E36266C9A}" dt="2023-11-08T05:49:06.120" v="163064" actId="47"/>
        <pc:sldMkLst>
          <pc:docMk/>
          <pc:sldMk cId="0" sldId="280"/>
        </pc:sldMkLst>
      </pc:sldChg>
      <pc:sldChg chg="del mod modTransition modShow">
        <pc:chgData name="Muchahary, Frankle" userId="0f2bf491-0617-4378-90b8-89af8fa381b9" providerId="ADAL" clId="{90877F19-00D2-4A00-8128-E78E36266C9A}" dt="2023-11-08T05:49:07.870" v="163065" actId="47"/>
        <pc:sldMkLst>
          <pc:docMk/>
          <pc:sldMk cId="0" sldId="281"/>
        </pc:sldMkLst>
      </pc:sldChg>
      <pc:sldChg chg="del mod modTransition modShow">
        <pc:chgData name="Muchahary, Frankle" userId="0f2bf491-0617-4378-90b8-89af8fa381b9" providerId="ADAL" clId="{90877F19-00D2-4A00-8128-E78E36266C9A}" dt="2023-11-08T05:49:09.604" v="163066" actId="47"/>
        <pc:sldMkLst>
          <pc:docMk/>
          <pc:sldMk cId="0" sldId="282"/>
        </pc:sldMkLst>
      </pc:sldChg>
      <pc:sldChg chg="del mod modTransition modShow">
        <pc:chgData name="Muchahary, Frankle" userId="0f2bf491-0617-4378-90b8-89af8fa381b9" providerId="ADAL" clId="{90877F19-00D2-4A00-8128-E78E36266C9A}" dt="2023-11-08T05:49:12.765" v="163067" actId="47"/>
        <pc:sldMkLst>
          <pc:docMk/>
          <pc:sldMk cId="0" sldId="283"/>
        </pc:sldMkLst>
      </pc:sldChg>
      <pc:sldChg chg="del mod modTransition modShow">
        <pc:chgData name="Muchahary, Frankle" userId="0f2bf491-0617-4378-90b8-89af8fa381b9" providerId="ADAL" clId="{90877F19-00D2-4A00-8128-E78E36266C9A}" dt="2023-11-08T05:49:14.351" v="163068" actId="47"/>
        <pc:sldMkLst>
          <pc:docMk/>
          <pc:sldMk cId="0" sldId="284"/>
        </pc:sldMkLst>
      </pc:sldChg>
      <pc:sldChg chg="modSp del mod modTransition modShow">
        <pc:chgData name="Muchahary, Frankle" userId="0f2bf491-0617-4378-90b8-89af8fa381b9" providerId="ADAL" clId="{90877F19-00D2-4A00-8128-E78E36266C9A}" dt="2023-11-06T07:50:33.373" v="157511"/>
        <pc:sldMkLst>
          <pc:docMk/>
          <pc:sldMk cId="3394454064" sldId="285"/>
        </pc:sldMkLst>
        <pc:grpChg chg="mod">
          <ac:chgData name="Muchahary, Frankle" userId="0f2bf491-0617-4378-90b8-89af8fa381b9" providerId="ADAL" clId="{90877F19-00D2-4A00-8128-E78E36266C9A}" dt="2023-11-04T02:50:46.730" v="43618" actId="1076"/>
          <ac:grpSpMkLst>
            <pc:docMk/>
            <pc:sldMk cId="3394454064" sldId="285"/>
            <ac:grpSpMk id="2462" creationId="{00000000-0000-0000-0000-000000000000}"/>
          </ac:grpSpMkLst>
        </pc:grpChg>
      </pc:sldChg>
      <pc:sldChg chg="del mod modTransition modShow">
        <pc:chgData name="Muchahary, Frankle" userId="0f2bf491-0617-4378-90b8-89af8fa381b9" providerId="ADAL" clId="{90877F19-00D2-4A00-8128-E78E36266C9A}" dt="2023-11-08T05:49:16.813" v="163069" actId="47"/>
        <pc:sldMkLst>
          <pc:docMk/>
          <pc:sldMk cId="0" sldId="286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87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88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89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0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1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2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3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4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5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6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7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8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299"/>
        </pc:sldMkLst>
      </pc:sldChg>
      <pc:sldChg chg="modSp add del mod modTransition modShow">
        <pc:chgData name="Muchahary, Frankle" userId="0f2bf491-0617-4378-90b8-89af8fa381b9" providerId="ADAL" clId="{90877F19-00D2-4A00-8128-E78E36266C9A}" dt="2023-11-08T05:49:00.684" v="163061" actId="47"/>
        <pc:sldMkLst>
          <pc:docMk/>
          <pc:sldMk cId="3134556399" sldId="300"/>
        </pc:sldMkLst>
        <pc:spChg chg="mod">
          <ac:chgData name="Muchahary, Frankle" userId="0f2bf491-0617-4378-90b8-89af8fa381b9" providerId="ADAL" clId="{90877F19-00D2-4A00-8128-E78E36266C9A}" dt="2023-11-03T05:20:39.641" v="17" actId="1076"/>
          <ac:spMkLst>
            <pc:docMk/>
            <pc:sldMk cId="3134556399" sldId="300"/>
            <ac:spMk id="867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3T05:20:35.377" v="16" actId="14100"/>
          <ac:spMkLst>
            <pc:docMk/>
            <pc:sldMk cId="3134556399" sldId="300"/>
            <ac:spMk id="873" creationId="{00000000-0000-0000-0000-000000000000}"/>
          </ac:spMkLst>
        </pc:spChg>
        <pc:grpChg chg="mod">
          <ac:chgData name="Muchahary, Frankle" userId="0f2bf491-0617-4378-90b8-89af8fa381b9" providerId="ADAL" clId="{90877F19-00D2-4A00-8128-E78E36266C9A}" dt="2023-11-03T05:20:30.182" v="14" actId="1076"/>
          <ac:grpSpMkLst>
            <pc:docMk/>
            <pc:sldMk cId="3134556399" sldId="300"/>
            <ac:grpSpMk id="866" creationId="{00000000-0000-0000-0000-000000000000}"/>
          </ac:grpSpMkLst>
        </pc:grpChg>
        <pc:grpChg chg="mod">
          <ac:chgData name="Muchahary, Frankle" userId="0f2bf491-0617-4378-90b8-89af8fa381b9" providerId="ADAL" clId="{90877F19-00D2-4A00-8128-E78E36266C9A}" dt="2023-11-03T05:20:24.189" v="13" actId="1076"/>
          <ac:grpSpMkLst>
            <pc:docMk/>
            <pc:sldMk cId="3134556399" sldId="300"/>
            <ac:grpSpMk id="872" creationId="{00000000-0000-0000-0000-000000000000}"/>
          </ac:grpSpMkLst>
        </pc:grpChg>
        <pc:grpChg chg="mod">
          <ac:chgData name="Muchahary, Frankle" userId="0f2bf491-0617-4378-90b8-89af8fa381b9" providerId="ADAL" clId="{90877F19-00D2-4A00-8128-E78E36266C9A}" dt="2023-11-04T06:05:04.288" v="46108" actId="1076"/>
          <ac:grpSpMkLst>
            <pc:docMk/>
            <pc:sldMk cId="3134556399" sldId="300"/>
            <ac:grpSpMk id="875" creationId="{00000000-0000-0000-0000-000000000000}"/>
          </ac:grpSpMkLst>
        </pc:grpChg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02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03"/>
        </pc:sldMkLst>
      </pc:sldChg>
      <pc:sldChg chg="addSp delSp modSp mod modClrScheme chgLayout">
        <pc:chgData name="Muchahary, Frankle" userId="0f2bf491-0617-4378-90b8-89af8fa381b9" providerId="ADAL" clId="{90877F19-00D2-4A00-8128-E78E36266C9A}" dt="2023-11-08T06:09:17.502" v="163710" actId="1076"/>
        <pc:sldMkLst>
          <pc:docMk/>
          <pc:sldMk cId="2852402234" sldId="305"/>
        </pc:sldMkLst>
        <pc:spChg chg="mod">
          <ac:chgData name="Muchahary, Frankle" userId="0f2bf491-0617-4378-90b8-89af8fa381b9" providerId="ADAL" clId="{90877F19-00D2-4A00-8128-E78E36266C9A}" dt="2023-11-08T06:09:17.502" v="163710" actId="1076"/>
          <ac:spMkLst>
            <pc:docMk/>
            <pc:sldMk cId="2852402234" sldId="305"/>
            <ac:spMk id="5" creationId="{65EE5DE2-25A8-9FF2-D893-AA0287323D2F}"/>
          </ac:spMkLst>
        </pc:spChg>
        <pc:spChg chg="add del">
          <ac:chgData name="Muchahary, Frankle" userId="0f2bf491-0617-4378-90b8-89af8fa381b9" providerId="ADAL" clId="{90877F19-00D2-4A00-8128-E78E36266C9A}" dt="2023-11-05T05:01:53.920" v="145641" actId="478"/>
          <ac:spMkLst>
            <pc:docMk/>
            <pc:sldMk cId="2852402234" sldId="305"/>
            <ac:spMk id="436" creationId="{12E9C6C2-AF37-D957-662C-422FA2B9668B}"/>
          </ac:spMkLst>
        </pc:spChg>
        <pc:spChg chg="add del mod">
          <ac:chgData name="Muchahary, Frankle" userId="0f2bf491-0617-4378-90b8-89af8fa381b9" providerId="ADAL" clId="{90877F19-00D2-4A00-8128-E78E36266C9A}" dt="2023-11-05T05:04:13.558" v="145644" actId="14861"/>
          <ac:spMkLst>
            <pc:docMk/>
            <pc:sldMk cId="2852402234" sldId="305"/>
            <ac:spMk id="438" creationId="{1AAAAB27-7821-2BEB-C5DE-C54705EE64E6}"/>
          </ac:spMkLst>
        </pc:spChg>
        <pc:spChg chg="mod">
          <ac:chgData name="Muchahary, Frankle" userId="0f2bf491-0617-4378-90b8-89af8fa381b9" providerId="ADAL" clId="{90877F19-00D2-4A00-8128-E78E36266C9A}" dt="2023-11-05T05:04:19.074" v="145645" actId="14861"/>
          <ac:spMkLst>
            <pc:docMk/>
            <pc:sldMk cId="2852402234" sldId="305"/>
            <ac:spMk id="439" creationId="{484C2201-8322-B9EA-4FCA-76FA1EFFE09D}"/>
          </ac:spMkLst>
        </pc:spChg>
        <pc:spChg chg="mod">
          <ac:chgData name="Muchahary, Frankle" userId="0f2bf491-0617-4378-90b8-89af8fa381b9" providerId="ADAL" clId="{90877F19-00D2-4A00-8128-E78E36266C9A}" dt="2023-11-05T05:04:30.467" v="145646" actId="14861"/>
          <ac:spMkLst>
            <pc:docMk/>
            <pc:sldMk cId="2852402234" sldId="305"/>
            <ac:spMk id="440" creationId="{EC5E42F1-5496-7AD2-1197-77ED18AF1572}"/>
          </ac:spMkLst>
        </pc:spChg>
      </pc:sldChg>
      <pc:sldChg chg="modSp add del mod modClrScheme chgLayout">
        <pc:chgData name="Muchahary, Frankle" userId="0f2bf491-0617-4378-90b8-89af8fa381b9" providerId="ADAL" clId="{90877F19-00D2-4A00-8128-E78E36266C9A}" dt="2023-11-08T05:48:54.534" v="163058" actId="47"/>
        <pc:sldMkLst>
          <pc:docMk/>
          <pc:sldMk cId="2679979960" sldId="306"/>
        </pc:sldMkLst>
        <pc:spChg chg="mod">
          <ac:chgData name="Muchahary, Frankle" userId="0f2bf491-0617-4378-90b8-89af8fa381b9" providerId="ADAL" clId="{90877F19-00D2-4A00-8128-E78E36266C9A}" dt="2023-11-04T03:30:46.947" v="44340" actId="207"/>
          <ac:spMkLst>
            <pc:docMk/>
            <pc:sldMk cId="2679979960" sldId="306"/>
            <ac:spMk id="422" creationId="{4AECBF77-60C8-FE2F-20BE-9C888A509250}"/>
          </ac:spMkLst>
        </pc:spChg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12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13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14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15"/>
        </pc:sldMkLst>
      </pc:sldChg>
      <pc:sldChg chg="del">
        <pc:chgData name="Muchahary, Frankle" userId="0f2bf491-0617-4378-90b8-89af8fa381b9" providerId="ADAL" clId="{90877F19-00D2-4A00-8128-E78E36266C9A}" dt="2023-11-08T05:51:40.395" v="163146" actId="47"/>
        <pc:sldMkLst>
          <pc:docMk/>
          <pc:sldMk cId="0" sldId="316"/>
        </pc:sldMkLst>
      </pc:sldChg>
      <pc:sldChg chg="addSp delSp modSp add del mod modClrScheme chgLayout">
        <pc:chgData name="Muchahary, Frankle" userId="0f2bf491-0617-4378-90b8-89af8fa381b9" providerId="ADAL" clId="{90877F19-00D2-4A00-8128-E78E36266C9A}" dt="2023-11-08T07:18:06.365" v="170973" actId="2696"/>
        <pc:sldMkLst>
          <pc:docMk/>
          <pc:sldMk cId="708553223" sldId="317"/>
        </pc:sldMkLst>
        <pc:spChg chg="add del mod modVis">
          <ac:chgData name="Muchahary, Frankle" userId="0f2bf491-0617-4378-90b8-89af8fa381b9" providerId="ADAL" clId="{90877F19-00D2-4A00-8128-E78E36266C9A}" dt="2023-11-05T18:08:41.935" v="148766"/>
          <ac:spMkLst>
            <pc:docMk/>
            <pc:sldMk cId="708553223" sldId="317"/>
            <ac:spMk id="2" creationId="{14740C7B-2263-7570-FC6E-1414328438D6}"/>
          </ac:spMkLst>
        </pc:spChg>
        <pc:spChg chg="add del mod modVis">
          <ac:chgData name="Muchahary, Frankle" userId="0f2bf491-0617-4378-90b8-89af8fa381b9" providerId="ADAL" clId="{90877F19-00D2-4A00-8128-E78E36266C9A}" dt="2023-11-04T03:07:43.707" v="43828" actId="962"/>
          <ac:spMkLst>
            <pc:docMk/>
            <pc:sldMk cId="708553223" sldId="317"/>
            <ac:spMk id="2" creationId="{14C021B8-88F5-52F0-5843-18469B5AE5CC}"/>
          </ac:spMkLst>
        </pc:spChg>
        <pc:spChg chg="add del mod modVis">
          <ac:chgData name="Muchahary, Frankle" userId="0f2bf491-0617-4378-90b8-89af8fa381b9" providerId="ADAL" clId="{90877F19-00D2-4A00-8128-E78E36266C9A}" dt="2023-11-05T02:56:29.064" v="128420"/>
          <ac:spMkLst>
            <pc:docMk/>
            <pc:sldMk cId="708553223" sldId="317"/>
            <ac:spMk id="2" creationId="{C7DA436C-B85C-9936-2914-DBF2A7837F7F}"/>
          </ac:spMkLst>
        </pc:spChg>
        <pc:spChg chg="add mod ord">
          <ac:chgData name="Muchahary, Frankle" userId="0f2bf491-0617-4378-90b8-89af8fa381b9" providerId="ADAL" clId="{90877F19-00D2-4A00-8128-E78E36266C9A}" dt="2023-11-08T07:17:25.100" v="170971" actId="1076"/>
          <ac:spMkLst>
            <pc:docMk/>
            <pc:sldMk cId="708553223" sldId="317"/>
            <ac:spMk id="2" creationId="{F1693066-BA0E-8528-DE36-4FA6ECBAEB1A}"/>
          </ac:spMkLst>
        </pc:spChg>
        <pc:spChg chg="add del mod ord">
          <ac:chgData name="Muchahary, Frankle" userId="0f2bf491-0617-4378-90b8-89af8fa381b9" providerId="ADAL" clId="{90877F19-00D2-4A00-8128-E78E36266C9A}" dt="2023-11-08T07:17:14.038" v="170958"/>
          <ac:spMkLst>
            <pc:docMk/>
            <pc:sldMk cId="708553223" sldId="317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4T03:27:44.196" v="44184"/>
          <ac:spMkLst>
            <pc:docMk/>
            <pc:sldMk cId="708553223" sldId="317"/>
            <ac:spMk id="5" creationId="{499B4CEC-8490-C24C-18DE-9D0579D19E32}"/>
          </ac:spMkLst>
        </pc:spChg>
        <pc:spChg chg="add del mod ord replST">
          <ac:chgData name="Muchahary, Frankle" userId="0f2bf491-0617-4378-90b8-89af8fa381b9" providerId="ADAL" clId="{90877F19-00D2-4A00-8128-E78E36266C9A}" dt="2023-11-05T18:08:40.350" v="147488"/>
          <ac:spMkLst>
            <pc:docMk/>
            <pc:sldMk cId="708553223" sldId="317"/>
            <ac:spMk id="5" creationId="{9CE9BBF8-C3B1-8518-50C5-FE6B4823C0F7}"/>
          </ac:spMkLst>
        </pc:spChg>
        <pc:spChg chg="add del mod modVis">
          <ac:chgData name="Muchahary, Frankle" userId="0f2bf491-0617-4378-90b8-89af8fa381b9" providerId="ADAL" clId="{90877F19-00D2-4A00-8128-E78E36266C9A}" dt="2023-11-07T19:53:04.424" v="159784"/>
          <ac:spMkLst>
            <pc:docMk/>
            <pc:sldMk cId="708553223" sldId="317"/>
            <ac:spMk id="5" creationId="{DE463260-F033-D1F4-FCF6-F54C0FE34D56}"/>
          </ac:spMkLst>
        </pc:spChg>
        <pc:spChg chg="add del mod ord replST">
          <ac:chgData name="Muchahary, Frankle" userId="0f2bf491-0617-4378-90b8-89af8fa381b9" providerId="ADAL" clId="{90877F19-00D2-4A00-8128-E78E36266C9A}" dt="2023-11-08T07:17:13.431" v="170192"/>
          <ac:spMkLst>
            <pc:docMk/>
            <pc:sldMk cId="708553223" sldId="317"/>
            <ac:spMk id="6" creationId="{17DD72F0-EC34-A0B5-2BC9-0D11991C2023}"/>
          </ac:spMkLst>
        </pc:spChg>
        <pc:spChg chg="add del mod">
          <ac:chgData name="Muchahary, Frankle" userId="0f2bf491-0617-4378-90b8-89af8fa381b9" providerId="ADAL" clId="{90877F19-00D2-4A00-8128-E78E36266C9A}" dt="2023-11-04T01:06:16.472" v="250" actId="478"/>
          <ac:spMkLst>
            <pc:docMk/>
            <pc:sldMk cId="708553223" sldId="317"/>
            <ac:spMk id="6" creationId="{1A2F5E95-AF70-3637-03A6-86D9BE534599}"/>
          </ac:spMkLst>
        </pc:spChg>
        <pc:spChg chg="add del mod modVis">
          <ac:chgData name="Muchahary, Frankle" userId="0f2bf491-0617-4378-90b8-89af8fa381b9" providerId="ADAL" clId="{90877F19-00D2-4A00-8128-E78E36266C9A}" dt="2023-11-04T03:27:47.951" v="44211"/>
          <ac:spMkLst>
            <pc:docMk/>
            <pc:sldMk cId="708553223" sldId="317"/>
            <ac:spMk id="6" creationId="{79029236-2ABE-E301-F4C4-4E2867C483BD}"/>
          </ac:spMkLst>
        </pc:spChg>
        <pc:spChg chg="add del mod ord replST">
          <ac:chgData name="Muchahary, Frankle" userId="0f2bf491-0617-4378-90b8-89af8fa381b9" providerId="ADAL" clId="{90877F19-00D2-4A00-8128-E78E36266C9A}" dt="2023-11-05T18:08:40.366" v="147504"/>
          <ac:spMkLst>
            <pc:docMk/>
            <pc:sldMk cId="708553223" sldId="317"/>
            <ac:spMk id="6" creationId="{CA906C78-8BAC-8496-BA7A-112ED1CD6459}"/>
          </ac:spMkLst>
        </pc:spChg>
        <pc:spChg chg="add del mod modVis">
          <ac:chgData name="Muchahary, Frankle" userId="0f2bf491-0617-4378-90b8-89af8fa381b9" providerId="ADAL" clId="{90877F19-00D2-4A00-8128-E78E36266C9A}" dt="2023-11-04T03:28:00.572" v="44238"/>
          <ac:spMkLst>
            <pc:docMk/>
            <pc:sldMk cId="708553223" sldId="317"/>
            <ac:spMk id="7" creationId="{57982FA2-FBCC-EC5B-AAC2-7454A41E9083}"/>
          </ac:spMkLst>
        </pc:spChg>
        <pc:spChg chg="add del mod replST">
          <ac:chgData name="Muchahary, Frankle" userId="0f2bf491-0617-4378-90b8-89af8fa381b9" providerId="ADAL" clId="{90877F19-00D2-4A00-8128-E78E36266C9A}" dt="2023-11-05T18:08:40.374" v="147519"/>
          <ac:spMkLst>
            <pc:docMk/>
            <pc:sldMk cId="708553223" sldId="317"/>
            <ac:spMk id="7" creationId="{64208E44-468E-2EE6-E3A3-225FFB9361E5}"/>
          </ac:spMkLst>
        </pc:spChg>
        <pc:spChg chg="add del mod ord replST">
          <ac:chgData name="Muchahary, Frankle" userId="0f2bf491-0617-4378-90b8-89af8fa381b9" providerId="ADAL" clId="{90877F19-00D2-4A00-8128-E78E36266C9A}" dt="2023-11-08T07:17:13.460" v="170208"/>
          <ac:spMkLst>
            <pc:docMk/>
            <pc:sldMk cId="708553223" sldId="317"/>
            <ac:spMk id="7" creationId="{B1079C2C-BAC7-64E6-6BAF-6B9F3219C6C9}"/>
          </ac:spMkLst>
        </pc:spChg>
        <pc:spChg chg="add del mod ord replST">
          <ac:chgData name="Muchahary, Frankle" userId="0f2bf491-0617-4378-90b8-89af8fa381b9" providerId="ADAL" clId="{90877F19-00D2-4A00-8128-E78E36266C9A}" dt="2023-11-05T18:08:40.380" v="147532"/>
          <ac:spMkLst>
            <pc:docMk/>
            <pc:sldMk cId="708553223" sldId="317"/>
            <ac:spMk id="8" creationId="{A0798D27-F0C8-98CB-E28D-DE94A22760FA}"/>
          </ac:spMkLst>
        </pc:spChg>
        <pc:spChg chg="add del mod modVis">
          <ac:chgData name="Muchahary, Frankle" userId="0f2bf491-0617-4378-90b8-89af8fa381b9" providerId="ADAL" clId="{90877F19-00D2-4A00-8128-E78E36266C9A}" dt="2023-11-04T03:28:01.503" v="44265"/>
          <ac:spMkLst>
            <pc:docMk/>
            <pc:sldMk cId="708553223" sldId="317"/>
            <ac:spMk id="8" creationId="{B2769F14-F119-8580-DD30-F17DA9F49F79}"/>
          </ac:spMkLst>
        </pc:spChg>
        <pc:spChg chg="add del mod replST">
          <ac:chgData name="Muchahary, Frankle" userId="0f2bf491-0617-4378-90b8-89af8fa381b9" providerId="ADAL" clId="{90877F19-00D2-4A00-8128-E78E36266C9A}" dt="2023-11-08T07:17:13.467" v="170223"/>
          <ac:spMkLst>
            <pc:docMk/>
            <pc:sldMk cId="708553223" sldId="317"/>
            <ac:spMk id="8" creationId="{C3096B83-1DEC-CA92-BC98-4D66D64AA1A4}"/>
          </ac:spMkLst>
        </pc:spChg>
        <pc:spChg chg="add del mod">
          <ac:chgData name="Muchahary, Frankle" userId="0f2bf491-0617-4378-90b8-89af8fa381b9" providerId="ADAL" clId="{90877F19-00D2-4A00-8128-E78E36266C9A}" dt="2023-11-04T01:06:28.375" v="268" actId="478"/>
          <ac:spMkLst>
            <pc:docMk/>
            <pc:sldMk cId="708553223" sldId="317"/>
            <ac:spMk id="8" creationId="{F90C5355-F05D-D900-2FA1-56594BAE89FB}"/>
          </ac:spMkLst>
        </pc:spChg>
        <pc:spChg chg="add del mod ord replST">
          <ac:chgData name="Muchahary, Frankle" userId="0f2bf491-0617-4378-90b8-89af8fa381b9" providerId="ADAL" clId="{90877F19-00D2-4A00-8128-E78E36266C9A}" dt="2023-11-05T18:08:40.389" v="147548"/>
          <ac:spMkLst>
            <pc:docMk/>
            <pc:sldMk cId="708553223" sldId="317"/>
            <ac:spMk id="9" creationId="{1B443362-0548-5D23-B2B1-DEC07104B6E7}"/>
          </ac:spMkLst>
        </pc:spChg>
        <pc:spChg chg="add del mod ord replST">
          <ac:chgData name="Muchahary, Frankle" userId="0f2bf491-0617-4378-90b8-89af8fa381b9" providerId="ADAL" clId="{90877F19-00D2-4A00-8128-E78E36266C9A}" dt="2023-11-08T07:17:13.478" v="170236"/>
          <ac:spMkLst>
            <pc:docMk/>
            <pc:sldMk cId="708553223" sldId="317"/>
            <ac:spMk id="9" creationId="{3C9149EF-57D6-33BB-50CB-0BA587C70E23}"/>
          </ac:spMkLst>
        </pc:spChg>
        <pc:spChg chg="add del mod modVis">
          <ac:chgData name="Muchahary, Frankle" userId="0f2bf491-0617-4378-90b8-89af8fa381b9" providerId="ADAL" clId="{90877F19-00D2-4A00-8128-E78E36266C9A}" dt="2023-11-04T03:28:03.563" v="44292"/>
          <ac:spMkLst>
            <pc:docMk/>
            <pc:sldMk cId="708553223" sldId="317"/>
            <ac:spMk id="9" creationId="{C0719ACC-0278-DBB9-83AE-F6C71F1D794B}"/>
          </ac:spMkLst>
        </pc:spChg>
        <pc:spChg chg="add del mod modVis">
          <ac:chgData name="Muchahary, Frankle" userId="0f2bf491-0617-4378-90b8-89af8fa381b9" providerId="ADAL" clId="{90877F19-00D2-4A00-8128-E78E36266C9A}" dt="2023-11-04T01:06:36.496" v="325"/>
          <ac:spMkLst>
            <pc:docMk/>
            <pc:sldMk cId="708553223" sldId="317"/>
            <ac:spMk id="9" creationId="{F6C9B995-9D5B-90AE-FD09-0B1E70AEFA7D}"/>
          </ac:spMkLst>
        </pc:spChg>
        <pc:spChg chg="add del mod replST">
          <ac:chgData name="Muchahary, Frankle" userId="0f2bf491-0617-4378-90b8-89af8fa381b9" providerId="ADAL" clId="{90877F19-00D2-4A00-8128-E78E36266C9A}" dt="2023-11-05T18:08:40.395" v="147563"/>
          <ac:spMkLst>
            <pc:docMk/>
            <pc:sldMk cId="708553223" sldId="317"/>
            <ac:spMk id="10" creationId="{8BFF9D43-C843-E76E-8564-BE9170B86E18}"/>
          </ac:spMkLst>
        </pc:spChg>
        <pc:spChg chg="add del mod modVis">
          <ac:chgData name="Muchahary, Frankle" userId="0f2bf491-0617-4378-90b8-89af8fa381b9" providerId="ADAL" clId="{90877F19-00D2-4A00-8128-E78E36266C9A}" dt="2023-11-04T01:06:41.341" v="366"/>
          <ac:spMkLst>
            <pc:docMk/>
            <pc:sldMk cId="708553223" sldId="317"/>
            <ac:spMk id="10" creationId="{BB6F2C5C-C2C8-8671-570E-088EDC65AAAC}"/>
          </ac:spMkLst>
        </pc:spChg>
        <pc:spChg chg="add del mod modVis">
          <ac:chgData name="Muchahary, Frankle" userId="0f2bf491-0617-4378-90b8-89af8fa381b9" providerId="ADAL" clId="{90877F19-00D2-4A00-8128-E78E36266C9A}" dt="2023-11-04T03:28:06.048" v="44319"/>
          <ac:spMkLst>
            <pc:docMk/>
            <pc:sldMk cId="708553223" sldId="317"/>
            <ac:spMk id="10" creationId="{E04614BF-4204-B07C-967E-4551487CF87E}"/>
          </ac:spMkLst>
        </pc:spChg>
        <pc:spChg chg="add del mod ord replST">
          <ac:chgData name="Muchahary, Frankle" userId="0f2bf491-0617-4378-90b8-89af8fa381b9" providerId="ADAL" clId="{90877F19-00D2-4A00-8128-E78E36266C9A}" dt="2023-11-08T07:17:13.485" v="170252"/>
          <ac:spMkLst>
            <pc:docMk/>
            <pc:sldMk cId="708553223" sldId="317"/>
            <ac:spMk id="10" creationId="{EB76C918-215E-2BD9-5285-825E2041601A}"/>
          </ac:spMkLst>
        </pc:spChg>
        <pc:spChg chg="add del mod modVis">
          <ac:chgData name="Muchahary, Frankle" userId="0f2bf491-0617-4378-90b8-89af8fa381b9" providerId="ADAL" clId="{90877F19-00D2-4A00-8128-E78E36266C9A}" dt="2023-11-04T01:06:44.459" v="407"/>
          <ac:spMkLst>
            <pc:docMk/>
            <pc:sldMk cId="708553223" sldId="317"/>
            <ac:spMk id="11" creationId="{0A4D5525-0FF8-5909-1557-9E17A11D226F}"/>
          </ac:spMkLst>
        </pc:spChg>
        <pc:spChg chg="add del mod replST">
          <ac:chgData name="Muchahary, Frankle" userId="0f2bf491-0617-4378-90b8-89af8fa381b9" providerId="ADAL" clId="{90877F19-00D2-4A00-8128-E78E36266C9A}" dt="2023-11-08T07:17:13.493" v="170267"/>
          <ac:spMkLst>
            <pc:docMk/>
            <pc:sldMk cId="708553223" sldId="317"/>
            <ac:spMk id="11" creationId="{0DB59F2C-20C8-A44C-77B9-AD2F642F4B51}"/>
          </ac:spMkLst>
        </pc:spChg>
        <pc:spChg chg="add del mod modVis">
          <ac:chgData name="Muchahary, Frankle" userId="0f2bf491-0617-4378-90b8-89af8fa381b9" providerId="ADAL" clId="{90877F19-00D2-4A00-8128-E78E36266C9A}" dt="2023-11-04T04:08:57.023" v="44518"/>
          <ac:spMkLst>
            <pc:docMk/>
            <pc:sldMk cId="708553223" sldId="317"/>
            <ac:spMk id="11" creationId="{66FFF333-6474-2999-AC9C-1FE22F0AB7B6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03" v="147576"/>
          <ac:spMkLst>
            <pc:docMk/>
            <pc:sldMk cId="708553223" sldId="317"/>
            <ac:spMk id="11" creationId="{FC7566E8-9B7C-4C43-382D-5617D7BCADC7}"/>
          </ac:spMkLst>
        </pc:spChg>
        <pc:spChg chg="add del mod modVis">
          <ac:chgData name="Muchahary, Frankle" userId="0f2bf491-0617-4378-90b8-89af8fa381b9" providerId="ADAL" clId="{90877F19-00D2-4A00-8128-E78E36266C9A}" dt="2023-11-04T01:06:46.602" v="437"/>
          <ac:spMkLst>
            <pc:docMk/>
            <pc:sldMk cId="708553223" sldId="317"/>
            <ac:spMk id="12" creationId="{2FD9FC5F-6039-0925-23F8-2C1F50450826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00" v="170280"/>
          <ac:spMkLst>
            <pc:docMk/>
            <pc:sldMk cId="708553223" sldId="317"/>
            <ac:spMk id="12" creationId="{4C888BC4-1800-9143-8756-375ADC02C12A}"/>
          </ac:spMkLst>
        </pc:spChg>
        <pc:spChg chg="add del mod replST">
          <ac:chgData name="Muchahary, Frankle" userId="0f2bf491-0617-4378-90b8-89af8fa381b9" providerId="ADAL" clId="{90877F19-00D2-4A00-8128-E78E36266C9A}" dt="2023-11-04T04:08:57.598" v="44529"/>
          <ac:spMkLst>
            <pc:docMk/>
            <pc:sldMk cId="708553223" sldId="317"/>
            <ac:spMk id="12" creationId="{EABF45C6-ACCE-5A7C-DAB2-185F2F9A5A38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11" v="147592"/>
          <ac:spMkLst>
            <pc:docMk/>
            <pc:sldMk cId="708553223" sldId="317"/>
            <ac:spMk id="12" creationId="{FCD19D71-995A-BC5A-3F31-FEC6895F61F8}"/>
          </ac:spMkLst>
        </pc:spChg>
        <pc:spChg chg="add del mod modVis">
          <ac:chgData name="Muchahary, Frankle" userId="0f2bf491-0617-4378-90b8-89af8fa381b9" providerId="ADAL" clId="{90877F19-00D2-4A00-8128-E78E36266C9A}" dt="2023-11-04T01:06:48.029" v="468"/>
          <ac:spMkLst>
            <pc:docMk/>
            <pc:sldMk cId="708553223" sldId="317"/>
            <ac:spMk id="13" creationId="{A6873089-EF1B-3838-8036-30B527963577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10" v="170296"/>
          <ac:spMkLst>
            <pc:docMk/>
            <pc:sldMk cId="708553223" sldId="317"/>
            <ac:spMk id="13" creationId="{B9FE2180-DC8F-A5C8-15E1-C91F0B09CDAE}"/>
          </ac:spMkLst>
        </pc:spChg>
        <pc:spChg chg="add del mod replST">
          <ac:chgData name="Muchahary, Frankle" userId="0f2bf491-0617-4378-90b8-89af8fa381b9" providerId="ADAL" clId="{90877F19-00D2-4A00-8128-E78E36266C9A}" dt="2023-11-05T18:08:40.420" v="147607"/>
          <ac:spMkLst>
            <pc:docMk/>
            <pc:sldMk cId="708553223" sldId="317"/>
            <ac:spMk id="13" creationId="{E1EC60C7-432D-7A96-7106-F5EFA9690D25}"/>
          </ac:spMkLst>
        </pc:spChg>
        <pc:spChg chg="add del mod modVis">
          <ac:chgData name="Muchahary, Frankle" userId="0f2bf491-0617-4378-90b8-89af8fa381b9" providerId="ADAL" clId="{90877F19-00D2-4A00-8128-E78E36266C9A}" dt="2023-11-04T01:06:50.208" v="503"/>
          <ac:spMkLst>
            <pc:docMk/>
            <pc:sldMk cId="708553223" sldId="317"/>
            <ac:spMk id="14" creationId="{2C5C8408-E285-2015-FA63-AD826C37C9D6}"/>
          </ac:spMkLst>
        </pc:spChg>
        <pc:spChg chg="add del mod replST">
          <ac:chgData name="Muchahary, Frankle" userId="0f2bf491-0617-4378-90b8-89af8fa381b9" providerId="ADAL" clId="{90877F19-00D2-4A00-8128-E78E36266C9A}" dt="2023-11-08T07:17:13.518" v="170311"/>
          <ac:spMkLst>
            <pc:docMk/>
            <pc:sldMk cId="708553223" sldId="317"/>
            <ac:spMk id="14" creationId="{B3B355AC-30A1-5B89-FDDB-2280072DE8F1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27" v="147623"/>
          <ac:spMkLst>
            <pc:docMk/>
            <pc:sldMk cId="708553223" sldId="317"/>
            <ac:spMk id="14" creationId="{C55C87E6-46CF-BE57-D14E-A7424B858A7B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26" v="170324"/>
          <ac:spMkLst>
            <pc:docMk/>
            <pc:sldMk cId="708553223" sldId="317"/>
            <ac:spMk id="15" creationId="{021B4E3D-822D-6C58-8699-28B113F2E5B0}"/>
          </ac:spMkLst>
        </pc:spChg>
        <pc:spChg chg="add del mod modVis">
          <ac:chgData name="Muchahary, Frankle" userId="0f2bf491-0617-4378-90b8-89af8fa381b9" providerId="ADAL" clId="{90877F19-00D2-4A00-8128-E78E36266C9A}" dt="2023-11-04T01:06:55.749" v="542"/>
          <ac:spMkLst>
            <pc:docMk/>
            <pc:sldMk cId="708553223" sldId="317"/>
            <ac:spMk id="15" creationId="{7EE7FBD3-038B-2433-EE1F-835907CD1644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25" v="147621"/>
          <ac:spMkLst>
            <pc:docMk/>
            <pc:sldMk cId="708553223" sldId="317"/>
            <ac:spMk id="15" creationId="{BC8A734D-401C-BA5E-A7B4-075A37D82163}"/>
          </ac:spMkLst>
        </pc:spChg>
        <pc:spChg chg="add del mod replST">
          <ac:chgData name="Muchahary, Frankle" userId="0f2bf491-0617-4378-90b8-89af8fa381b9" providerId="ADAL" clId="{90877F19-00D2-4A00-8128-E78E36266C9A}" dt="2023-11-05T18:08:40.425" v="147619"/>
          <ac:spMkLst>
            <pc:docMk/>
            <pc:sldMk cId="708553223" sldId="317"/>
            <ac:spMk id="16" creationId="{8962A90B-1284-4D46-CCAA-58D19FEA7010}"/>
          </ac:spMkLst>
        </pc:spChg>
        <pc:spChg chg="add del mod modVis">
          <ac:chgData name="Muchahary, Frankle" userId="0f2bf491-0617-4378-90b8-89af8fa381b9" providerId="ADAL" clId="{90877F19-00D2-4A00-8128-E78E36266C9A}" dt="2023-11-04T18:42:40.238" v="46389"/>
          <ac:spMkLst>
            <pc:docMk/>
            <pc:sldMk cId="708553223" sldId="317"/>
            <ac:spMk id="16" creationId="{9E6D2114-3FFD-EBFB-A24E-BC199FAB81DB}"/>
          </ac:spMkLst>
        </pc:spChg>
        <pc:spChg chg="add del mod modVis">
          <ac:chgData name="Muchahary, Frankle" userId="0f2bf491-0617-4378-90b8-89af8fa381b9" providerId="ADAL" clId="{90877F19-00D2-4A00-8128-E78E36266C9A}" dt="2023-11-04T01:07:00.513" v="592" actId="962"/>
          <ac:spMkLst>
            <pc:docMk/>
            <pc:sldMk cId="708553223" sldId="317"/>
            <ac:spMk id="16" creationId="{CAFA186E-C411-6965-781B-F7A1C7B981BE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34" v="170340"/>
          <ac:spMkLst>
            <pc:docMk/>
            <pc:sldMk cId="708553223" sldId="317"/>
            <ac:spMk id="16" creationId="{CB028573-603A-D4B1-A92F-EE71EB4DEC5B}"/>
          </ac:spMkLst>
        </pc:spChg>
        <pc:spChg chg="add del mod modVis">
          <ac:chgData name="Muchahary, Frankle" userId="0f2bf491-0617-4378-90b8-89af8fa381b9" providerId="ADAL" clId="{90877F19-00D2-4A00-8128-E78E36266C9A}" dt="2023-11-04T01:07:05.096" v="622"/>
          <ac:spMkLst>
            <pc:docMk/>
            <pc:sldMk cId="708553223" sldId="317"/>
            <ac:spMk id="17" creationId="{0D9046B1-5D34-DDEF-3B99-D5B12ACA71D5}"/>
          </ac:spMkLst>
        </pc:spChg>
        <pc:spChg chg="add del mod replST">
          <ac:chgData name="Muchahary, Frankle" userId="0f2bf491-0617-4378-90b8-89af8fa381b9" providerId="ADAL" clId="{90877F19-00D2-4A00-8128-E78E36266C9A}" dt="2023-11-08T07:17:13.543" v="170355"/>
          <ac:spMkLst>
            <pc:docMk/>
            <pc:sldMk cId="708553223" sldId="317"/>
            <ac:spMk id="17" creationId="{4AC8E8E6-27B6-1749-E496-DBFC46EF4474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28" v="147625"/>
          <ac:spMkLst>
            <pc:docMk/>
            <pc:sldMk cId="708553223" sldId="317"/>
            <ac:spMk id="17" creationId="{D5A699AC-66A2-0784-DFBE-25D671550572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51" v="170368"/>
          <ac:spMkLst>
            <pc:docMk/>
            <pc:sldMk cId="708553223" sldId="317"/>
            <ac:spMk id="18" creationId="{1F834F7F-6EB2-36F9-B69B-7269DBC24156}"/>
          </ac:spMkLst>
        </pc:spChg>
        <pc:spChg chg="add del mod replST">
          <ac:chgData name="Muchahary, Frankle" userId="0f2bf491-0617-4378-90b8-89af8fa381b9" providerId="ADAL" clId="{90877F19-00D2-4A00-8128-E78E36266C9A}" dt="2023-11-04T18:42:45.353" v="46542"/>
          <ac:spMkLst>
            <pc:docMk/>
            <pc:sldMk cId="708553223" sldId="317"/>
            <ac:spMk id="18" creationId="{500990D1-F355-2AEC-23EC-5E80C1A500AD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35" v="147641"/>
          <ac:spMkLst>
            <pc:docMk/>
            <pc:sldMk cId="708553223" sldId="317"/>
            <ac:spMk id="18" creationId="{8C828A55-91F0-5277-8E3D-286C9C5131F3}"/>
          </ac:spMkLst>
        </pc:spChg>
        <pc:spChg chg="add del mod modVis">
          <ac:chgData name="Muchahary, Frankle" userId="0f2bf491-0617-4378-90b8-89af8fa381b9" providerId="ADAL" clId="{90877F19-00D2-4A00-8128-E78E36266C9A}" dt="2023-11-04T01:07:12.940" v="672" actId="962"/>
          <ac:spMkLst>
            <pc:docMk/>
            <pc:sldMk cId="708553223" sldId="317"/>
            <ac:spMk id="18" creationId="{EC178D31-7DF2-9907-382F-86D8A992E864}"/>
          </ac:spMkLst>
        </pc:spChg>
        <pc:spChg chg="add del mod modVis">
          <ac:chgData name="Muchahary, Frankle" userId="0f2bf491-0617-4378-90b8-89af8fa381b9" providerId="ADAL" clId="{90877F19-00D2-4A00-8128-E78E36266C9A}" dt="2023-11-04T01:07:39.325" v="701"/>
          <ac:spMkLst>
            <pc:docMk/>
            <pc:sldMk cId="708553223" sldId="317"/>
            <ac:spMk id="19" creationId="{37E6CB64-036E-645F-5793-F3F893D894EE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60" v="170384"/>
          <ac:spMkLst>
            <pc:docMk/>
            <pc:sldMk cId="708553223" sldId="317"/>
            <ac:spMk id="19" creationId="{463194D1-3E7E-3787-B021-2C39AF9CF568}"/>
          </ac:spMkLst>
        </pc:spChg>
        <pc:spChg chg="add del mod modVis">
          <ac:chgData name="Muchahary, Frankle" userId="0f2bf491-0617-4378-90b8-89af8fa381b9" providerId="ADAL" clId="{90877F19-00D2-4A00-8128-E78E36266C9A}" dt="2023-11-04T18:42:43.918" v="46531"/>
          <ac:spMkLst>
            <pc:docMk/>
            <pc:sldMk cId="708553223" sldId="317"/>
            <ac:spMk id="19" creationId="{C3AF39B5-2EC5-7C07-6B92-AC668940243A}"/>
          </ac:spMkLst>
        </pc:spChg>
        <pc:spChg chg="add del mod replST">
          <ac:chgData name="Muchahary, Frankle" userId="0f2bf491-0617-4378-90b8-89af8fa381b9" providerId="ADAL" clId="{90877F19-00D2-4A00-8128-E78E36266C9A}" dt="2023-11-05T18:08:40.441" v="147656"/>
          <ac:spMkLst>
            <pc:docMk/>
            <pc:sldMk cId="708553223" sldId="317"/>
            <ac:spMk id="19" creationId="{EFAF8C64-6351-0417-442B-920F199403FB}"/>
          </ac:spMkLst>
        </pc:spChg>
        <pc:spChg chg="add del mod replST">
          <ac:chgData name="Muchahary, Frankle" userId="0f2bf491-0617-4378-90b8-89af8fa381b9" providerId="ADAL" clId="{90877F19-00D2-4A00-8128-E78E36266C9A}" dt="2023-11-08T07:17:13.568" v="170399"/>
          <ac:spMkLst>
            <pc:docMk/>
            <pc:sldMk cId="708553223" sldId="317"/>
            <ac:spMk id="20" creationId="{9DAAD4B5-5124-FCD3-5F41-3D1B786E0219}"/>
          </ac:spMkLst>
        </pc:spChg>
        <pc:spChg chg="add del mod modVis">
          <ac:chgData name="Muchahary, Frankle" userId="0f2bf491-0617-4378-90b8-89af8fa381b9" providerId="ADAL" clId="{90877F19-00D2-4A00-8128-E78E36266C9A}" dt="2023-11-04T01:07:45.569" v="728"/>
          <ac:spMkLst>
            <pc:docMk/>
            <pc:sldMk cId="708553223" sldId="317"/>
            <ac:spMk id="20" creationId="{A41CADB6-DFEF-A192-50A7-3AEE3ACFA7F2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48" v="147669"/>
          <ac:spMkLst>
            <pc:docMk/>
            <pc:sldMk cId="708553223" sldId="317"/>
            <ac:spMk id="20" creationId="{FE63D0BB-E0D5-158F-226A-C4C006CBA07E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55" v="147685"/>
          <ac:spMkLst>
            <pc:docMk/>
            <pc:sldMk cId="708553223" sldId="317"/>
            <ac:spMk id="21" creationId="{37F76164-DD58-86F6-496B-8C99AFB148D6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74" v="170412"/>
          <ac:spMkLst>
            <pc:docMk/>
            <pc:sldMk cId="708553223" sldId="317"/>
            <ac:spMk id="21" creationId="{65154F99-36DD-AFD5-9885-38D70454A9B7}"/>
          </ac:spMkLst>
        </pc:spChg>
        <pc:spChg chg="add del mod modVis">
          <ac:chgData name="Muchahary, Frankle" userId="0f2bf491-0617-4378-90b8-89af8fa381b9" providerId="ADAL" clId="{90877F19-00D2-4A00-8128-E78E36266C9A}" dt="2023-11-04T01:07:55.881" v="756"/>
          <ac:spMkLst>
            <pc:docMk/>
            <pc:sldMk cId="708553223" sldId="317"/>
            <ac:spMk id="21" creationId="{9A5457CE-0631-3EBD-3BC4-4E00C8A10719}"/>
          </ac:spMkLst>
        </pc:spChg>
        <pc:spChg chg="add del mod modVis">
          <ac:chgData name="Muchahary, Frankle" userId="0f2bf491-0617-4378-90b8-89af8fa381b9" providerId="ADAL" clId="{90877F19-00D2-4A00-8128-E78E36266C9A}" dt="2023-11-04T01:07:57.995" v="783"/>
          <ac:spMkLst>
            <pc:docMk/>
            <pc:sldMk cId="708553223" sldId="317"/>
            <ac:spMk id="22" creationId="{02ABBEE3-5A02-C85C-122A-18797BFB1682}"/>
          </ac:spMkLst>
        </pc:spChg>
        <pc:spChg chg="add del mod ord replST">
          <ac:chgData name="Muchahary, Frankle" userId="0f2bf491-0617-4378-90b8-89af8fa381b9" providerId="ADAL" clId="{90877F19-00D2-4A00-8128-E78E36266C9A}" dt="2023-11-08T07:17:13.582" v="170428"/>
          <ac:spMkLst>
            <pc:docMk/>
            <pc:sldMk cId="708553223" sldId="317"/>
            <ac:spMk id="22" creationId="{0DD987CA-A0C5-9600-8C17-9FC7B36F5FBF}"/>
          </ac:spMkLst>
        </pc:spChg>
        <pc:spChg chg="add del mod replST">
          <ac:chgData name="Muchahary, Frankle" userId="0f2bf491-0617-4378-90b8-89af8fa381b9" providerId="ADAL" clId="{90877F19-00D2-4A00-8128-E78E36266C9A}" dt="2023-11-05T18:08:40.461" v="147700"/>
          <ac:spMkLst>
            <pc:docMk/>
            <pc:sldMk cId="708553223" sldId="317"/>
            <ac:spMk id="22" creationId="{26CB91F2-A392-F3A7-DFF6-E3DEB620AC3B}"/>
          </ac:spMkLst>
        </pc:spChg>
        <pc:spChg chg="add del mod modVis">
          <ac:chgData name="Muchahary, Frankle" userId="0f2bf491-0617-4378-90b8-89af8fa381b9" providerId="ADAL" clId="{90877F19-00D2-4A00-8128-E78E36266C9A}" dt="2023-11-04T01:07:59.174" v="810"/>
          <ac:spMkLst>
            <pc:docMk/>
            <pc:sldMk cId="708553223" sldId="317"/>
            <ac:spMk id="23" creationId="{A687CCCD-0818-537F-D43D-C3B0DEB5976B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68" v="147713"/>
          <ac:spMkLst>
            <pc:docMk/>
            <pc:sldMk cId="708553223" sldId="317"/>
            <ac:spMk id="23" creationId="{C87C2D1B-2689-18F8-BC51-D06B419BC996}"/>
          </ac:spMkLst>
        </pc:spChg>
        <pc:spChg chg="add del mod replST">
          <ac:chgData name="Muchahary, Frankle" userId="0f2bf491-0617-4378-90b8-89af8fa381b9" providerId="ADAL" clId="{90877F19-00D2-4A00-8128-E78E36266C9A}" dt="2023-11-08T07:17:13.591" v="170443"/>
          <ac:spMkLst>
            <pc:docMk/>
            <pc:sldMk cId="708553223" sldId="317"/>
            <ac:spMk id="23" creationId="{E18EAAA7-847E-F9A8-AC4B-226C2E0A66D6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77" v="147729"/>
          <ac:spMkLst>
            <pc:docMk/>
            <pc:sldMk cId="708553223" sldId="317"/>
            <ac:spMk id="24" creationId="{75959AC3-3D78-6229-C764-5BA76F784973}"/>
          </ac:spMkLst>
        </pc:spChg>
        <pc:spChg chg="add del mod modVis">
          <ac:chgData name="Muchahary, Frankle" userId="0f2bf491-0617-4378-90b8-89af8fa381b9" providerId="ADAL" clId="{90877F19-00D2-4A00-8128-E78E36266C9A}" dt="2023-11-04T01:08:01.189" v="837"/>
          <ac:spMkLst>
            <pc:docMk/>
            <pc:sldMk cId="708553223" sldId="317"/>
            <ac:spMk id="24" creationId="{F9EE0153-431E-4819-D55C-568FB41AD53C}"/>
          </ac:spMkLst>
        </pc:spChg>
        <pc:spChg chg="add mod replST">
          <ac:chgData name="Muchahary, Frankle" userId="0f2bf491-0617-4378-90b8-89af8fa381b9" providerId="ADAL" clId="{90877F19-00D2-4A00-8128-E78E36266C9A}" dt="2023-11-08T07:17:14.033" v="170947"/>
          <ac:spMkLst>
            <pc:docMk/>
            <pc:sldMk cId="708553223" sldId="317"/>
            <ac:spMk id="25" creationId="{A8C7F538-E7B0-CC28-516B-987926A962E8}"/>
          </ac:spMkLst>
        </pc:spChg>
        <pc:spChg chg="add del mod modVis">
          <ac:chgData name="Muchahary, Frankle" userId="0f2bf491-0617-4378-90b8-89af8fa381b9" providerId="ADAL" clId="{90877F19-00D2-4A00-8128-E78E36266C9A}" dt="2023-11-04T18:43:19.277" v="46910"/>
          <ac:spMkLst>
            <pc:docMk/>
            <pc:sldMk cId="708553223" sldId="317"/>
            <ac:spMk id="26" creationId="{AD3CD435-006A-6801-9BF9-33E02B153760}"/>
          </ac:spMkLst>
        </pc:spChg>
        <pc:spChg chg="add del mod replST">
          <ac:chgData name="Muchahary, Frankle" userId="0f2bf491-0617-4378-90b8-89af8fa381b9" providerId="ADAL" clId="{90877F19-00D2-4A00-8128-E78E36266C9A}" dt="2023-11-05T18:08:40.485" v="147744"/>
          <ac:spMkLst>
            <pc:docMk/>
            <pc:sldMk cId="708553223" sldId="317"/>
            <ac:spMk id="26" creationId="{C9D85DB1-F1EF-0916-29AE-D9661C9087E1}"/>
          </ac:spMkLst>
        </pc:spChg>
        <pc:spChg chg="add del mod modVis">
          <ac:chgData name="Muchahary, Frankle" userId="0f2bf491-0617-4378-90b8-89af8fa381b9" providerId="ADAL" clId="{90877F19-00D2-4A00-8128-E78E36266C9A}" dt="2023-11-04T01:09:01.083" v="1105"/>
          <ac:spMkLst>
            <pc:docMk/>
            <pc:sldMk cId="708553223" sldId="317"/>
            <ac:spMk id="26" creationId="{E5C4455C-C8CF-DA2C-DF4F-74E824944CFF}"/>
          </ac:spMkLst>
        </pc:spChg>
        <pc:spChg chg="add del mod modVis">
          <ac:chgData name="Muchahary, Frankle" userId="0f2bf491-0617-4378-90b8-89af8fa381b9" providerId="ADAL" clId="{90877F19-00D2-4A00-8128-E78E36266C9A}" dt="2023-11-07T19:53:37.186" v="160547"/>
          <ac:spMkLst>
            <pc:docMk/>
            <pc:sldMk cId="708553223" sldId="317"/>
            <ac:spMk id="26" creationId="{E65E08B4-CB04-A767-BF1A-9E376DA4AE3C}"/>
          </ac:spMkLst>
        </pc:spChg>
        <pc:spChg chg="add mod replST">
          <ac:chgData name="Muchahary, Frankle" userId="0f2bf491-0617-4378-90b8-89af8fa381b9" providerId="ADAL" clId="{90877F19-00D2-4A00-8128-E78E36266C9A}" dt="2023-11-08T07:17:14.032" v="170946"/>
          <ac:spMkLst>
            <pc:docMk/>
            <pc:sldMk cId="708553223" sldId="317"/>
            <ac:spMk id="27" creationId="{C4E6FDA9-26A9-E30B-3874-9940AA858ABD}"/>
          </ac:spMkLst>
        </pc:spChg>
        <pc:spChg chg="add mod replST">
          <ac:chgData name="Muchahary, Frankle" userId="0f2bf491-0617-4378-90b8-89af8fa381b9" providerId="ADAL" clId="{90877F19-00D2-4A00-8128-E78E36266C9A}" dt="2023-11-08T07:17:14.037" v="170955"/>
          <ac:spMkLst>
            <pc:docMk/>
            <pc:sldMk cId="708553223" sldId="317"/>
            <ac:spMk id="28" creationId="{1ADEE2F2-209E-5A9E-E809-2248A04C03A3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92" v="147760"/>
          <ac:spMkLst>
            <pc:docMk/>
            <pc:sldMk cId="708553223" sldId="317"/>
            <ac:spMk id="31" creationId="{1DB9A574-ACF9-D339-A75A-DE08D7FAAA46}"/>
          </ac:spMkLst>
        </pc:spChg>
        <pc:spChg chg="add mod ord">
          <ac:chgData name="Muchahary, Frankle" userId="0f2bf491-0617-4378-90b8-89af8fa381b9" providerId="ADAL" clId="{90877F19-00D2-4A00-8128-E78E36266C9A}" dt="2023-11-08T07:17:28.249" v="170972" actId="1076"/>
          <ac:spMkLst>
            <pc:docMk/>
            <pc:sldMk cId="708553223" sldId="317"/>
            <ac:spMk id="32" creationId="{12107BB1-92F5-5DF7-ED17-C352DE47294C}"/>
          </ac:spMkLst>
        </pc:spChg>
        <pc:spChg chg="add del mod ord replST">
          <ac:chgData name="Muchahary, Frankle" userId="0f2bf491-0617-4378-90b8-89af8fa381b9" providerId="ADAL" clId="{90877F19-00D2-4A00-8128-E78E36266C9A}" dt="2023-11-05T18:08:40.490" v="147758"/>
          <ac:spMkLst>
            <pc:docMk/>
            <pc:sldMk cId="708553223" sldId="317"/>
            <ac:spMk id="32" creationId="{20BA096A-F4A0-475F-BB14-B74F7C5FE501}"/>
          </ac:spMkLst>
        </pc:spChg>
        <pc:spChg chg="add del mod modVis">
          <ac:chgData name="Muchahary, Frankle" userId="0f2bf491-0617-4378-90b8-89af8fa381b9" providerId="ADAL" clId="{90877F19-00D2-4A00-8128-E78E36266C9A}" dt="2023-11-04T18:43:40.446" v="47110"/>
          <ac:spMkLst>
            <pc:docMk/>
            <pc:sldMk cId="708553223" sldId="317"/>
            <ac:spMk id="33" creationId="{66147168-A049-69A7-DBB0-8BF1B2781330}"/>
          </ac:spMkLst>
        </pc:spChg>
        <pc:spChg chg="add del mod modVis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33" creationId="{878938EC-2C2B-2294-79BC-CCDF4C8A37BB}"/>
          </ac:spMkLst>
        </pc:spChg>
        <pc:spChg chg="add del mod replST">
          <ac:chgData name="Muchahary, Frankle" userId="0f2bf491-0617-4378-90b8-89af8fa381b9" providerId="ADAL" clId="{90877F19-00D2-4A00-8128-E78E36266C9A}" dt="2023-11-05T18:08:40.490" v="147756"/>
          <ac:spMkLst>
            <pc:docMk/>
            <pc:sldMk cId="708553223" sldId="317"/>
            <ac:spMk id="33" creationId="{AD867E8C-05C2-EEAE-E80A-BA862BE4CFA0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34" creationId="{9B18C863-1070-3962-E060-8628F42CE37A}"/>
          </ac:spMkLst>
        </pc:spChg>
        <pc:spChg chg="add del mod modVis">
          <ac:chgData name="Muchahary, Frankle" userId="0f2bf491-0617-4378-90b8-89af8fa381b9" providerId="ADAL" clId="{90877F19-00D2-4A00-8128-E78E36266C9A}" dt="2023-11-04T18:47:41.350" v="47390"/>
          <ac:spMkLst>
            <pc:docMk/>
            <pc:sldMk cId="708553223" sldId="317"/>
            <ac:spMk id="35" creationId="{67A0CA56-6562-246C-E7B4-1E9884E47190}"/>
          </ac:spMkLst>
        </pc:spChg>
        <pc:spChg chg="add del mod ord replST">
          <ac:chgData name="Muchahary, Frankle" userId="0f2bf491-0617-4378-90b8-89af8fa381b9" providerId="ADAL" clId="{90877F19-00D2-4A00-8128-E78E36266C9A}" dt="2023-11-07T19:53:03.695" v="158886"/>
          <ac:spMkLst>
            <pc:docMk/>
            <pc:sldMk cId="708553223" sldId="317"/>
            <ac:spMk id="35" creationId="{AB7A5B6A-C948-5753-7F6A-48FC1791849E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21" v="158902"/>
          <ac:spMkLst>
            <pc:docMk/>
            <pc:sldMk cId="708553223" sldId="317"/>
            <ac:spMk id="36" creationId="{0E325702-64D7-8AC7-ADE1-09AD128A3176}"/>
          </ac:spMkLst>
        </pc:spChg>
        <pc:spChg chg="add del mod modVis">
          <ac:chgData name="Muchahary, Frankle" userId="0f2bf491-0617-4378-90b8-89af8fa381b9" providerId="ADAL" clId="{90877F19-00D2-4A00-8128-E78E36266C9A}" dt="2023-11-04T01:09:31.091" v="1358"/>
          <ac:spMkLst>
            <pc:docMk/>
            <pc:sldMk cId="708553223" sldId="317"/>
            <ac:spMk id="36" creationId="{6BBF004B-ADFF-50FE-F033-7C9D4E296EF1}"/>
          </ac:spMkLst>
        </pc:spChg>
        <pc:spChg chg="add del mod replST">
          <ac:chgData name="Muchahary, Frankle" userId="0f2bf491-0617-4378-90b8-89af8fa381b9" providerId="ADAL" clId="{90877F19-00D2-4A00-8128-E78E36266C9A}" dt="2023-11-07T19:53:03.730" v="158917"/>
          <ac:spMkLst>
            <pc:docMk/>
            <pc:sldMk cId="708553223" sldId="317"/>
            <ac:spMk id="37" creationId="{18A7F50C-CD49-A913-DE80-F0FC092D3887}"/>
          </ac:spMkLst>
        </pc:spChg>
        <pc:spChg chg="add del mod ord replST">
          <ac:chgData name="Muchahary, Frankle" userId="0f2bf491-0617-4378-90b8-89af8fa381b9" providerId="ADAL" clId="{90877F19-00D2-4A00-8128-E78E36266C9A}" dt="2023-11-05T18:08:53.759" v="148850"/>
          <ac:spMkLst>
            <pc:docMk/>
            <pc:sldMk cId="708553223" sldId="317"/>
            <ac:spMk id="38" creationId="{00E78C8A-E00F-1B79-532C-A73F7C89271F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38" creationId="{5A35925B-12E1-5AC6-5396-A08ED4E91D7D}"/>
          </ac:spMkLst>
        </pc:spChg>
        <pc:spChg chg="add del mod modVis">
          <ac:chgData name="Muchahary, Frankle" userId="0f2bf491-0617-4378-90b8-89af8fa381b9" providerId="ADAL" clId="{90877F19-00D2-4A00-8128-E78E36266C9A}" dt="2023-11-04T01:09:34.063" v="1421"/>
          <ac:spMkLst>
            <pc:docMk/>
            <pc:sldMk cId="708553223" sldId="317"/>
            <ac:spMk id="38" creationId="{E7697D9C-3B27-893C-0298-A5AE8E606E34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39" creationId="{2601B0E9-1818-175E-BE2E-008F0481AB25}"/>
          </ac:spMkLst>
        </pc:spChg>
        <pc:spChg chg="add del mod ord replST">
          <ac:chgData name="Muchahary, Frankle" userId="0f2bf491-0617-4378-90b8-89af8fa381b9" providerId="ADAL" clId="{90877F19-00D2-4A00-8128-E78E36266C9A}" dt="2023-11-05T18:08:53.768" v="148866"/>
          <ac:spMkLst>
            <pc:docMk/>
            <pc:sldMk cId="708553223" sldId="317"/>
            <ac:spMk id="39" creationId="{8A093AE4-1F63-25A8-E415-38BFBB8EED9A}"/>
          </ac:spMkLst>
        </pc:spChg>
        <pc:spChg chg="add del mod modVis">
          <ac:chgData name="Muchahary, Frankle" userId="0f2bf491-0617-4378-90b8-89af8fa381b9" providerId="ADAL" clId="{90877F19-00D2-4A00-8128-E78E36266C9A}" dt="2023-11-04T01:09:39.049" v="1488"/>
          <ac:spMkLst>
            <pc:docMk/>
            <pc:sldMk cId="708553223" sldId="317"/>
            <ac:spMk id="40" creationId="{B5191A5F-4893-2F3F-7679-EC11F9C8EFE8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40" creationId="{C818421D-8A1A-270C-DCA9-37CF8B1DCADC}"/>
          </ac:spMkLst>
        </pc:spChg>
        <pc:spChg chg="add del mod replST">
          <ac:chgData name="Muchahary, Frankle" userId="0f2bf491-0617-4378-90b8-89af8fa381b9" providerId="ADAL" clId="{90877F19-00D2-4A00-8128-E78E36266C9A}" dt="2023-11-05T18:08:53.777" v="148881"/>
          <ac:spMkLst>
            <pc:docMk/>
            <pc:sldMk cId="708553223" sldId="317"/>
            <ac:spMk id="40" creationId="{EBFA6622-A47B-227C-2263-558DA222D35C}"/>
          </ac:spMkLst>
        </pc:spChg>
        <pc:spChg chg="add del mod modVis">
          <ac:chgData name="Muchahary, Frankle" userId="0f2bf491-0617-4378-90b8-89af8fa381b9" providerId="ADAL" clId="{90877F19-00D2-4A00-8128-E78E36266C9A}" dt="2023-11-04T18:48:51.429" v="47726"/>
          <ac:spMkLst>
            <pc:docMk/>
            <pc:sldMk cId="708553223" sldId="317"/>
            <ac:spMk id="41" creationId="{2489182E-7418-1259-06FF-89D2F7B2F3CC}"/>
          </ac:spMkLst>
        </pc:spChg>
        <pc:spChg chg="add del mod ord replST">
          <ac:chgData name="Muchahary, Frankle" userId="0f2bf491-0617-4378-90b8-89af8fa381b9" providerId="ADAL" clId="{90877F19-00D2-4A00-8128-E78E36266C9A}" dt="2023-11-05T18:08:53.782" v="148894"/>
          <ac:spMkLst>
            <pc:docMk/>
            <pc:sldMk cId="708553223" sldId="317"/>
            <ac:spMk id="41" creationId="{56163783-E614-E476-0902-1B3583B9C44D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41" creationId="{7BB907A0-DE6A-EAB3-9C1E-E8FCE52BC0CE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42" creationId="{38DD429B-9D88-A991-F880-86CB77F6349D}"/>
          </ac:spMkLst>
        </pc:spChg>
        <pc:spChg chg="add del mod ord replST">
          <ac:chgData name="Muchahary, Frankle" userId="0f2bf491-0617-4378-90b8-89af8fa381b9" providerId="ADAL" clId="{90877F19-00D2-4A00-8128-E78E36266C9A}" dt="2023-11-05T18:08:53.790" v="148910"/>
          <ac:spMkLst>
            <pc:docMk/>
            <pc:sldMk cId="708553223" sldId="317"/>
            <ac:spMk id="42" creationId="{6D795562-7754-CE1C-D16A-9DA81DE15B94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43" creationId="{609A7D0B-2785-0CC1-087E-51B3595FBC2A}"/>
          </ac:spMkLst>
        </pc:spChg>
        <pc:spChg chg="add del mod modVis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43" creationId="{706FF2FB-B6DF-9E22-F953-812386FDB1D1}"/>
          </ac:spMkLst>
        </pc:spChg>
        <pc:spChg chg="add del mod replST">
          <ac:chgData name="Muchahary, Frankle" userId="0f2bf491-0617-4378-90b8-89af8fa381b9" providerId="ADAL" clId="{90877F19-00D2-4A00-8128-E78E36266C9A}" dt="2023-11-05T18:08:53.797" v="148925"/>
          <ac:spMkLst>
            <pc:docMk/>
            <pc:sldMk cId="708553223" sldId="317"/>
            <ac:spMk id="43" creationId="{B524A4B6-AEB4-E3F5-405D-3FAA6257A342}"/>
          </ac:spMkLst>
        </pc:spChg>
        <pc:spChg chg="add del mod modVis">
          <ac:chgData name="Muchahary, Frankle" userId="0f2bf491-0617-4378-90b8-89af8fa381b9" providerId="ADAL" clId="{90877F19-00D2-4A00-8128-E78E36266C9A}" dt="2023-11-04T01:09:54.431" v="1582"/>
          <ac:spMkLst>
            <pc:docMk/>
            <pc:sldMk cId="708553223" sldId="317"/>
            <ac:spMk id="43" creationId="{F4B5BB95-6272-706E-7F46-8A6F9542B93C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86" v="159018"/>
          <ac:spMkLst>
            <pc:docMk/>
            <pc:sldMk cId="708553223" sldId="317"/>
            <ac:spMk id="44" creationId="{453C219B-37EC-10C3-D9D8-4D2AEBDD4916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44" creationId="{86266685-FCB0-643D-4440-4C11BA0E7121}"/>
          </ac:spMkLst>
        </pc:spChg>
        <pc:spChg chg="add mod replST">
          <ac:chgData name="Muchahary, Frankle" userId="0f2bf491-0617-4378-90b8-89af8fa381b9" providerId="ADAL" clId="{90877F19-00D2-4A00-8128-E78E36266C9A}" dt="2023-11-08T07:17:14.036" v="170953"/>
          <ac:spMkLst>
            <pc:docMk/>
            <pc:sldMk cId="708553223" sldId="317"/>
            <ac:spMk id="45" creationId="{A3A2DE02-66BD-6306-848B-E6B12A825C58}"/>
          </ac:spMkLst>
        </pc:spChg>
        <pc:spChg chg="add del mod modVis">
          <ac:chgData name="Muchahary, Frankle" userId="0f2bf491-0617-4378-90b8-89af8fa381b9" providerId="ADAL" clId="{90877F19-00D2-4A00-8128-E78E36266C9A}" dt="2023-11-04T01:10:03.610" v="1702"/>
          <ac:spMkLst>
            <pc:docMk/>
            <pc:sldMk cId="708553223" sldId="317"/>
            <ac:spMk id="46" creationId="{37EC796A-61F9-04ED-6AFC-9BB98C8070EA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46" creationId="{6DD557DE-B303-9148-3FAF-8A0588FDD25B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95" v="159034"/>
          <ac:spMkLst>
            <pc:docMk/>
            <pc:sldMk cId="708553223" sldId="317"/>
            <ac:spMk id="46" creationId="{DA7ECCE8-9591-058E-1D0E-B7D987A5CDA4}"/>
          </ac:spMkLst>
        </pc:spChg>
        <pc:spChg chg="add del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47" creationId="{4AFE951F-4339-81FA-E78E-FBC3B016945D}"/>
          </ac:spMkLst>
        </pc:spChg>
        <pc:spChg chg="add del mod ord replST">
          <ac:chgData name="Muchahary, Frankle" userId="0f2bf491-0617-4378-90b8-89af8fa381b9" providerId="ADAL" clId="{90877F19-00D2-4A00-8128-E78E36266C9A}" dt="2023-11-04T01:10:32.873" v="2164"/>
          <ac:spMkLst>
            <pc:docMk/>
            <pc:sldMk cId="708553223" sldId="317"/>
            <ac:spMk id="47" creationId="{A47A372A-36F1-5BF5-9F44-1548D741DC99}"/>
          </ac:spMkLst>
        </pc:spChg>
        <pc:spChg chg="add del mod replST">
          <ac:chgData name="Muchahary, Frankle" userId="0f2bf491-0617-4378-90b8-89af8fa381b9" providerId="ADAL" clId="{90877F19-00D2-4A00-8128-E78E36266C9A}" dt="2023-11-07T19:53:03.805" v="159049"/>
          <ac:spMkLst>
            <pc:docMk/>
            <pc:sldMk cId="708553223" sldId="317"/>
            <ac:spMk id="47" creationId="{F0CF3262-2A0E-0594-6543-4A979E58F9EB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49" creationId="{0E7B0529-8063-6D18-E832-1C0F82A7EF4D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49" creationId="{2E900103-2410-5B90-04D8-F076E09229C6}"/>
          </ac:spMkLst>
        </pc:spChg>
        <pc:spChg chg="add del mod ord replST">
          <ac:chgData name="Muchahary, Frankle" userId="0f2bf491-0617-4378-90b8-89af8fa381b9" providerId="ADAL" clId="{90877F19-00D2-4A00-8128-E78E36266C9A}" dt="2023-11-05T18:08:53.802" v="148938"/>
          <ac:spMkLst>
            <pc:docMk/>
            <pc:sldMk cId="708553223" sldId="317"/>
            <ac:spMk id="49" creationId="{9088BB18-400B-CB48-86D7-D06FB5B79C3A}"/>
          </ac:spMkLst>
        </pc:spChg>
        <pc:spChg chg="add mod replST">
          <ac:chgData name="Muchahary, Frankle" userId="0f2bf491-0617-4378-90b8-89af8fa381b9" providerId="ADAL" clId="{90877F19-00D2-4A00-8128-E78E36266C9A}" dt="2023-11-08T07:17:14.035" v="170952"/>
          <ac:spMkLst>
            <pc:docMk/>
            <pc:sldMk cId="708553223" sldId="317"/>
            <ac:spMk id="50" creationId="{83AB9063-8ACB-512C-24BB-B17BBA415C1B}"/>
          </ac:spMkLst>
        </pc:spChg>
        <pc:spChg chg="add del mod modVis">
          <ac:chgData name="Muchahary, Frankle" userId="0f2bf491-0617-4378-90b8-89af8fa381b9" providerId="ADAL" clId="{90877F19-00D2-4A00-8128-E78E36266C9A}" dt="2023-11-04T01:10:09.715" v="1838"/>
          <ac:spMkLst>
            <pc:docMk/>
            <pc:sldMk cId="708553223" sldId="317"/>
            <ac:spMk id="51" creationId="{45E43554-0A0E-EA80-16DB-3CFD064BC4DC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51" creationId="{84CB1359-5976-1CF3-5AF5-DF2BA0FA1E93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1" creationId="{CC8EC644-9448-79C2-6D04-B70B046A72B4}"/>
          </ac:spMkLst>
        </pc:spChg>
        <pc:spChg chg="add del mod ord replST">
          <ac:chgData name="Muchahary, Frankle" userId="0f2bf491-0617-4378-90b8-89af8fa381b9" providerId="ADAL" clId="{90877F19-00D2-4A00-8128-E78E36266C9A}" dt="2023-11-05T18:08:53.810" v="148954"/>
          <ac:spMkLst>
            <pc:docMk/>
            <pc:sldMk cId="708553223" sldId="317"/>
            <ac:spMk id="51" creationId="{D157584D-B654-0AD2-AD7D-2293989AFE07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52" creationId="{068507DC-C325-14AF-4294-AABEA9356940}"/>
          </ac:spMkLst>
        </pc:spChg>
        <pc:spChg chg="add del mod ord replST">
          <ac:chgData name="Muchahary, Frankle" userId="0f2bf491-0617-4378-90b8-89af8fa381b9" providerId="ADAL" clId="{90877F19-00D2-4A00-8128-E78E36266C9A}" dt="2023-11-04T01:10:33.355" v="2243"/>
          <ac:spMkLst>
            <pc:docMk/>
            <pc:sldMk cId="708553223" sldId="317"/>
            <ac:spMk id="52" creationId="{0B4AAAFB-2116-1B90-139A-91333FCC7E82}"/>
          </ac:spMkLst>
        </pc:spChg>
        <pc:spChg chg="add del mod replST">
          <ac:chgData name="Muchahary, Frankle" userId="0f2bf491-0617-4378-90b8-89af8fa381b9" providerId="ADAL" clId="{90877F19-00D2-4A00-8128-E78E36266C9A}" dt="2023-11-05T18:08:53.817" v="148969"/>
          <ac:spMkLst>
            <pc:docMk/>
            <pc:sldMk cId="708553223" sldId="317"/>
            <ac:spMk id="52" creationId="{BB9088CB-88B9-4A33-C76C-D143EEC023EC}"/>
          </ac:spMkLst>
        </pc:spChg>
        <pc:spChg chg="add del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2" creationId="{C58C6B90-BFBC-3623-4259-633D6924ED80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4" creationId="{20AD5D68-300C-8B86-0FA4-B387B1793747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54" creationId="{478A3E82-5E71-5DA8-8373-C5EDD484D39E}"/>
          </ac:spMkLst>
        </pc:spChg>
        <pc:spChg chg="add del mod ord replST">
          <ac:chgData name="Muchahary, Frankle" userId="0f2bf491-0617-4378-90b8-89af8fa381b9" providerId="ADAL" clId="{90877F19-00D2-4A00-8128-E78E36266C9A}" dt="2023-11-05T18:08:53.823" v="148982"/>
          <ac:spMkLst>
            <pc:docMk/>
            <pc:sldMk cId="708553223" sldId="317"/>
            <ac:spMk id="54" creationId="{54CF4702-0D43-58C5-7093-F86DFCDAC376}"/>
          </ac:spMkLst>
        </pc:spChg>
        <pc:spChg chg="add mod replST">
          <ac:chgData name="Muchahary, Frankle" userId="0f2bf491-0617-4378-90b8-89af8fa381b9" providerId="ADAL" clId="{90877F19-00D2-4A00-8128-E78E36266C9A}" dt="2023-11-08T07:17:14.035" v="170951"/>
          <ac:spMkLst>
            <pc:docMk/>
            <pc:sldMk cId="708553223" sldId="317"/>
            <ac:spMk id="55" creationId="{81F04892-2CBE-05E8-1FF2-2F3C18C79DDA}"/>
          </ac:spMkLst>
        </pc:spChg>
        <pc:spChg chg="add del mod modVis">
          <ac:chgData name="Muchahary, Frankle" userId="0f2bf491-0617-4378-90b8-89af8fa381b9" providerId="ADAL" clId="{90877F19-00D2-4A00-8128-E78E36266C9A}" dt="2023-11-04T01:10:26.698" v="1989"/>
          <ac:spMkLst>
            <pc:docMk/>
            <pc:sldMk cId="708553223" sldId="317"/>
            <ac:spMk id="56" creationId="{1613ADBA-35C3-3463-9BAE-9C8BE7C68CBE}"/>
          </ac:spMkLst>
        </pc:spChg>
        <pc:spChg chg="add del mod ord replST">
          <ac:chgData name="Muchahary, Frankle" userId="0f2bf491-0617-4378-90b8-89af8fa381b9" providerId="ADAL" clId="{90877F19-00D2-4A00-8128-E78E36266C9A}" dt="2023-11-05T18:08:53.829" v="148998"/>
          <ac:spMkLst>
            <pc:docMk/>
            <pc:sldMk cId="708553223" sldId="317"/>
            <ac:spMk id="56" creationId="{569EEF71-7429-4EFF-FA4B-271C1AFFB031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6" creationId="{74A95166-6B44-CE37-875F-6143ED313D8B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56" creationId="{D45BEC49-5F9E-7D3D-CF0B-431A9389559C}"/>
          </ac:spMkLst>
        </pc:spChg>
        <pc:spChg chg="add del mod replST">
          <ac:chgData name="Muchahary, Frankle" userId="0f2bf491-0617-4378-90b8-89af8fa381b9" providerId="ADAL" clId="{90877F19-00D2-4A00-8128-E78E36266C9A}" dt="2023-11-05T18:08:53.836" v="149013"/>
          <ac:spMkLst>
            <pc:docMk/>
            <pc:sldMk cId="708553223" sldId="317"/>
            <ac:spMk id="57" creationId="{19F734A1-DA3A-A06A-637F-7CC172333A14}"/>
          </ac:spMkLst>
        </pc:spChg>
        <pc:spChg chg="add del mod ord replST">
          <ac:chgData name="Muchahary, Frankle" userId="0f2bf491-0617-4378-90b8-89af8fa381b9" providerId="ADAL" clId="{90877F19-00D2-4A00-8128-E78E36266C9A}" dt="2023-11-04T01:10:27.859" v="2020"/>
          <ac:spMkLst>
            <pc:docMk/>
            <pc:sldMk cId="708553223" sldId="317"/>
            <ac:spMk id="57" creationId="{1AD4555E-00EA-014B-DA95-1F963BDE1882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57" creationId="{47C6B8BC-F3E1-3306-1FB6-41A78C297907}"/>
          </ac:spMkLst>
        </pc:spChg>
        <pc:spChg chg="add del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7" creationId="{4F46E4BB-559A-9844-209F-E652EE62EE0D}"/>
          </ac:spMkLst>
        </pc:spChg>
        <pc:spChg chg="add mod replST">
          <ac:chgData name="Muchahary, Frankle" userId="0f2bf491-0617-4378-90b8-89af8fa381b9" providerId="ADAL" clId="{90877F19-00D2-4A00-8128-E78E36266C9A}" dt="2023-11-08T07:17:14.018" v="170903"/>
          <ac:spMkLst>
            <pc:docMk/>
            <pc:sldMk cId="708553223" sldId="317"/>
            <ac:spMk id="59" creationId="{671B4366-CF50-1D28-A957-9A530075FE1B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59" creationId="{A27A1117-19E9-D9EC-7576-6AA1F188040E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60" creationId="{3B4BD797-5850-9ADF-BB08-556F54B1A451}"/>
          </ac:spMkLst>
        </pc:spChg>
        <pc:spChg chg="add mod replST">
          <ac:chgData name="Muchahary, Frankle" userId="0f2bf491-0617-4378-90b8-89af8fa381b9" providerId="ADAL" clId="{90877F19-00D2-4A00-8128-E78E36266C9A}" dt="2023-11-08T07:17:14.018" v="170904"/>
          <ac:spMkLst>
            <pc:docMk/>
            <pc:sldMk cId="708553223" sldId="317"/>
            <ac:spMk id="60" creationId="{AF373CA8-4B1A-0D89-E99D-FD4C26F6E345}"/>
          </ac:spMkLst>
        </pc:spChg>
        <pc:spChg chg="add del mod modVis">
          <ac:chgData name="Muchahary, Frankle" userId="0f2bf491-0617-4378-90b8-89af8fa381b9" providerId="ADAL" clId="{90877F19-00D2-4A00-8128-E78E36266C9A}" dt="2023-11-04T01:10:27.876" v="2056"/>
          <ac:spMkLst>
            <pc:docMk/>
            <pc:sldMk cId="708553223" sldId="317"/>
            <ac:spMk id="60" creationId="{E9E95850-3C49-B6CB-CBCB-FD16A80A4F03}"/>
          </ac:spMkLst>
        </pc:spChg>
        <pc:spChg chg="add del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61" creationId="{283526C3-326F-2CAC-01E0-C02966E9DC32}"/>
          </ac:spMkLst>
        </pc:spChg>
        <pc:spChg chg="add mod replST">
          <ac:chgData name="Muchahary, Frankle" userId="0f2bf491-0617-4378-90b8-89af8fa381b9" providerId="ADAL" clId="{90877F19-00D2-4A00-8128-E78E36266C9A}" dt="2023-11-08T07:17:14.020" v="170907"/>
          <ac:spMkLst>
            <pc:docMk/>
            <pc:sldMk cId="708553223" sldId="317"/>
            <ac:spMk id="61" creationId="{51D0D091-9035-0BD3-5A3D-B5C217527587}"/>
          </ac:spMkLst>
        </pc:spChg>
        <pc:spChg chg="add mod replST">
          <ac:chgData name="Muchahary, Frankle" userId="0f2bf491-0617-4378-90b8-89af8fa381b9" providerId="ADAL" clId="{90877F19-00D2-4A00-8128-E78E36266C9A}" dt="2023-11-08T07:17:14.021" v="170909"/>
          <ac:spMkLst>
            <pc:docMk/>
            <pc:sldMk cId="708553223" sldId="317"/>
            <ac:spMk id="62" creationId="{0BF9581A-A89F-7A70-8FAE-39D52ED8DB73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62" creationId="{548AA8CC-D0C0-B8CD-4ADD-72C8BC22AFAC}"/>
          </ac:spMkLst>
        </pc:spChg>
        <pc:spChg chg="add del mod modVis">
          <ac:chgData name="Muchahary, Frankle" userId="0f2bf491-0617-4378-90b8-89af8fa381b9" providerId="ADAL" clId="{90877F19-00D2-4A00-8128-E78E36266C9A}" dt="2023-11-04T01:10:32.155" v="2131"/>
          <ac:spMkLst>
            <pc:docMk/>
            <pc:sldMk cId="708553223" sldId="317"/>
            <ac:spMk id="62" creationId="{D467515D-4544-8AB3-1792-EBA3E9B7BBAD}"/>
          </ac:spMkLst>
        </pc:spChg>
        <pc:spChg chg="add mod replST">
          <ac:chgData name="Muchahary, Frankle" userId="0f2bf491-0617-4378-90b8-89af8fa381b9" providerId="ADAL" clId="{90877F19-00D2-4A00-8128-E78E36266C9A}" dt="2023-11-08T07:17:14.022" v="170911"/>
          <ac:spMkLst>
            <pc:docMk/>
            <pc:sldMk cId="708553223" sldId="317"/>
            <ac:spMk id="63" creationId="{75787F32-0B4C-8D63-17BE-B4D1AA1FDB43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63" creationId="{CB911876-B39C-8CF5-9288-15F491E3E035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88" v="68814"/>
          <ac:spMkLst>
            <pc:docMk/>
            <pc:sldMk cId="708553223" sldId="317"/>
            <ac:spMk id="384" creationId="{64A832BC-B787-5F0B-D3ED-2986D79AC653}"/>
          </ac:spMkLst>
        </pc:spChg>
        <pc:spChg chg="add del mod modVis">
          <ac:chgData name="Muchahary, Frankle" userId="0f2bf491-0617-4378-90b8-89af8fa381b9" providerId="ADAL" clId="{90877F19-00D2-4A00-8128-E78E36266C9A}" dt="2023-11-04T01:10:32.921" v="2210"/>
          <ac:spMkLst>
            <pc:docMk/>
            <pc:sldMk cId="708553223" sldId="317"/>
            <ac:spMk id="384" creationId="{CFBBD2EA-A8E2-843A-4E86-A1297FF39C05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97" v="68830"/>
          <ac:spMkLst>
            <pc:docMk/>
            <pc:sldMk cId="708553223" sldId="317"/>
            <ac:spMk id="385" creationId="{E4F2C6C2-1A75-521E-F501-9DD4E44C2223}"/>
          </ac:spMkLst>
        </pc:spChg>
        <pc:spChg chg="add del mod modVis">
          <ac:chgData name="Muchahary, Frankle" userId="0f2bf491-0617-4378-90b8-89af8fa381b9" providerId="ADAL" clId="{90877F19-00D2-4A00-8128-E78E36266C9A}" dt="2023-11-04T01:10:33.382" v="2291"/>
          <ac:spMkLst>
            <pc:docMk/>
            <pc:sldMk cId="708553223" sldId="317"/>
            <ac:spMk id="386" creationId="{0B7F4B75-9B93-85A1-90EC-DD42273334D2}"/>
          </ac:spMkLst>
        </pc:spChg>
        <pc:spChg chg="add del mod replST">
          <ac:chgData name="Muchahary, Frankle" userId="0f2bf491-0617-4378-90b8-89af8fa381b9" providerId="ADAL" clId="{90877F19-00D2-4A00-8128-E78E36266C9A}" dt="2023-11-04T19:57:27.207" v="68845"/>
          <ac:spMkLst>
            <pc:docMk/>
            <pc:sldMk cId="708553223" sldId="317"/>
            <ac:spMk id="386" creationId="{0E51AAD9-174C-372C-4403-4255BA11BC2C}"/>
          </ac:spMkLst>
        </pc:spChg>
        <pc:spChg chg="add del mod ord replST">
          <ac:chgData name="Muchahary, Frankle" userId="0f2bf491-0617-4378-90b8-89af8fa381b9" providerId="ADAL" clId="{90877F19-00D2-4A00-8128-E78E36266C9A}" dt="2023-11-04T19:56:50.050" v="68308"/>
          <ac:spMkLst>
            <pc:docMk/>
            <pc:sldMk cId="708553223" sldId="317"/>
            <ac:spMk id="387" creationId="{40329617-2A8F-CE24-88D3-89DF0CF1F2F5}"/>
          </ac:spMkLst>
        </pc:spChg>
        <pc:spChg chg="add del mod replST">
          <ac:chgData name="Muchahary, Frankle" userId="0f2bf491-0617-4378-90b8-89af8fa381b9" providerId="ADAL" clId="{90877F19-00D2-4A00-8128-E78E36266C9A}" dt="2023-11-04T20:02:19.608" v="80023"/>
          <ac:spMkLst>
            <pc:docMk/>
            <pc:sldMk cId="708553223" sldId="317"/>
            <ac:spMk id="390" creationId="{491D84EA-F926-90BC-2538-522BD340CDA5}"/>
          </ac:spMkLst>
        </pc:spChg>
        <pc:spChg chg="add del mod modVis">
          <ac:chgData name="Muchahary, Frankle" userId="0f2bf491-0617-4378-90b8-89af8fa381b9" providerId="ADAL" clId="{90877F19-00D2-4A00-8128-E78E36266C9A}" dt="2023-11-04T19:56:43.756" v="68170"/>
          <ac:spMkLst>
            <pc:docMk/>
            <pc:sldMk cId="708553223" sldId="317"/>
            <ac:spMk id="391" creationId="{825282C8-EC75-2980-7459-9FB32FB85198}"/>
          </ac:spMkLst>
        </pc:spChg>
        <pc:spChg chg="add del mod modVis">
          <ac:chgData name="Muchahary, Frankle" userId="0f2bf491-0617-4378-90b8-89af8fa381b9" providerId="ADAL" clId="{90877F19-00D2-4A00-8128-E78E36266C9A}" dt="2023-11-04T01:11:02.286" v="2781"/>
          <ac:spMkLst>
            <pc:docMk/>
            <pc:sldMk cId="708553223" sldId="317"/>
            <ac:spMk id="392" creationId="{76331623-7E16-15D8-24A1-1510861BF0A4}"/>
          </ac:spMkLst>
        </pc:spChg>
        <pc:spChg chg="add del mod ord replST">
          <ac:chgData name="Muchahary, Frankle" userId="0f2bf491-0617-4378-90b8-89af8fa381b9" providerId="ADAL" clId="{90877F19-00D2-4A00-8128-E78E36266C9A}" dt="2023-11-04T19:59:10.392" v="71023"/>
          <ac:spMkLst>
            <pc:docMk/>
            <pc:sldMk cId="708553223" sldId="317"/>
            <ac:spMk id="393" creationId="{7F6BD8AF-6148-48E0-8117-123E8326D082}"/>
          </ac:spMkLst>
        </pc:spChg>
        <pc:spChg chg="add del mod modVis">
          <ac:chgData name="Muchahary, Frankle" userId="0f2bf491-0617-4378-90b8-89af8fa381b9" providerId="ADAL" clId="{90877F19-00D2-4A00-8128-E78E36266C9A}" dt="2023-11-04T01:11:12.749" v="2860"/>
          <ac:spMkLst>
            <pc:docMk/>
            <pc:sldMk cId="708553223" sldId="317"/>
            <ac:spMk id="394" creationId="{3CB5AE93-6938-36D4-2A80-9ED419D52286}"/>
          </ac:spMkLst>
        </pc:spChg>
        <pc:spChg chg="add del mod modVis">
          <ac:chgData name="Muchahary, Frankle" userId="0f2bf491-0617-4378-90b8-89af8fa381b9" providerId="ADAL" clId="{90877F19-00D2-4A00-8128-E78E36266C9A}" dt="2023-11-04T19:56:50.150" v="68457"/>
          <ac:spMkLst>
            <pc:docMk/>
            <pc:sldMk cId="708553223" sldId="317"/>
            <ac:spMk id="394" creationId="{645EE36A-7CFB-9BFF-D823-CEA297E09233}"/>
          </ac:spMkLst>
        </pc:spChg>
        <pc:spChg chg="add del mod modVis">
          <ac:chgData name="Muchahary, Frankle" userId="0f2bf491-0617-4378-90b8-89af8fa381b9" providerId="ADAL" clId="{90877F19-00D2-4A00-8128-E78E36266C9A}" dt="2023-11-04T01:11:26.765" v="3059"/>
          <ac:spMkLst>
            <pc:docMk/>
            <pc:sldMk cId="708553223" sldId="317"/>
            <ac:spMk id="396" creationId="{14D768D0-2B40-F109-5CE7-7B8C185CDF29}"/>
          </ac:spMkLst>
        </pc:spChg>
        <pc:spChg chg="add del mod modVis">
          <ac:chgData name="Muchahary, Frankle" userId="0f2bf491-0617-4378-90b8-89af8fa381b9" providerId="ADAL" clId="{90877F19-00D2-4A00-8128-E78E36266C9A}" dt="2023-11-04T19:57:14.646" v="68673"/>
          <ac:spMkLst>
            <pc:docMk/>
            <pc:sldMk cId="708553223" sldId="317"/>
            <ac:spMk id="396" creationId="{B09004DD-9A13-536B-CC17-A28B5B71E6E4}"/>
          </ac:spMkLst>
        </pc:spChg>
        <pc:spChg chg="add del mod modVis">
          <ac:chgData name="Muchahary, Frankle" userId="0f2bf491-0617-4378-90b8-89af8fa381b9" providerId="ADAL" clId="{90877F19-00D2-4A00-8128-E78E36266C9A}" dt="2023-11-04T01:11:30.939" v="3256"/>
          <ac:spMkLst>
            <pc:docMk/>
            <pc:sldMk cId="708553223" sldId="317"/>
            <ac:spMk id="398" creationId="{8F76A3EC-3AEA-B37E-DECA-4524F3ABDE5D}"/>
          </ac:spMkLst>
        </pc:spChg>
        <pc:spChg chg="add del mod modVis">
          <ac:chgData name="Muchahary, Frankle" userId="0f2bf491-0617-4378-90b8-89af8fa381b9" providerId="ADAL" clId="{90877F19-00D2-4A00-8128-E78E36266C9A}" dt="2023-11-04T19:57:27.423" v="69225"/>
          <ac:spMkLst>
            <pc:docMk/>
            <pc:sldMk cId="708553223" sldId="317"/>
            <ac:spMk id="398" creationId="{AEEFFD1B-FCBE-A135-0F66-A2E4DBD42DE1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49" v="74254"/>
          <ac:spMkLst>
            <pc:docMk/>
            <pc:sldMk cId="708553223" sldId="317"/>
            <ac:spMk id="399" creationId="{ACB471B6-5198-9F50-0030-2B54A3371041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57" v="74270"/>
          <ac:spMkLst>
            <pc:docMk/>
            <pc:sldMk cId="708553223" sldId="317"/>
            <ac:spMk id="400" creationId="{EB11C0D3-DCD1-CDF4-461F-FEDEEEDBA463}"/>
          </ac:spMkLst>
        </pc:spChg>
        <pc:spChg chg="add del mod modVis">
          <ac:chgData name="Muchahary, Frankle" userId="0f2bf491-0617-4378-90b8-89af8fa381b9" providerId="ADAL" clId="{90877F19-00D2-4A00-8128-E78E36266C9A}" dt="2023-11-04T01:11:34.459" v="3448"/>
          <ac:spMkLst>
            <pc:docMk/>
            <pc:sldMk cId="708553223" sldId="317"/>
            <ac:spMk id="400" creationId="{F414CADD-E73A-DC2F-B3E6-3B5BDFA2E6D0}"/>
          </ac:spMkLst>
        </pc:spChg>
        <pc:spChg chg="add del mod replST">
          <ac:chgData name="Muchahary, Frankle" userId="0f2bf491-0617-4378-90b8-89af8fa381b9" providerId="ADAL" clId="{90877F19-00D2-4A00-8128-E78E36266C9A}" dt="2023-11-04T19:59:36.565" v="74285"/>
          <ac:spMkLst>
            <pc:docMk/>
            <pc:sldMk cId="708553223" sldId="317"/>
            <ac:spMk id="401" creationId="{AB0E78FD-9DC3-8F48-4A90-5939BB5BB77A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73" v="74298"/>
          <ac:spMkLst>
            <pc:docMk/>
            <pc:sldMk cId="708553223" sldId="317"/>
            <ac:spMk id="402" creationId="{2094CA1F-C7E9-0640-05B1-D86CE5CE6765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82" v="74314"/>
          <ac:spMkLst>
            <pc:docMk/>
            <pc:sldMk cId="708553223" sldId="317"/>
            <ac:spMk id="403" creationId="{818DBCE3-A45B-7895-85E1-889FA8B38ADC}"/>
          </ac:spMkLst>
        </pc:spChg>
        <pc:spChg chg="add del mod modVis">
          <ac:chgData name="Muchahary, Frankle" userId="0f2bf491-0617-4378-90b8-89af8fa381b9" providerId="ADAL" clId="{90877F19-00D2-4A00-8128-E78E36266C9A}" dt="2023-11-04T01:12:24.437" v="3763"/>
          <ac:spMkLst>
            <pc:docMk/>
            <pc:sldMk cId="708553223" sldId="317"/>
            <ac:spMk id="404" creationId="{279B82C8-3D4D-BA41-73E9-5C6F4A4248B5}"/>
          </ac:spMkLst>
        </pc:spChg>
        <pc:spChg chg="add del mod replST">
          <ac:chgData name="Muchahary, Frankle" userId="0f2bf491-0617-4378-90b8-89af8fa381b9" providerId="ADAL" clId="{90877F19-00D2-4A00-8128-E78E36266C9A}" dt="2023-11-04T19:59:36.592" v="74329"/>
          <ac:spMkLst>
            <pc:docMk/>
            <pc:sldMk cId="708553223" sldId="317"/>
            <ac:spMk id="404" creationId="{484AEB79-8394-518C-AAD1-20E46D3F3DD7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98" v="74342"/>
          <ac:spMkLst>
            <pc:docMk/>
            <pc:sldMk cId="708553223" sldId="317"/>
            <ac:spMk id="405" creationId="{CD9B71D7-FAED-D0F2-5CBD-F5F424A5B7BD}"/>
          </ac:spMkLst>
        </pc:spChg>
        <pc:spChg chg="add del">
          <ac:chgData name="Muchahary, Frankle" userId="0f2bf491-0617-4378-90b8-89af8fa381b9" providerId="ADAL" clId="{90877F19-00D2-4A00-8128-E78E36266C9A}" dt="2023-11-04T01:06:26.571" v="267" actId="478"/>
          <ac:spMkLst>
            <pc:docMk/>
            <pc:sldMk cId="708553223" sldId="317"/>
            <ac:spMk id="406" creationId="{00000000-0000-0000-0000-000000000000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07" v="74358"/>
          <ac:spMkLst>
            <pc:docMk/>
            <pc:sldMk cId="708553223" sldId="317"/>
            <ac:spMk id="406" creationId="{E22EEA80-D41B-3486-59FA-06842948848F}"/>
          </ac:spMkLst>
        </pc:spChg>
        <pc:spChg chg="del">
          <ac:chgData name="Muchahary, Frankle" userId="0f2bf491-0617-4378-90b8-89af8fa381b9" providerId="ADAL" clId="{90877F19-00D2-4A00-8128-E78E36266C9A}" dt="2023-11-04T01:06:10.110" v="27" actId="478"/>
          <ac:spMkLst>
            <pc:docMk/>
            <pc:sldMk cId="708553223" sldId="317"/>
            <ac:spMk id="407" creationId="{00000000-0000-0000-0000-000000000000}"/>
          </ac:spMkLst>
        </pc:spChg>
        <pc:spChg chg="add del mod replST">
          <ac:chgData name="Muchahary, Frankle" userId="0f2bf491-0617-4378-90b8-89af8fa381b9" providerId="ADAL" clId="{90877F19-00D2-4A00-8128-E78E36266C9A}" dt="2023-11-04T19:59:36.615" v="74373"/>
          <ac:spMkLst>
            <pc:docMk/>
            <pc:sldMk cId="708553223" sldId="317"/>
            <ac:spMk id="407" creationId="{B2F9ADCA-273E-3A8D-2A81-8A3DF1A56B57}"/>
          </ac:spMkLst>
        </pc:spChg>
        <pc:spChg chg="add del mod ord replST">
          <ac:chgData name="Muchahary, Frankle" userId="0f2bf491-0617-4378-90b8-89af8fa381b9" providerId="ADAL" clId="{90877F19-00D2-4A00-8128-E78E36266C9A}" dt="2023-11-04T19:58:55.863" v="69560"/>
          <ac:spMkLst>
            <pc:docMk/>
            <pc:sldMk cId="708553223" sldId="317"/>
            <ac:spMk id="408" creationId="{7E07699D-5213-CF50-63CD-2283BF4828E6}"/>
          </ac:spMkLst>
        </pc:spChg>
        <pc:spChg chg="add del mod replST">
          <ac:chgData name="Muchahary, Frankle" userId="0f2bf491-0617-4378-90b8-89af8fa381b9" providerId="ADAL" clId="{90877F19-00D2-4A00-8128-E78E36266C9A}" dt="2023-11-05T18:08:50.795" v="148794"/>
          <ac:spMkLst>
            <pc:docMk/>
            <pc:sldMk cId="708553223" sldId="317"/>
            <ac:spMk id="411" creationId="{B3ED5D1D-3A10-6FF1-AAE5-D85346506BB1}"/>
          </ac:spMkLst>
        </pc:spChg>
        <pc:spChg chg="add del mod modVis">
          <ac:chgData name="Muchahary, Frankle" userId="0f2bf491-0617-4378-90b8-89af8fa381b9" providerId="ADAL" clId="{90877F19-00D2-4A00-8128-E78E36266C9A}" dt="2023-11-04T01:13:11.200" v="4511"/>
          <ac:spMkLst>
            <pc:docMk/>
            <pc:sldMk cId="708553223" sldId="317"/>
            <ac:spMk id="412" creationId="{5B212471-FE1B-BB72-FE6D-A76954B018F8}"/>
          </ac:spMkLst>
        </pc:spChg>
        <pc:spChg chg="add mod replST">
          <ac:chgData name="Muchahary, Frankle" userId="0f2bf491-0617-4378-90b8-89af8fa381b9" providerId="ADAL" clId="{90877F19-00D2-4A00-8128-E78E36266C9A}" dt="2023-11-08T07:17:14.035" v="170950"/>
          <ac:spMkLst>
            <pc:docMk/>
            <pc:sldMk cId="708553223" sldId="317"/>
            <ac:spMk id="412" creationId="{6CC7986B-3E4B-19F2-3290-89AE5E9D943D}"/>
          </ac:spMkLst>
        </pc:spChg>
        <pc:spChg chg="add del mod replST">
          <ac:chgData name="Muchahary, Frankle" userId="0f2bf491-0617-4378-90b8-89af8fa381b9" providerId="ADAL" clId="{90877F19-00D2-4A00-8128-E78E36266C9A}" dt="2023-11-04T01:13:30.875" v="4743"/>
          <ac:spMkLst>
            <pc:docMk/>
            <pc:sldMk cId="708553223" sldId="317"/>
            <ac:spMk id="413" creationId="{52D6F007-5E0D-CCA2-0714-D3AD31538E9E}"/>
          </ac:spMkLst>
        </pc:spChg>
        <pc:spChg chg="add del mod modVis">
          <ac:chgData name="Muchahary, Frankle" userId="0f2bf491-0617-4378-90b8-89af8fa381b9" providerId="ADAL" clId="{90877F19-00D2-4A00-8128-E78E36266C9A}" dt="2023-11-04T19:58:33.040" v="69450"/>
          <ac:spMkLst>
            <pc:docMk/>
            <pc:sldMk cId="708553223" sldId="317"/>
            <ac:spMk id="413" creationId="{53D009A7-EFC5-8BB6-02EF-3FCB53D55E8E}"/>
          </ac:spMkLst>
        </pc:spChg>
        <pc:spChg chg="add del mod replST">
          <ac:chgData name="Muchahary, Frankle" userId="0f2bf491-0617-4378-90b8-89af8fa381b9" providerId="ADAL" clId="{90877F19-00D2-4A00-8128-E78E36266C9A}" dt="2023-11-04T01:13:30.875" v="4745"/>
          <ac:spMkLst>
            <pc:docMk/>
            <pc:sldMk cId="708553223" sldId="317"/>
            <ac:spMk id="414" creationId="{95335EE1-B48E-6333-2E7E-41A7EB16F953}"/>
          </ac:spMkLst>
        </pc:spChg>
        <pc:spChg chg="add del mod replST">
          <ac:chgData name="Muchahary, Frankle" userId="0f2bf491-0617-4378-90b8-89af8fa381b9" providerId="ADAL" clId="{90877F19-00D2-4A00-8128-E78E36266C9A}" dt="2023-11-04T20:26:59.313" v="113152"/>
          <ac:spMkLst>
            <pc:docMk/>
            <pc:sldMk cId="708553223" sldId="317"/>
            <ac:spMk id="415" creationId="{D945528C-F8C3-B95E-6C97-3E1211C284D1}"/>
          </ac:spMkLst>
        </pc:spChg>
        <pc:spChg chg="add del mod replST">
          <ac:chgData name="Muchahary, Frankle" userId="0f2bf491-0617-4378-90b8-89af8fa381b9" providerId="ADAL" clId="{90877F19-00D2-4A00-8128-E78E36266C9A}" dt="2023-11-04T20:24:13.633" v="110821"/>
          <ac:spMkLst>
            <pc:docMk/>
            <pc:sldMk cId="708553223" sldId="317"/>
            <ac:spMk id="416" creationId="{47EC9AC6-BCCC-223D-9039-76C6E2E600E9}"/>
          </ac:spMkLst>
        </pc:spChg>
        <pc:spChg chg="add del mod replST">
          <ac:chgData name="Muchahary, Frankle" userId="0f2bf491-0617-4378-90b8-89af8fa381b9" providerId="ADAL" clId="{90877F19-00D2-4A00-8128-E78E36266C9A}" dt="2023-11-05T18:08:50.797" v="148798"/>
          <ac:spMkLst>
            <pc:docMk/>
            <pc:sldMk cId="708553223" sldId="317"/>
            <ac:spMk id="417" creationId="{7E95A5CB-9B2F-97C1-FC1D-A712101F58AF}"/>
          </ac:spMkLst>
        </pc:spChg>
        <pc:spChg chg="add del mod replST">
          <ac:chgData name="Muchahary, Frankle" userId="0f2bf491-0617-4378-90b8-89af8fa381b9" providerId="ADAL" clId="{90877F19-00D2-4A00-8128-E78E36266C9A}" dt="2023-11-05T18:08:50.795" v="148793"/>
          <ac:spMkLst>
            <pc:docMk/>
            <pc:sldMk cId="708553223" sldId="317"/>
            <ac:spMk id="418" creationId="{636CA115-C575-48CA-37D2-287435EDEB9A}"/>
          </ac:spMkLst>
        </pc:spChg>
        <pc:spChg chg="add del mod modVis">
          <ac:chgData name="Muchahary, Frankle" userId="0f2bf491-0617-4378-90b8-89af8fa381b9" providerId="ADAL" clId="{90877F19-00D2-4A00-8128-E78E36266C9A}" dt="2023-11-04T19:58:55.950" v="69698"/>
          <ac:spMkLst>
            <pc:docMk/>
            <pc:sldMk cId="708553223" sldId="317"/>
            <ac:spMk id="419" creationId="{A8CA1B58-B1BF-7AFB-B336-8511627C9B7A}"/>
          </ac:spMkLst>
        </pc:spChg>
        <pc:spChg chg="add del mod replST">
          <ac:chgData name="Muchahary, Frankle" userId="0f2bf491-0617-4378-90b8-89af8fa381b9" providerId="ADAL" clId="{90877F19-00D2-4A00-8128-E78E36266C9A}" dt="2023-11-04T01:13:30.861" v="4742"/>
          <ac:spMkLst>
            <pc:docMk/>
            <pc:sldMk cId="708553223" sldId="317"/>
            <ac:spMk id="419" creationId="{B459CE65-C53D-A6F3-8D4D-E57494B462B6}"/>
          </ac:spMkLst>
        </pc:spChg>
        <pc:spChg chg="add del mod replST">
          <ac:chgData name="Muchahary, Frankle" userId="0f2bf491-0617-4378-90b8-89af8fa381b9" providerId="ADAL" clId="{90877F19-00D2-4A00-8128-E78E36266C9A}" dt="2023-11-04T01:13:30.875" v="4744"/>
          <ac:spMkLst>
            <pc:docMk/>
            <pc:sldMk cId="708553223" sldId="317"/>
            <ac:spMk id="420" creationId="{2541F983-4D32-97A7-5083-5A08904011DE}"/>
          </ac:spMkLst>
        </pc:spChg>
        <pc:spChg chg="add del mod modVis">
          <ac:chgData name="Muchahary, Frankle" userId="0f2bf491-0617-4378-90b8-89af8fa381b9" providerId="ADAL" clId="{90877F19-00D2-4A00-8128-E78E36266C9A}" dt="2023-11-04T19:59:10.514" v="71249"/>
          <ac:spMkLst>
            <pc:docMk/>
            <pc:sldMk cId="708553223" sldId="317"/>
            <ac:spMk id="421" creationId="{2D87F49E-1CF7-EFD9-8522-3C91F1585D1B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25" v="74386"/>
          <ac:spMkLst>
            <pc:docMk/>
            <pc:sldMk cId="708553223" sldId="317"/>
            <ac:spMk id="422" creationId="{39F2E1BC-5AE8-FADC-B46F-38AADAE4C1E2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33" v="74402"/>
          <ac:spMkLst>
            <pc:docMk/>
            <pc:sldMk cId="708553223" sldId="317"/>
            <ac:spMk id="423" creationId="{006761F4-DF10-2F62-161E-411ADDD13B70}"/>
          </ac:spMkLst>
        </pc:spChg>
        <pc:spChg chg="add del mod replST">
          <ac:chgData name="Muchahary, Frankle" userId="0f2bf491-0617-4378-90b8-89af8fa381b9" providerId="ADAL" clId="{90877F19-00D2-4A00-8128-E78E36266C9A}" dt="2023-11-04T19:59:36.644" v="74417"/>
          <ac:spMkLst>
            <pc:docMk/>
            <pc:sldMk cId="708553223" sldId="317"/>
            <ac:spMk id="424" creationId="{78A98F0B-3F7E-91EF-3EB3-957E5D9EB1CA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52" v="74430"/>
          <ac:spMkLst>
            <pc:docMk/>
            <pc:sldMk cId="708553223" sldId="317"/>
            <ac:spMk id="425" creationId="{8F3E97FB-8B35-438F-FC87-E2E7FF526831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61" v="74446"/>
          <ac:spMkLst>
            <pc:docMk/>
            <pc:sldMk cId="708553223" sldId="317"/>
            <ac:spMk id="426" creationId="{592855B6-60B3-50B0-337B-0C14AA37C2E5}"/>
          </ac:spMkLst>
        </pc:spChg>
        <pc:spChg chg="add del mod replST">
          <ac:chgData name="Muchahary, Frankle" userId="0f2bf491-0617-4378-90b8-89af8fa381b9" providerId="ADAL" clId="{90877F19-00D2-4A00-8128-E78E36266C9A}" dt="2023-11-04T19:59:36.668" v="74461"/>
          <ac:spMkLst>
            <pc:docMk/>
            <pc:sldMk cId="708553223" sldId="317"/>
            <ac:spMk id="427" creationId="{E5C62342-8840-DC9B-4035-886174A5D7DE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76" v="74474"/>
          <ac:spMkLst>
            <pc:docMk/>
            <pc:sldMk cId="708553223" sldId="317"/>
            <ac:spMk id="428" creationId="{2D63AF0D-83D1-23B8-38F5-F64D5ABAD2E2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84" v="74490"/>
          <ac:spMkLst>
            <pc:docMk/>
            <pc:sldMk cId="708553223" sldId="317"/>
            <ac:spMk id="429" creationId="{F9DA9DF2-A7F8-DCA6-2E57-B8D52CF9845A}"/>
          </ac:spMkLst>
        </pc:spChg>
        <pc:spChg chg="add del mod replST">
          <ac:chgData name="Muchahary, Frankle" userId="0f2bf491-0617-4378-90b8-89af8fa381b9" providerId="ADAL" clId="{90877F19-00D2-4A00-8128-E78E36266C9A}" dt="2023-11-04T19:59:36.692" v="74505"/>
          <ac:spMkLst>
            <pc:docMk/>
            <pc:sldMk cId="708553223" sldId="317"/>
            <ac:spMk id="430" creationId="{64F9C944-5C5A-7CD4-7127-3593F114DD0D}"/>
          </ac:spMkLst>
        </pc:spChg>
        <pc:spChg chg="add del mod ord replST">
          <ac:chgData name="Muchahary, Frankle" userId="0f2bf491-0617-4378-90b8-89af8fa381b9" providerId="ADAL" clId="{90877F19-00D2-4A00-8128-E78E36266C9A}" dt="2023-11-04T19:59:36.699" v="74518"/>
          <ac:spMkLst>
            <pc:docMk/>
            <pc:sldMk cId="708553223" sldId="317"/>
            <ac:spMk id="431" creationId="{E8A6698C-901A-9361-704D-B442298113F3}"/>
          </ac:spMkLst>
        </pc:spChg>
        <pc:spChg chg="add del mod ord replST">
          <ac:chgData name="Muchahary, Frankle" userId="0f2bf491-0617-4378-90b8-89af8fa381b9" providerId="ADAL" clId="{90877F19-00D2-4A00-8128-E78E36266C9A}" dt="2023-11-04T19:59:36.708" v="74534"/>
          <ac:spMkLst>
            <pc:docMk/>
            <pc:sldMk cId="708553223" sldId="317"/>
            <ac:spMk id="432" creationId="{62EB49CC-DEC5-A21B-1B5A-9DE635C75A16}"/>
          </ac:spMkLst>
        </pc:spChg>
        <pc:spChg chg="add del mod modVis">
          <ac:chgData name="Muchahary, Frankle" userId="0f2bf491-0617-4378-90b8-89af8fa381b9" providerId="ADAL" clId="{90877F19-00D2-4A00-8128-E78E36266C9A}" dt="2023-11-04T01:13:54.625" v="5294"/>
          <ac:spMkLst>
            <pc:docMk/>
            <pc:sldMk cId="708553223" sldId="317"/>
            <ac:spMk id="432" creationId="{9CEC44A3-C329-87B6-6D63-1F606BBF6C1F}"/>
          </ac:spMkLst>
        </pc:spChg>
        <pc:spChg chg="add del mod replST">
          <ac:chgData name="Muchahary, Frankle" userId="0f2bf491-0617-4378-90b8-89af8fa381b9" providerId="ADAL" clId="{90877F19-00D2-4A00-8128-E78E36266C9A}" dt="2023-11-04T19:59:36.716" v="74549"/>
          <ac:spMkLst>
            <pc:docMk/>
            <pc:sldMk cId="708553223" sldId="317"/>
            <ac:spMk id="433" creationId="{AC4B808B-2B93-3585-AFAF-474D4EF7A81F}"/>
          </ac:spMkLst>
        </pc:spChg>
        <pc:spChg chg="add del mod modVis">
          <ac:chgData name="Muchahary, Frankle" userId="0f2bf491-0617-4378-90b8-89af8fa381b9" providerId="ADAL" clId="{90877F19-00D2-4A00-8128-E78E36266C9A}" dt="2023-11-04T01:13:58.611" v="5375"/>
          <ac:spMkLst>
            <pc:docMk/>
            <pc:sldMk cId="708553223" sldId="317"/>
            <ac:spMk id="434" creationId="{6B191096-90CF-70D7-2054-F50012C55B72}"/>
          </ac:spMkLst>
        </pc:spChg>
        <pc:spChg chg="add del mod ord replST">
          <ac:chgData name="Muchahary, Frankle" userId="0f2bf491-0617-4378-90b8-89af8fa381b9" providerId="ADAL" clId="{90877F19-00D2-4A00-8128-E78E36266C9A}" dt="2023-11-08T07:17:14.032" v="170945"/>
          <ac:spMkLst>
            <pc:docMk/>
            <pc:sldMk cId="708553223" sldId="317"/>
            <ac:spMk id="434" creationId="{890C81EC-90ED-A141-4B88-8C94BE21B802}"/>
          </ac:spMkLst>
        </pc:spChg>
        <pc:spChg chg="add del mod replST">
          <ac:chgData name="Muchahary, Frankle" userId="0f2bf491-0617-4378-90b8-89af8fa381b9" providerId="ADAL" clId="{90877F19-00D2-4A00-8128-E78E36266C9A}" dt="2023-11-08T07:17:14.019" v="170905"/>
          <ac:spMkLst>
            <pc:docMk/>
            <pc:sldMk cId="708553223" sldId="317"/>
            <ac:spMk id="435" creationId="{06ECB298-7D04-8719-A8C3-A559DEAB6D10}"/>
          </ac:spMkLst>
        </pc:spChg>
        <pc:spChg chg="add del mod replST">
          <ac:chgData name="Muchahary, Frankle" userId="0f2bf491-0617-4378-90b8-89af8fa381b9" providerId="ADAL" clId="{90877F19-00D2-4A00-8128-E78E36266C9A}" dt="2023-11-04T20:32:34.760" v="118237"/>
          <ac:spMkLst>
            <pc:docMk/>
            <pc:sldMk cId="708553223" sldId="317"/>
            <ac:spMk id="436" creationId="{64D995B3-D8CE-DE9C-5230-369FB9E37202}"/>
          </ac:spMkLst>
        </pc:spChg>
        <pc:spChg chg="add del mod modVis">
          <ac:chgData name="Muchahary, Frankle" userId="0f2bf491-0617-4378-90b8-89af8fa381b9" providerId="ADAL" clId="{90877F19-00D2-4A00-8128-E78E36266C9A}" dt="2023-11-04T01:14:02.229" v="5456"/>
          <ac:spMkLst>
            <pc:docMk/>
            <pc:sldMk cId="708553223" sldId="317"/>
            <ac:spMk id="436" creationId="{E3B78066-25F7-14D2-18F9-FBCAEF1AA03C}"/>
          </ac:spMkLst>
        </pc:spChg>
        <pc:spChg chg="add del mod replST">
          <ac:chgData name="Muchahary, Frankle" userId="0f2bf491-0617-4378-90b8-89af8fa381b9" providerId="ADAL" clId="{90877F19-00D2-4A00-8128-E78E36266C9A}" dt="2023-11-08T07:17:14.020" v="170908"/>
          <ac:spMkLst>
            <pc:docMk/>
            <pc:sldMk cId="708553223" sldId="317"/>
            <ac:spMk id="437" creationId="{39519187-F53D-0D26-4C15-FEE4DF8F3348}"/>
          </ac:spMkLst>
        </pc:spChg>
        <pc:spChg chg="add del mod replST">
          <ac:chgData name="Muchahary, Frankle" userId="0f2bf491-0617-4378-90b8-89af8fa381b9" providerId="ADAL" clId="{90877F19-00D2-4A00-8128-E78E36266C9A}" dt="2023-11-05T18:08:50.797" v="148797"/>
          <ac:spMkLst>
            <pc:docMk/>
            <pc:sldMk cId="708553223" sldId="317"/>
            <ac:spMk id="438" creationId="{84FAB29A-455F-08B2-B433-78FF60A92CE4}"/>
          </ac:spMkLst>
        </pc:spChg>
        <pc:spChg chg="add del mod modVis">
          <ac:chgData name="Muchahary, Frankle" userId="0f2bf491-0617-4378-90b8-89af8fa381b9" providerId="ADAL" clId="{90877F19-00D2-4A00-8128-E78E36266C9A}" dt="2023-11-04T01:14:16.669" v="5570"/>
          <ac:spMkLst>
            <pc:docMk/>
            <pc:sldMk cId="708553223" sldId="317"/>
            <ac:spMk id="439" creationId="{CA326E50-B58B-640B-9891-2CB59F8A96ED}"/>
          </ac:spMkLst>
        </pc:spChg>
        <pc:spChg chg="add del mod replST">
          <ac:chgData name="Muchahary, Frankle" userId="0f2bf491-0617-4378-90b8-89af8fa381b9" providerId="ADAL" clId="{90877F19-00D2-4A00-8128-E78E36266C9A}" dt="2023-11-08T07:17:14.021" v="170910"/>
          <ac:spMkLst>
            <pc:docMk/>
            <pc:sldMk cId="708553223" sldId="317"/>
            <ac:spMk id="439" creationId="{FFD987BA-DFC4-5FF7-B520-DFE3A414A159}"/>
          </ac:spMkLst>
        </pc:spChg>
        <pc:spChg chg="add del mod replST">
          <ac:chgData name="Muchahary, Frankle" userId="0f2bf491-0617-4378-90b8-89af8fa381b9" providerId="ADAL" clId="{90877F19-00D2-4A00-8128-E78E36266C9A}" dt="2023-11-04T20:32:34.758" v="118231"/>
          <ac:spMkLst>
            <pc:docMk/>
            <pc:sldMk cId="708553223" sldId="317"/>
            <ac:spMk id="440" creationId="{086BAE91-7619-2D11-B15E-2AC7FE180422}"/>
          </ac:spMkLst>
        </pc:spChg>
        <pc:spChg chg="add del mod replST">
          <ac:chgData name="Muchahary, Frankle" userId="0f2bf491-0617-4378-90b8-89af8fa381b9" providerId="ADAL" clId="{90877F19-00D2-4A00-8128-E78E36266C9A}" dt="2023-11-08T07:17:14.022" v="170912"/>
          <ac:spMkLst>
            <pc:docMk/>
            <pc:sldMk cId="708553223" sldId="317"/>
            <ac:spMk id="441" creationId="{0EEFBB1A-4E83-ED25-484E-DEC9A4298AF9}"/>
          </ac:spMkLst>
        </pc:spChg>
        <pc:spChg chg="add del mod modVis">
          <ac:chgData name="Muchahary, Frankle" userId="0f2bf491-0617-4378-90b8-89af8fa381b9" providerId="ADAL" clId="{90877F19-00D2-4A00-8128-E78E36266C9A}" dt="2023-11-04T01:14:33.489" v="5722"/>
          <ac:spMkLst>
            <pc:docMk/>
            <pc:sldMk cId="708553223" sldId="317"/>
            <ac:spMk id="441" creationId="{519CEBFE-338C-B010-C20B-08AFAC0DD3B2}"/>
          </ac:spMkLst>
        </pc:spChg>
        <pc:spChg chg="add del mod replST">
          <ac:chgData name="Muchahary, Frankle" userId="0f2bf491-0617-4378-90b8-89af8fa381b9" providerId="ADAL" clId="{90877F19-00D2-4A00-8128-E78E36266C9A}" dt="2023-11-04T20:32:34.756" v="118228"/>
          <ac:spMkLst>
            <pc:docMk/>
            <pc:sldMk cId="708553223" sldId="317"/>
            <ac:spMk id="442" creationId="{CE2829A4-D00E-FB9A-963E-C9D8BFDEB6CF}"/>
          </ac:spMkLst>
        </pc:spChg>
        <pc:spChg chg="add del mod replST">
          <ac:chgData name="Muchahary, Frankle" userId="0f2bf491-0617-4378-90b8-89af8fa381b9" providerId="ADAL" clId="{90877F19-00D2-4A00-8128-E78E36266C9A}" dt="2023-11-04T20:02:16.613" v="79733"/>
          <ac:spMkLst>
            <pc:docMk/>
            <pc:sldMk cId="708553223" sldId="317"/>
            <ac:spMk id="443" creationId="{43EF429C-D3EF-5282-B45B-E229BC6F5544}"/>
          </ac:spMkLst>
        </pc:spChg>
        <pc:spChg chg="add del mod replST">
          <ac:chgData name="Muchahary, Frankle" userId="0f2bf491-0617-4378-90b8-89af8fa381b9" providerId="ADAL" clId="{90877F19-00D2-4A00-8128-E78E36266C9A}" dt="2023-11-05T18:08:40.341" v="147472"/>
          <ac:spMkLst>
            <pc:docMk/>
            <pc:sldMk cId="708553223" sldId="317"/>
            <ac:spMk id="444" creationId="{54583192-9FCF-1079-F792-1C6A5841CC49}"/>
          </ac:spMkLst>
        </pc:spChg>
        <pc:spChg chg="add del mod replST">
          <ac:chgData name="Muchahary, Frankle" userId="0f2bf491-0617-4378-90b8-89af8fa381b9" providerId="ADAL" clId="{90877F19-00D2-4A00-8128-E78E36266C9A}" dt="2023-11-04T20:32:34.754" v="118222"/>
          <ac:spMkLst>
            <pc:docMk/>
            <pc:sldMk cId="708553223" sldId="317"/>
            <ac:spMk id="445" creationId="{381CBB5A-D11B-CAA2-F528-ACE280864EE2}"/>
          </ac:spMkLst>
        </pc:spChg>
        <pc:spChg chg="add del mod replST">
          <ac:chgData name="Muchahary, Frankle" userId="0f2bf491-0617-4378-90b8-89af8fa381b9" providerId="ADAL" clId="{90877F19-00D2-4A00-8128-E78E36266C9A}" dt="2023-11-05T18:08:40.340" v="147469"/>
          <ac:spMkLst>
            <pc:docMk/>
            <pc:sldMk cId="708553223" sldId="317"/>
            <ac:spMk id="446" creationId="{4E0A4B12-352B-CCF5-B5D8-CC5A8C3F2F01}"/>
          </ac:spMkLst>
        </pc:spChg>
        <pc:spChg chg="add del mod replST">
          <ac:chgData name="Muchahary, Frankle" userId="0f2bf491-0617-4378-90b8-89af8fa381b9" providerId="ADAL" clId="{90877F19-00D2-4A00-8128-E78E36266C9A}" dt="2023-11-05T18:08:40.339" v="147466"/>
          <ac:spMkLst>
            <pc:docMk/>
            <pc:sldMk cId="708553223" sldId="317"/>
            <ac:spMk id="447" creationId="{6146C153-A8A6-BE05-5FD9-98E0D115C574}"/>
          </ac:spMkLst>
        </pc:spChg>
        <pc:spChg chg="add del mod modVis">
          <ac:chgData name="Muchahary, Frankle" userId="0f2bf491-0617-4378-90b8-89af8fa381b9" providerId="ADAL" clId="{90877F19-00D2-4A00-8128-E78E36266C9A}" dt="2023-11-04T01:15:29.653" v="6675"/>
          <ac:spMkLst>
            <pc:docMk/>
            <pc:sldMk cId="708553223" sldId="317"/>
            <ac:spMk id="454" creationId="{68EC052D-7D12-87C6-7E90-3816BC36CC99}"/>
          </ac:spMkLst>
        </pc:spChg>
        <pc:spChg chg="add del mod modVis">
          <ac:chgData name="Muchahary, Frankle" userId="0f2bf491-0617-4378-90b8-89af8fa381b9" providerId="ADAL" clId="{90877F19-00D2-4A00-8128-E78E36266C9A}" dt="2023-11-04T01:15:27.691" v="6636"/>
          <ac:spMkLst>
            <pc:docMk/>
            <pc:sldMk cId="708553223" sldId="317"/>
            <ac:spMk id="456" creationId="{37520066-3BE2-7EB1-D0C6-994AE36D597A}"/>
          </ac:spMkLst>
        </pc:spChg>
        <pc:spChg chg="add del mod modVis">
          <ac:chgData name="Muchahary, Frankle" userId="0f2bf491-0617-4378-90b8-89af8fa381b9" providerId="ADAL" clId="{90877F19-00D2-4A00-8128-E78E36266C9A}" dt="2023-11-04T01:15:33.354" v="6780"/>
          <ac:spMkLst>
            <pc:docMk/>
            <pc:sldMk cId="708553223" sldId="317"/>
            <ac:spMk id="458" creationId="{64E709C8-93B1-689C-2634-6C00D1368B7D}"/>
          </ac:spMkLst>
        </pc:spChg>
        <pc:spChg chg="add del mod modVis">
          <ac:chgData name="Muchahary, Frankle" userId="0f2bf491-0617-4378-90b8-89af8fa381b9" providerId="ADAL" clId="{90877F19-00D2-4A00-8128-E78E36266C9A}" dt="2023-11-04T01:15:59.408" v="7028"/>
          <ac:spMkLst>
            <pc:docMk/>
            <pc:sldMk cId="708553223" sldId="317"/>
            <ac:spMk id="463" creationId="{C40CD50C-E304-50D5-1F9E-111E169A9A7A}"/>
          </ac:spMkLst>
        </pc:spChg>
        <pc:spChg chg="add del mod modVis">
          <ac:chgData name="Muchahary, Frankle" userId="0f2bf491-0617-4378-90b8-89af8fa381b9" providerId="ADAL" clId="{90877F19-00D2-4A00-8128-E78E36266C9A}" dt="2023-11-04T01:16:03.960" v="7179"/>
          <ac:spMkLst>
            <pc:docMk/>
            <pc:sldMk cId="708553223" sldId="317"/>
            <ac:spMk id="466" creationId="{71CB0DB6-8813-6E2B-172E-53CCA76B28CE}"/>
          </ac:spMkLst>
        </pc:spChg>
        <pc:spChg chg="add del mod modVis">
          <ac:chgData name="Muchahary, Frankle" userId="0f2bf491-0617-4378-90b8-89af8fa381b9" providerId="ADAL" clId="{90877F19-00D2-4A00-8128-E78E36266C9A}" dt="2023-11-04T01:16:18.378" v="7472"/>
          <ac:spMkLst>
            <pc:docMk/>
            <pc:sldMk cId="708553223" sldId="317"/>
            <ac:spMk id="469" creationId="{DE97DEBB-B590-29AF-A0DD-4FDD81A6A4CD}"/>
          </ac:spMkLst>
        </pc:spChg>
        <pc:spChg chg="add del mod modVis">
          <ac:chgData name="Muchahary, Frankle" userId="0f2bf491-0617-4378-90b8-89af8fa381b9" providerId="ADAL" clId="{90877F19-00D2-4A00-8128-E78E36266C9A}" dt="2023-11-04T01:16:22.990" v="7789"/>
          <ac:spMkLst>
            <pc:docMk/>
            <pc:sldMk cId="708553223" sldId="317"/>
            <ac:spMk id="472" creationId="{6C3AA0F0-2C82-4835-E92D-0F7EBE9D2C90}"/>
          </ac:spMkLst>
        </pc:spChg>
        <pc:spChg chg="add del mod modVis">
          <ac:chgData name="Muchahary, Frankle" userId="0f2bf491-0617-4378-90b8-89af8fa381b9" providerId="ADAL" clId="{90877F19-00D2-4A00-8128-E78E36266C9A}" dt="2023-11-04T01:16:30.024" v="8164"/>
          <ac:spMkLst>
            <pc:docMk/>
            <pc:sldMk cId="708553223" sldId="317"/>
            <ac:spMk id="477" creationId="{4B87808A-46F3-95AB-FC2D-A60655A29151}"/>
          </ac:spMkLst>
        </pc:spChg>
        <pc:spChg chg="add del mod modVis">
          <ac:chgData name="Muchahary, Frankle" userId="0f2bf491-0617-4378-90b8-89af8fa381b9" providerId="ADAL" clId="{90877F19-00D2-4A00-8128-E78E36266C9A}" dt="2023-11-04T01:16:38.193" v="8252"/>
          <ac:spMkLst>
            <pc:docMk/>
            <pc:sldMk cId="708553223" sldId="317"/>
            <ac:spMk id="479" creationId="{E0A029E2-EBA7-037B-3B48-68BA794DAE0B}"/>
          </ac:spMkLst>
        </pc:spChg>
        <pc:spChg chg="add del mod modVis">
          <ac:chgData name="Muchahary, Frankle" userId="0f2bf491-0617-4378-90b8-89af8fa381b9" providerId="ADAL" clId="{90877F19-00D2-4A00-8128-E78E36266C9A}" dt="2023-11-04T01:16:41.054" v="8340"/>
          <ac:spMkLst>
            <pc:docMk/>
            <pc:sldMk cId="708553223" sldId="317"/>
            <ac:spMk id="481" creationId="{F64D2522-99FA-D26F-B2F8-FA2CE2E5649E}"/>
          </ac:spMkLst>
        </pc:spChg>
        <pc:spChg chg="add del mod modVis">
          <ac:chgData name="Muchahary, Frankle" userId="0f2bf491-0617-4378-90b8-89af8fa381b9" providerId="ADAL" clId="{90877F19-00D2-4A00-8128-E78E36266C9A}" dt="2023-11-04T01:16:43.054" v="8428"/>
          <ac:spMkLst>
            <pc:docMk/>
            <pc:sldMk cId="708553223" sldId="317"/>
            <ac:spMk id="483" creationId="{BF03C8EC-4A7F-E975-FED6-40D7A7EF2EE7}"/>
          </ac:spMkLst>
        </pc:spChg>
        <pc:spChg chg="add del mod modVis">
          <ac:chgData name="Muchahary, Frankle" userId="0f2bf491-0617-4378-90b8-89af8fa381b9" providerId="ADAL" clId="{90877F19-00D2-4A00-8128-E78E36266C9A}" dt="2023-11-04T01:16:46.740" v="8516"/>
          <ac:spMkLst>
            <pc:docMk/>
            <pc:sldMk cId="708553223" sldId="317"/>
            <ac:spMk id="485" creationId="{C7BAFD6C-D309-AAB2-6335-DCBFF0F4978A}"/>
          </ac:spMkLst>
        </pc:spChg>
        <pc:spChg chg="add del mod modVis">
          <ac:chgData name="Muchahary, Frankle" userId="0f2bf491-0617-4378-90b8-89af8fa381b9" providerId="ADAL" clId="{90877F19-00D2-4A00-8128-E78E36266C9A}" dt="2023-11-04T01:16:54.363" v="8604"/>
          <ac:spMkLst>
            <pc:docMk/>
            <pc:sldMk cId="708553223" sldId="317"/>
            <ac:spMk id="487" creationId="{0BB732E9-B1F2-6AEB-44F2-260C2EC9633A}"/>
          </ac:spMkLst>
        </pc:spChg>
        <pc:spChg chg="add del mod modVis">
          <ac:chgData name="Muchahary, Frankle" userId="0f2bf491-0617-4378-90b8-89af8fa381b9" providerId="ADAL" clId="{90877F19-00D2-4A00-8128-E78E36266C9A}" dt="2023-11-04T01:16:57.274" v="8692"/>
          <ac:spMkLst>
            <pc:docMk/>
            <pc:sldMk cId="708553223" sldId="317"/>
            <ac:spMk id="489" creationId="{8CF4E946-63BF-284C-BD21-EB5C759B7011}"/>
          </ac:spMkLst>
        </pc:spChg>
        <pc:spChg chg="add mod ord replST delST">
          <ac:chgData name="Muchahary, Frankle" userId="0f2bf491-0617-4378-90b8-89af8fa381b9" providerId="ADAL" clId="{90877F19-00D2-4A00-8128-E78E36266C9A}" dt="2023-11-04T01:17:40.419" v="9012"/>
          <ac:spMkLst>
            <pc:docMk/>
            <pc:sldMk cId="708553223" sldId="317"/>
            <ac:spMk id="491" creationId="{A7636DEA-10E8-4B5A-90BE-3371CEFE8627}"/>
          </ac:spMkLst>
        </pc:spChg>
        <pc:spChg chg="add del mod modVis">
          <ac:chgData name="Muchahary, Frankle" userId="0f2bf491-0617-4378-90b8-89af8fa381b9" providerId="ADAL" clId="{90877F19-00D2-4A00-8128-E78E36266C9A}" dt="2023-11-04T01:17:40.419" v="9012"/>
          <ac:spMkLst>
            <pc:docMk/>
            <pc:sldMk cId="708553223" sldId="317"/>
            <ac:spMk id="492" creationId="{4364E276-89F4-852F-32DD-77DC710B30A2}"/>
          </ac:spMkLst>
        </pc:spChg>
        <pc:spChg chg="add del mod modVis">
          <ac:chgData name="Muchahary, Frankle" userId="0f2bf491-0617-4378-90b8-89af8fa381b9" providerId="ADAL" clId="{90877F19-00D2-4A00-8128-E78E36266C9A}" dt="2023-11-04T01:17:52.145" v="9516"/>
          <ac:spMkLst>
            <pc:docMk/>
            <pc:sldMk cId="708553223" sldId="317"/>
            <ac:spMk id="497" creationId="{AA3210DB-CCBC-D4F0-D079-BC3EC14E83E5}"/>
          </ac:spMkLst>
        </pc:spChg>
        <pc:spChg chg="add mod replST delST">
          <ac:chgData name="Muchahary, Frankle" userId="0f2bf491-0617-4378-90b8-89af8fa381b9" providerId="ADAL" clId="{90877F19-00D2-4A00-8128-E78E36266C9A}" dt="2023-11-04T01:17:52.145" v="9516"/>
          <ac:spMkLst>
            <pc:docMk/>
            <pc:sldMk cId="708553223" sldId="317"/>
            <ac:spMk id="498" creationId="{BE0769DF-3777-4EFA-0627-8168389DFED9}"/>
          </ac:spMkLst>
        </pc:spChg>
        <pc:spChg chg="add mod replST delST">
          <ac:chgData name="Muchahary, Frankle" userId="0f2bf491-0617-4378-90b8-89af8fa381b9" providerId="ADAL" clId="{90877F19-00D2-4A00-8128-E78E36266C9A}" dt="2023-11-04T01:17:52.145" v="9516"/>
          <ac:spMkLst>
            <pc:docMk/>
            <pc:sldMk cId="708553223" sldId="317"/>
            <ac:spMk id="499" creationId="{71D320DA-491E-A267-F54F-FF11A8B7BB7E}"/>
          </ac:spMkLst>
        </pc:spChg>
        <pc:spChg chg="add del mod modVis">
          <ac:chgData name="Muchahary, Frankle" userId="0f2bf491-0617-4378-90b8-89af8fa381b9" providerId="ADAL" clId="{90877F19-00D2-4A00-8128-E78E36266C9A}" dt="2023-11-04T01:18:23.722" v="10032"/>
          <ac:spMkLst>
            <pc:docMk/>
            <pc:sldMk cId="708553223" sldId="317"/>
            <ac:spMk id="501" creationId="{A63F54BA-91AF-5272-EC8F-F692A95435DD}"/>
          </ac:spMkLst>
        </pc:spChg>
        <pc:spChg chg="add mod ord replST delST">
          <ac:chgData name="Muchahary, Frankle" userId="0f2bf491-0617-4378-90b8-89af8fa381b9" providerId="ADAL" clId="{90877F19-00D2-4A00-8128-E78E36266C9A}" dt="2023-11-04T01:18:23.722" v="10032"/>
          <ac:spMkLst>
            <pc:docMk/>
            <pc:sldMk cId="708553223" sldId="317"/>
            <ac:spMk id="502" creationId="{02D72E66-1491-221E-21B2-618A9F683C2E}"/>
          </ac:spMkLst>
        </pc:spChg>
        <pc:spChg chg="add del mod modVis">
          <ac:chgData name="Muchahary, Frankle" userId="0f2bf491-0617-4378-90b8-89af8fa381b9" providerId="ADAL" clId="{90877F19-00D2-4A00-8128-E78E36266C9A}" dt="2023-11-04T01:18:27.224" v="10144"/>
          <ac:spMkLst>
            <pc:docMk/>
            <pc:sldMk cId="708553223" sldId="317"/>
            <ac:spMk id="507" creationId="{B03F6F7E-321F-0B07-1658-15AC886FD848}"/>
          </ac:spMkLst>
        </pc:spChg>
        <pc:spChg chg="add del mod modVis">
          <ac:chgData name="Muchahary, Frankle" userId="0f2bf491-0617-4378-90b8-89af8fa381b9" providerId="ADAL" clId="{90877F19-00D2-4A00-8128-E78E36266C9A}" dt="2023-11-04T01:18:36.007" v="10365"/>
          <ac:spMkLst>
            <pc:docMk/>
            <pc:sldMk cId="708553223" sldId="317"/>
            <ac:spMk id="509" creationId="{B0F66AD2-9F70-6CFD-B7F7-8B63F66F4D39}"/>
          </ac:spMkLst>
        </pc:spChg>
        <pc:spChg chg="add del mod replST">
          <ac:chgData name="Muchahary, Frankle" userId="0f2bf491-0617-4378-90b8-89af8fa381b9" providerId="ADAL" clId="{90877F19-00D2-4A00-8128-E78E36266C9A}" dt="2023-11-04T01:18:45.460" v="10456"/>
          <ac:spMkLst>
            <pc:docMk/>
            <pc:sldMk cId="708553223" sldId="317"/>
            <ac:spMk id="510" creationId="{D073F996-1817-4B70-88C5-07BAAD58CE4D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2" creationId="{104F0B80-BB63-F0A6-AF28-F55DD85B272A}"/>
          </ac:spMkLst>
        </pc:spChg>
        <pc:spChg chg="add del mod modVis">
          <ac:chgData name="Muchahary, Frankle" userId="0f2bf491-0617-4378-90b8-89af8fa381b9" providerId="ADAL" clId="{90877F19-00D2-4A00-8128-E78E36266C9A}" dt="2023-11-04T01:18:37.519" v="10453"/>
          <ac:spMkLst>
            <pc:docMk/>
            <pc:sldMk cId="708553223" sldId="317"/>
            <ac:spMk id="512" creationId="{C23887D7-024D-B69F-CB21-AD3A0F5A64E7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3" creationId="{EE1F62A7-B3CC-F339-EFD1-CEC5D37355F6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4" creationId="{ACCEECF1-0A05-9A2C-7668-6535D698E6AB}"/>
          </ac:spMkLst>
        </pc:spChg>
        <pc:spChg chg="add mod replST delST">
          <ac:chgData name="Muchahary, Frankle" userId="0f2bf491-0617-4378-90b8-89af8fa381b9" providerId="ADAL" clId="{90877F19-00D2-4A00-8128-E78E36266C9A}" dt="2023-11-04T01:18:50.965" v="10725"/>
          <ac:spMkLst>
            <pc:docMk/>
            <pc:sldMk cId="708553223" sldId="317"/>
            <ac:spMk id="515" creationId="{5E3537FC-8DA7-FD19-D9D3-61F6B0E9BB2B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5" creationId="{F9B377BC-C268-0CAF-DA31-091FC5AAC2BA}"/>
          </ac:spMkLst>
        </pc:spChg>
        <pc:spChg chg="add del mod modVis">
          <ac:chgData name="Muchahary, Frankle" userId="0f2bf491-0617-4378-90b8-89af8fa381b9" providerId="ADAL" clId="{90877F19-00D2-4A00-8128-E78E36266C9A}" dt="2023-11-04T01:18:50.965" v="10725"/>
          <ac:spMkLst>
            <pc:docMk/>
            <pc:sldMk cId="708553223" sldId="317"/>
            <ac:spMk id="516" creationId="{15B233C4-F8FF-0C23-6804-2DBD2037E11A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6" creationId="{491466C5-6EEF-88EB-E821-3E0E29DA43DB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7" creationId="{636500CC-A2B7-A5BC-6ED3-E016EB2FE0B9}"/>
          </ac:spMkLst>
        </pc:spChg>
        <pc:spChg chg="add del mod replST delST">
          <ac:chgData name="Muchahary, Frankle" userId="0f2bf491-0617-4378-90b8-89af8fa381b9" providerId="ADAL" clId="{90877F19-00D2-4A00-8128-E78E36266C9A}" dt="2023-11-04T01:18:50.965" v="10725"/>
          <ac:spMkLst>
            <pc:docMk/>
            <pc:sldMk cId="708553223" sldId="317"/>
            <ac:spMk id="518" creationId="{A5A613EB-68F6-B596-1D8D-66A14CA25C56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8" creationId="{BB317D89-974E-015B-FE65-259ED4B431CF}"/>
          </ac:spMkLst>
        </pc:spChg>
        <pc:spChg chg="add del mod modVis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19" creationId="{1922B927-21AC-892E-9E14-14A2B99B0CF6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19" creationId="{449A4D04-179F-A863-7230-1F346A59BC8D}"/>
          </ac:spMkLst>
        </pc:spChg>
        <pc:spChg chg="add del mod or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0" creationId="{3EEA83D5-8E9A-ABF4-1862-91B35D906D19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20" creationId="{E6EA7529-DC8B-BEFE-11E0-3023B77EB994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521" creationId="{21ABE4F4-93C1-27A4-A5FD-F5368052950A}"/>
          </ac:spMkLst>
        </pc:spChg>
        <pc:spChg chg="add del mod or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1" creationId="{7D2BABB5-AE29-5227-A409-19A67C6EA1F6}"/>
          </ac:spMkLst>
        </pc:spChg>
        <pc:spChg chg="add del mo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2" creationId="{F120450A-33E3-21EB-9413-B54DFACAA0C7}"/>
          </ac:spMkLst>
        </pc:spChg>
        <pc:spChg chg="add del mod or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3" creationId="{9C7E97FB-FC5D-E0FF-63D9-35CC84C9AE60}"/>
          </ac:spMkLst>
        </pc:spChg>
        <pc:spChg chg="add del mod or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4" creationId="{A82A5A01-F858-6CE1-AEB9-970F8CBEFD52}"/>
          </ac:spMkLst>
        </pc:spChg>
        <pc:spChg chg="add del mo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5" creationId="{814C5741-F5C8-F5B0-5275-28A27452B59A}"/>
          </ac:spMkLst>
        </pc:spChg>
        <pc:spChg chg="add mo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6" creationId="{4E782355-B027-3B40-B708-D00D2E47C2D6}"/>
          </ac:spMkLst>
        </pc:spChg>
        <pc:spChg chg="add mod replST delST">
          <ac:chgData name="Muchahary, Frankle" userId="0f2bf491-0617-4378-90b8-89af8fa381b9" providerId="ADAL" clId="{90877F19-00D2-4A00-8128-E78E36266C9A}" dt="2023-11-04T01:18:57.984" v="11395"/>
          <ac:spMkLst>
            <pc:docMk/>
            <pc:sldMk cId="708553223" sldId="317"/>
            <ac:spMk id="527" creationId="{56C85CA5-B7DC-A0F0-334D-2D0388650AEA}"/>
          </ac:spMkLst>
        </pc:spChg>
        <pc:spChg chg="add del mod modVis">
          <ac:chgData name="Muchahary, Frankle" userId="0f2bf491-0617-4378-90b8-89af8fa381b9" providerId="ADAL" clId="{90877F19-00D2-4A00-8128-E78E36266C9A}" dt="2023-11-04T01:19:10.393" v="11727"/>
          <ac:spMkLst>
            <pc:docMk/>
            <pc:sldMk cId="708553223" sldId="317"/>
            <ac:spMk id="529" creationId="{FAE24567-EFE9-9A52-1FB8-ABF16AFE7A7E}"/>
          </ac:spMkLst>
        </pc:spChg>
        <pc:spChg chg="add del mod modVis">
          <ac:chgData name="Muchahary, Frankle" userId="0f2bf491-0617-4378-90b8-89af8fa381b9" providerId="ADAL" clId="{90877F19-00D2-4A00-8128-E78E36266C9A}" dt="2023-11-04T01:19:19.864" v="12247"/>
          <ac:spMkLst>
            <pc:docMk/>
            <pc:sldMk cId="708553223" sldId="317"/>
            <ac:spMk id="532" creationId="{679ECDFC-368E-87C5-D12C-853BAE33E44C}"/>
          </ac:spMkLst>
        </pc:spChg>
        <pc:spChg chg="add mod ord replST delST">
          <ac:chgData name="Muchahary, Frankle" userId="0f2bf491-0617-4378-90b8-89af8fa381b9" providerId="ADAL" clId="{90877F19-00D2-4A00-8128-E78E36266C9A}" dt="2023-11-04T01:19:19.864" v="12247"/>
          <ac:spMkLst>
            <pc:docMk/>
            <pc:sldMk cId="708553223" sldId="317"/>
            <ac:spMk id="533" creationId="{311AECCD-0AA8-2F12-7E68-31A1E58E1C43}"/>
          </ac:spMkLst>
        </pc:spChg>
        <pc:spChg chg="add del mod modVis">
          <ac:chgData name="Muchahary, Frankle" userId="0f2bf491-0617-4378-90b8-89af8fa381b9" providerId="ADAL" clId="{90877F19-00D2-4A00-8128-E78E36266C9A}" dt="2023-11-04T01:19:31.861" v="12703"/>
          <ac:spMkLst>
            <pc:docMk/>
            <pc:sldMk cId="708553223" sldId="317"/>
            <ac:spMk id="538" creationId="{83B139BB-4D56-01A9-C299-AE97E3F6C744}"/>
          </ac:spMkLst>
        </pc:spChg>
        <pc:spChg chg="add mod replST delST">
          <ac:chgData name="Muchahary, Frankle" userId="0f2bf491-0617-4378-90b8-89af8fa381b9" providerId="ADAL" clId="{90877F19-00D2-4A00-8128-E78E36266C9A}" dt="2023-11-04T01:19:31.861" v="12703"/>
          <ac:spMkLst>
            <pc:docMk/>
            <pc:sldMk cId="708553223" sldId="317"/>
            <ac:spMk id="539" creationId="{01F1BE8E-66FD-E000-08AE-D87016F09239}"/>
          </ac:spMkLst>
        </pc:spChg>
        <pc:spChg chg="add del mod replST delST">
          <ac:chgData name="Muchahary, Frankle" userId="0f2bf491-0617-4378-90b8-89af8fa381b9" providerId="ADAL" clId="{90877F19-00D2-4A00-8128-E78E36266C9A}" dt="2023-11-04T01:19:31.861" v="12703"/>
          <ac:spMkLst>
            <pc:docMk/>
            <pc:sldMk cId="708553223" sldId="317"/>
            <ac:spMk id="540" creationId="{B2F70261-E44D-496A-9384-CDD298007AA4}"/>
          </ac:spMkLst>
        </pc:spChg>
        <pc:spChg chg="add del mod modVis">
          <ac:chgData name="Muchahary, Frankle" userId="0f2bf491-0617-4378-90b8-89af8fa381b9" providerId="ADAL" clId="{90877F19-00D2-4A00-8128-E78E36266C9A}" dt="2023-11-04T18:58:53.416" v="54415"/>
          <ac:spMkLst>
            <pc:docMk/>
            <pc:sldMk cId="708553223" sldId="317"/>
            <ac:spMk id="541" creationId="{6004EF8B-39DE-174B-790B-5634BFA28F7C}"/>
          </ac:spMkLst>
        </pc:spChg>
        <pc:spChg chg="add del mod modVis">
          <ac:chgData name="Muchahary, Frankle" userId="0f2bf491-0617-4378-90b8-89af8fa381b9" providerId="ADAL" clId="{90877F19-00D2-4A00-8128-E78E36266C9A}" dt="2023-11-04T19:08:45.574" v="54575"/>
          <ac:spMkLst>
            <pc:docMk/>
            <pc:sldMk cId="708553223" sldId="317"/>
            <ac:spMk id="542" creationId="{6D9A6805-127F-4663-02B5-720CA0C95C89}"/>
          </ac:spMkLst>
        </pc:spChg>
        <pc:spChg chg="add del mod modVis">
          <ac:chgData name="Muchahary, Frankle" userId="0f2bf491-0617-4378-90b8-89af8fa381b9" providerId="ADAL" clId="{90877F19-00D2-4A00-8128-E78E36266C9A}" dt="2023-11-04T01:19:40.736" v="12732"/>
          <ac:spMkLst>
            <pc:docMk/>
            <pc:sldMk cId="708553223" sldId="317"/>
            <ac:spMk id="543" creationId="{A0762538-0AD7-FB2C-0288-CD8B502182D4}"/>
          </ac:spMkLst>
        </pc:spChg>
        <pc:spChg chg="add del mod modVis">
          <ac:chgData name="Muchahary, Frankle" userId="0f2bf491-0617-4378-90b8-89af8fa381b9" providerId="ADAL" clId="{90877F19-00D2-4A00-8128-E78E36266C9A}" dt="2023-11-04T01:19:41.373" v="12759"/>
          <ac:spMkLst>
            <pc:docMk/>
            <pc:sldMk cId="708553223" sldId="317"/>
            <ac:spMk id="544" creationId="{0F9DBA7B-11CE-360A-E001-85ECBAD170CD}"/>
          </ac:spMkLst>
        </pc:spChg>
        <pc:spChg chg="add del mod modVis">
          <ac:chgData name="Muchahary, Frankle" userId="0f2bf491-0617-4378-90b8-89af8fa381b9" providerId="ADAL" clId="{90877F19-00D2-4A00-8128-E78E36266C9A}" dt="2023-11-04T01:19:47.247" v="12798"/>
          <ac:spMkLst>
            <pc:docMk/>
            <pc:sldMk cId="708553223" sldId="317"/>
            <ac:spMk id="545" creationId="{DC7BE942-D339-6623-A8B5-B0A4B097C1E5}"/>
          </ac:spMkLst>
        </pc:spChg>
        <pc:spChg chg="add del mod modVis">
          <ac:chgData name="Muchahary, Frankle" userId="0f2bf491-0617-4378-90b8-89af8fa381b9" providerId="ADAL" clId="{90877F19-00D2-4A00-8128-E78E36266C9A}" dt="2023-11-04T01:19:48.758" v="12831"/>
          <ac:spMkLst>
            <pc:docMk/>
            <pc:sldMk cId="708553223" sldId="317"/>
            <ac:spMk id="546" creationId="{71CA67BB-B115-37ED-BAA9-2773A9585329}"/>
          </ac:spMkLst>
        </pc:spChg>
        <pc:spChg chg="add del mod modVis">
          <ac:chgData name="Muchahary, Frankle" userId="0f2bf491-0617-4378-90b8-89af8fa381b9" providerId="ADAL" clId="{90877F19-00D2-4A00-8128-E78E36266C9A}" dt="2023-11-04T01:19:49.688" v="12858"/>
          <ac:spMkLst>
            <pc:docMk/>
            <pc:sldMk cId="708553223" sldId="317"/>
            <ac:spMk id="547" creationId="{103872FD-1230-42B4-749D-77FE5B47378A}"/>
          </ac:spMkLst>
        </pc:spChg>
        <pc:spChg chg="add del mod modVis">
          <ac:chgData name="Muchahary, Frankle" userId="0f2bf491-0617-4378-90b8-89af8fa381b9" providerId="ADAL" clId="{90877F19-00D2-4A00-8128-E78E36266C9A}" dt="2023-11-04T01:19:51.597" v="12891"/>
          <ac:spMkLst>
            <pc:docMk/>
            <pc:sldMk cId="708553223" sldId="317"/>
            <ac:spMk id="548" creationId="{788170D7-B8BC-5EBC-0869-F4A446C0AB3B}"/>
          </ac:spMkLst>
        </pc:spChg>
        <pc:spChg chg="add del mod modVis">
          <ac:chgData name="Muchahary, Frankle" userId="0f2bf491-0617-4378-90b8-89af8fa381b9" providerId="ADAL" clId="{90877F19-00D2-4A00-8128-E78E36266C9A}" dt="2023-11-04T01:19:54.403" v="12928"/>
          <ac:spMkLst>
            <pc:docMk/>
            <pc:sldMk cId="708553223" sldId="317"/>
            <ac:spMk id="549" creationId="{6815CA00-D595-D832-C21D-0D1E538FA1C9}"/>
          </ac:spMkLst>
        </pc:spChg>
        <pc:spChg chg="add del mod replST">
          <ac:chgData name="Muchahary, Frankle" userId="0f2bf491-0617-4378-90b8-89af8fa381b9" providerId="ADAL" clId="{90877F19-00D2-4A00-8128-E78E36266C9A}" dt="2023-11-04T19:09:15.441" v="55094"/>
          <ac:spMkLst>
            <pc:docMk/>
            <pc:sldMk cId="708553223" sldId="317"/>
            <ac:spMk id="549" creationId="{C4A3DF0D-B5FA-72C5-B1CE-F223BCE57EE3}"/>
          </ac:spMkLst>
        </pc:spChg>
        <pc:spChg chg="add del mod modVis">
          <ac:chgData name="Muchahary, Frankle" userId="0f2bf491-0617-4378-90b8-89af8fa381b9" providerId="ADAL" clId="{90877F19-00D2-4A00-8128-E78E36266C9A}" dt="2023-11-04T01:19:56.192" v="12958"/>
          <ac:spMkLst>
            <pc:docMk/>
            <pc:sldMk cId="708553223" sldId="317"/>
            <ac:spMk id="550" creationId="{A8955B9E-C419-EE01-944E-0CD5E1FE6869}"/>
          </ac:spMkLst>
        </pc:spChg>
        <pc:spChg chg="add del mod modVis">
          <ac:chgData name="Muchahary, Frankle" userId="0f2bf491-0617-4378-90b8-89af8fa381b9" providerId="ADAL" clId="{90877F19-00D2-4A00-8128-E78E36266C9A}" dt="2023-11-04T19:09:11.067" v="55020"/>
          <ac:spMkLst>
            <pc:docMk/>
            <pc:sldMk cId="708553223" sldId="317"/>
            <ac:spMk id="550" creationId="{CDBD1C18-5B47-1AE6-BEAA-7C33C59AA0F9}"/>
          </ac:spMkLst>
        </pc:spChg>
        <pc:spChg chg="add del mod modVis">
          <ac:chgData name="Muchahary, Frankle" userId="0f2bf491-0617-4378-90b8-89af8fa381b9" providerId="ADAL" clId="{90877F19-00D2-4A00-8128-E78E36266C9A}" dt="2023-11-04T01:19:57.554" v="12991"/>
          <ac:spMkLst>
            <pc:docMk/>
            <pc:sldMk cId="708553223" sldId="317"/>
            <ac:spMk id="551" creationId="{8588785A-4B8C-97D3-13AE-51F1E2BDD7B2}"/>
          </ac:spMkLst>
        </pc:spChg>
        <pc:spChg chg="add del mod modVis">
          <ac:chgData name="Muchahary, Frankle" userId="0f2bf491-0617-4378-90b8-89af8fa381b9" providerId="ADAL" clId="{90877F19-00D2-4A00-8128-E78E36266C9A}" dt="2023-11-04T01:20:00.371" v="13018"/>
          <ac:spMkLst>
            <pc:docMk/>
            <pc:sldMk cId="708553223" sldId="317"/>
            <ac:spMk id="552" creationId="{7D8B42AB-653B-6D6F-24FA-DE0A18CB53D1}"/>
          </ac:spMkLst>
        </pc:spChg>
        <pc:spChg chg="add del mod modVis">
          <ac:chgData name="Muchahary, Frankle" userId="0f2bf491-0617-4378-90b8-89af8fa381b9" providerId="ADAL" clId="{90877F19-00D2-4A00-8128-E78E36266C9A}" dt="2023-11-04T01:20:02.693" v="13045"/>
          <ac:spMkLst>
            <pc:docMk/>
            <pc:sldMk cId="708553223" sldId="317"/>
            <ac:spMk id="553" creationId="{268B90B4-26FB-9398-15B8-C014DAB2807E}"/>
          </ac:spMkLst>
        </pc:spChg>
        <pc:spChg chg="add del mod replST">
          <ac:chgData name="Muchahary, Frankle" userId="0f2bf491-0617-4378-90b8-89af8fa381b9" providerId="ADAL" clId="{90877F19-00D2-4A00-8128-E78E36266C9A}" dt="2023-11-04T19:09:28.170" v="55360"/>
          <ac:spMkLst>
            <pc:docMk/>
            <pc:sldMk cId="708553223" sldId="317"/>
            <ac:spMk id="554" creationId="{072F4334-60ED-633D-57C5-7880AF0F039B}"/>
          </ac:spMkLst>
        </pc:spChg>
        <pc:spChg chg="add del mod modVis">
          <ac:chgData name="Muchahary, Frankle" userId="0f2bf491-0617-4378-90b8-89af8fa381b9" providerId="ADAL" clId="{90877F19-00D2-4A00-8128-E78E36266C9A}" dt="2023-11-04T01:20:05.345" v="13081"/>
          <ac:spMkLst>
            <pc:docMk/>
            <pc:sldMk cId="708553223" sldId="317"/>
            <ac:spMk id="554" creationId="{5ADA499A-5427-4BBD-745E-FEFB4F360A8A}"/>
          </ac:spMkLst>
        </pc:spChg>
        <pc:spChg chg="add del mod modVis">
          <ac:chgData name="Muchahary, Frankle" userId="0f2bf491-0617-4378-90b8-89af8fa381b9" providerId="ADAL" clId="{90877F19-00D2-4A00-8128-E78E36266C9A}" dt="2023-11-04T19:09:19.066" v="55286"/>
          <ac:spMkLst>
            <pc:docMk/>
            <pc:sldMk cId="708553223" sldId="317"/>
            <ac:spMk id="555" creationId="{05A3D434-256B-E40D-E823-3FE8493BFEDC}"/>
          </ac:spMkLst>
        </pc:spChg>
        <pc:spChg chg="add del mod modVis">
          <ac:chgData name="Muchahary, Frankle" userId="0f2bf491-0617-4378-90b8-89af8fa381b9" providerId="ADAL" clId="{90877F19-00D2-4A00-8128-E78E36266C9A}" dt="2023-11-04T01:20:06.305" v="13110"/>
          <ac:spMkLst>
            <pc:docMk/>
            <pc:sldMk cId="708553223" sldId="317"/>
            <ac:spMk id="555" creationId="{F0DDE906-1F35-EF7C-C413-1D127F4C050E}"/>
          </ac:spMkLst>
        </pc:spChg>
        <pc:spChg chg="add del mod modVis">
          <ac:chgData name="Muchahary, Frankle" userId="0f2bf491-0617-4378-90b8-89af8fa381b9" providerId="ADAL" clId="{90877F19-00D2-4A00-8128-E78E36266C9A}" dt="2023-11-04T01:20:09.326" v="13153"/>
          <ac:spMkLst>
            <pc:docMk/>
            <pc:sldMk cId="708553223" sldId="317"/>
            <ac:spMk id="556" creationId="{31977470-D9AA-388F-F2B6-32D2AC8B2176}"/>
          </ac:spMkLst>
        </pc:spChg>
        <pc:spChg chg="add del mod modVis">
          <ac:chgData name="Muchahary, Frankle" userId="0f2bf491-0617-4378-90b8-89af8fa381b9" providerId="ADAL" clId="{90877F19-00D2-4A00-8128-E78E36266C9A}" dt="2023-11-04T01:20:14.830" v="13203" actId="962"/>
          <ac:spMkLst>
            <pc:docMk/>
            <pc:sldMk cId="708553223" sldId="317"/>
            <ac:spMk id="557" creationId="{EF5F0682-49A3-7710-B6E7-8942E419019C}"/>
          </ac:spMkLst>
        </pc:spChg>
        <pc:spChg chg="add del mod modVis">
          <ac:chgData name="Muchahary, Frankle" userId="0f2bf491-0617-4378-90b8-89af8fa381b9" providerId="ADAL" clId="{90877F19-00D2-4A00-8128-E78E36266C9A}" dt="2023-11-04T01:20:18.720" v="13232"/>
          <ac:spMkLst>
            <pc:docMk/>
            <pc:sldMk cId="708553223" sldId="317"/>
            <ac:spMk id="558" creationId="{20A98272-2D93-56FF-D16F-655B87F50327}"/>
          </ac:spMkLst>
        </pc:spChg>
        <pc:spChg chg="add del mod replST">
          <ac:chgData name="Muchahary, Frankle" userId="0f2bf491-0617-4378-90b8-89af8fa381b9" providerId="ADAL" clId="{90877F19-00D2-4A00-8128-E78E36266C9A}" dt="2023-11-04T19:09:35.970" v="55626"/>
          <ac:spMkLst>
            <pc:docMk/>
            <pc:sldMk cId="708553223" sldId="317"/>
            <ac:spMk id="559" creationId="{2D2FF2D4-5BC9-E7CC-9A51-FA6A21406DC0}"/>
          </ac:spMkLst>
        </pc:spChg>
        <pc:spChg chg="add del mod modVis">
          <ac:chgData name="Muchahary, Frankle" userId="0f2bf491-0617-4378-90b8-89af8fa381b9" providerId="ADAL" clId="{90877F19-00D2-4A00-8128-E78E36266C9A}" dt="2023-11-04T01:20:32.347" v="13282" actId="962"/>
          <ac:spMkLst>
            <pc:docMk/>
            <pc:sldMk cId="708553223" sldId="317"/>
            <ac:spMk id="559" creationId="{EE171454-E663-6ABA-3B66-AEE97A167116}"/>
          </ac:spMkLst>
        </pc:spChg>
        <pc:spChg chg="add del mod modVis">
          <ac:chgData name="Muchahary, Frankle" userId="0f2bf491-0617-4378-90b8-89af8fa381b9" providerId="ADAL" clId="{90877F19-00D2-4A00-8128-E78E36266C9A}" dt="2023-11-04T01:21:21.372" v="13316"/>
          <ac:spMkLst>
            <pc:docMk/>
            <pc:sldMk cId="708553223" sldId="317"/>
            <ac:spMk id="560" creationId="{A55BBB33-21DF-ECA9-A619-D9DCE831A865}"/>
          </ac:spMkLst>
        </pc:spChg>
        <pc:spChg chg="add del mod modVis">
          <ac:chgData name="Muchahary, Frankle" userId="0f2bf491-0617-4378-90b8-89af8fa381b9" providerId="ADAL" clId="{90877F19-00D2-4A00-8128-E78E36266C9A}" dt="2023-11-04T19:09:30.644" v="55552"/>
          <ac:spMkLst>
            <pc:docMk/>
            <pc:sldMk cId="708553223" sldId="317"/>
            <ac:spMk id="560" creationId="{BF3965C2-8B2C-126A-C4D5-AD4D68F44013}"/>
          </ac:spMkLst>
        </pc:spChg>
        <pc:spChg chg="add del mod modVis">
          <ac:chgData name="Muchahary, Frankle" userId="0f2bf491-0617-4378-90b8-89af8fa381b9" providerId="ADAL" clId="{90877F19-00D2-4A00-8128-E78E36266C9A}" dt="2023-11-04T01:21:24.368" v="13343"/>
          <ac:spMkLst>
            <pc:docMk/>
            <pc:sldMk cId="708553223" sldId="317"/>
            <ac:spMk id="561" creationId="{A0185C99-A0F9-CA89-8ACE-03942F285292}"/>
          </ac:spMkLst>
        </pc:spChg>
        <pc:spChg chg="add del mod replST">
          <ac:chgData name="Muchahary, Frankle" userId="0f2bf491-0617-4378-90b8-89af8fa381b9" providerId="ADAL" clId="{90877F19-00D2-4A00-8128-E78E36266C9A}" dt="2023-11-05T18:08:40.226" v="147415"/>
          <ac:spMkLst>
            <pc:docMk/>
            <pc:sldMk cId="708553223" sldId="317"/>
            <ac:spMk id="562" creationId="{BFAE1C44-A8C0-B514-6416-052BDDF41428}"/>
          </ac:spMkLst>
        </pc:spChg>
        <pc:spChg chg="add del mod modVis">
          <ac:chgData name="Muchahary, Frankle" userId="0f2bf491-0617-4378-90b8-89af8fa381b9" providerId="ADAL" clId="{90877F19-00D2-4A00-8128-E78E36266C9A}" dt="2023-11-04T01:21:44.121" v="13561"/>
          <ac:spMkLst>
            <pc:docMk/>
            <pc:sldMk cId="708553223" sldId="317"/>
            <ac:spMk id="563" creationId="{79523B0C-89BA-BD69-5D1F-0A452D7B02E1}"/>
          </ac:spMkLst>
        </pc:spChg>
        <pc:spChg chg="add del mod replST">
          <ac:chgData name="Muchahary, Frankle" userId="0f2bf491-0617-4378-90b8-89af8fa381b9" providerId="ADAL" clId="{90877F19-00D2-4A00-8128-E78E36266C9A}" dt="2023-11-04T19:18:44.733" v="55830"/>
          <ac:spMkLst>
            <pc:docMk/>
            <pc:sldMk cId="708553223" sldId="317"/>
            <ac:spMk id="565" creationId="{40F06830-E96C-AAB9-93C5-A5AE5890E4A2}"/>
          </ac:spMkLst>
        </pc:spChg>
        <pc:spChg chg="add del mod ord replST">
          <ac:chgData name="Muchahary, Frankle" userId="0f2bf491-0617-4378-90b8-89af8fa381b9" providerId="ADAL" clId="{90877F19-00D2-4A00-8128-E78E36266C9A}" dt="2023-11-04T01:22:03.917" v="13659"/>
          <ac:spMkLst>
            <pc:docMk/>
            <pc:sldMk cId="708553223" sldId="317"/>
            <ac:spMk id="566" creationId="{C3F90F8C-2AB8-BDF1-2649-379F4FE578EA}"/>
          </ac:spMkLst>
        </pc:spChg>
        <pc:spChg chg="add del mod modVis">
          <ac:chgData name="Muchahary, Frankle" userId="0f2bf491-0617-4378-90b8-89af8fa381b9" providerId="ADAL" clId="{90877F19-00D2-4A00-8128-E78E36266C9A}" dt="2023-11-04T19:18:43.377" v="55819"/>
          <ac:spMkLst>
            <pc:docMk/>
            <pc:sldMk cId="708553223" sldId="317"/>
            <ac:spMk id="566" creationId="{EBA130F9-7055-05E6-0198-C913E9403A2B}"/>
          </ac:spMkLst>
        </pc:spChg>
        <pc:spChg chg="add del mod modVis">
          <ac:chgData name="Muchahary, Frankle" userId="0f2bf491-0617-4378-90b8-89af8fa381b9" providerId="ADAL" clId="{90877F19-00D2-4A00-8128-E78E36266C9A}" dt="2023-11-04T01:22:03.955" v="13702"/>
          <ac:spMkLst>
            <pc:docMk/>
            <pc:sldMk cId="708553223" sldId="317"/>
            <ac:spMk id="568" creationId="{13B0C413-DA5D-01A2-771A-1E9E0BA426F1}"/>
          </ac:spMkLst>
        </pc:spChg>
        <pc:spChg chg="add del mod modVis">
          <ac:chgData name="Muchahary, Frankle" userId="0f2bf491-0617-4378-90b8-89af8fa381b9" providerId="ADAL" clId="{90877F19-00D2-4A00-8128-E78E36266C9A}" dt="2023-11-04T19:19:09.942" v="56544"/>
          <ac:spMkLst>
            <pc:docMk/>
            <pc:sldMk cId="708553223" sldId="317"/>
            <ac:spMk id="569" creationId="{7696D008-9EDD-3DA8-654D-ECA1C2E59FC6}"/>
          </ac:spMkLst>
        </pc:spChg>
        <pc:spChg chg="add del mod modVis">
          <ac:chgData name="Muchahary, Frankle" userId="0f2bf491-0617-4378-90b8-89af8fa381b9" providerId="ADAL" clId="{90877F19-00D2-4A00-8128-E78E36266C9A}" dt="2023-11-04T01:22:12.432" v="13866"/>
          <ac:spMkLst>
            <pc:docMk/>
            <pc:sldMk cId="708553223" sldId="317"/>
            <ac:spMk id="570" creationId="{881BEBA3-75D8-5152-D0AF-81E359A08969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1" v="56649"/>
          <ac:spMkLst>
            <pc:docMk/>
            <pc:sldMk cId="708553223" sldId="317"/>
            <ac:spMk id="570" creationId="{DF40DA87-2FBD-CFC1-E100-08C63A035021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3" v="56653"/>
          <ac:spMkLst>
            <pc:docMk/>
            <pc:sldMk cId="708553223" sldId="317"/>
            <ac:spMk id="571" creationId="{0A0704D1-44FC-85E8-2390-AEED0E27E21D}"/>
          </ac:spMkLst>
        </pc:spChg>
        <pc:spChg chg="add del mod replST">
          <ac:chgData name="Muchahary, Frankle" userId="0f2bf491-0617-4378-90b8-89af8fa381b9" providerId="ADAL" clId="{90877F19-00D2-4A00-8128-E78E36266C9A}" dt="2023-11-04T01:22:37.616" v="14680"/>
          <ac:spMkLst>
            <pc:docMk/>
            <pc:sldMk cId="708553223" sldId="317"/>
            <ac:spMk id="571" creationId="{E7EB2994-607E-84E9-019F-29A7D3D11028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5" v="56657"/>
          <ac:spMkLst>
            <pc:docMk/>
            <pc:sldMk cId="708553223" sldId="317"/>
            <ac:spMk id="572" creationId="{839FC6D6-56A8-31F6-F627-35EA7C65E586}"/>
          </ac:spMkLst>
        </pc:spChg>
        <pc:spChg chg="add del mod modVis">
          <ac:chgData name="Muchahary, Frankle" userId="0f2bf491-0617-4378-90b8-89af8fa381b9" providerId="ADAL" clId="{90877F19-00D2-4A00-8128-E78E36266C9A}" dt="2023-11-04T01:22:13.321" v="14032"/>
          <ac:spMkLst>
            <pc:docMk/>
            <pc:sldMk cId="708553223" sldId="317"/>
            <ac:spMk id="573" creationId="{1101173B-3AD2-FD39-6FB9-004427A1F1D1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7" v="56661"/>
          <ac:spMkLst>
            <pc:docMk/>
            <pc:sldMk cId="708553223" sldId="317"/>
            <ac:spMk id="573" creationId="{24EAACCE-A87F-0FB1-D82B-B6B7E561C524}"/>
          </ac:spMkLst>
        </pc:spChg>
        <pc:spChg chg="add del mod replST">
          <ac:chgData name="Muchahary, Frankle" userId="0f2bf491-0617-4378-90b8-89af8fa381b9" providerId="ADAL" clId="{90877F19-00D2-4A00-8128-E78E36266C9A}" dt="2023-11-04T01:22:37.585" v="14640"/>
          <ac:spMkLst>
            <pc:docMk/>
            <pc:sldMk cId="708553223" sldId="317"/>
            <ac:spMk id="574" creationId="{88857166-87BA-E1F8-2BE3-706E0857CE37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2" v="56651"/>
          <ac:spMkLst>
            <pc:docMk/>
            <pc:sldMk cId="708553223" sldId="317"/>
            <ac:spMk id="574" creationId="{AF0D6A3A-E16B-422C-8479-041109E706D4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4" v="56655"/>
          <ac:spMkLst>
            <pc:docMk/>
            <pc:sldMk cId="708553223" sldId="317"/>
            <ac:spMk id="575" creationId="{60B92A0D-C694-6124-8EE6-565BD68C7190}"/>
          </ac:spMkLst>
        </pc:spChg>
        <pc:spChg chg="add del mod replST">
          <ac:chgData name="Muchahary, Frankle" userId="0f2bf491-0617-4378-90b8-89af8fa381b9" providerId="ADAL" clId="{90877F19-00D2-4A00-8128-E78E36266C9A}" dt="2023-11-04T01:22:37.585" v="14641"/>
          <ac:spMkLst>
            <pc:docMk/>
            <pc:sldMk cId="708553223" sldId="317"/>
            <ac:spMk id="576" creationId="{1635EDAC-B0F6-4CE4-DE49-1BC8DA663E14}"/>
          </ac:spMkLst>
        </pc:spChg>
        <pc:spChg chg="add del mod modVis">
          <ac:chgData name="Muchahary, Frankle" userId="0f2bf491-0617-4378-90b8-89af8fa381b9" providerId="ADAL" clId="{90877F19-00D2-4A00-8128-E78E36266C9A}" dt="2023-11-04T01:22:14.340" v="14171"/>
          <ac:spMkLst>
            <pc:docMk/>
            <pc:sldMk cId="708553223" sldId="317"/>
            <ac:spMk id="577" creationId="{1C817D0A-2DA9-4D3B-A30A-ABE4D48723EA}"/>
          </ac:spMkLst>
        </pc:spChg>
        <pc:spChg chg="add del mod replST">
          <ac:chgData name="Muchahary, Frankle" userId="0f2bf491-0617-4378-90b8-89af8fa381b9" providerId="ADAL" clId="{90877F19-00D2-4A00-8128-E78E36266C9A}" dt="2023-11-04T01:22:37.009" v="14492"/>
          <ac:spMkLst>
            <pc:docMk/>
            <pc:sldMk cId="708553223" sldId="317"/>
            <ac:spMk id="579" creationId="{BD515C1B-0645-6F6C-349D-E977E1E52396}"/>
          </ac:spMkLst>
        </pc:spChg>
        <pc:spChg chg="add del mod modVis">
          <ac:chgData name="Muchahary, Frankle" userId="0f2bf491-0617-4378-90b8-89af8fa381b9" providerId="ADAL" clId="{90877F19-00D2-4A00-8128-E78E36266C9A}" dt="2023-11-04T01:22:15.278" v="14314"/>
          <ac:spMkLst>
            <pc:docMk/>
            <pc:sldMk cId="708553223" sldId="317"/>
            <ac:spMk id="580" creationId="{7EC4DB1F-549F-D4FB-2424-219040B352DC}"/>
          </ac:spMkLst>
        </pc:spChg>
        <pc:spChg chg="add del mod replST">
          <ac:chgData name="Muchahary, Frankle" userId="0f2bf491-0617-4378-90b8-89af8fa381b9" providerId="ADAL" clId="{90877F19-00D2-4A00-8128-E78E36266C9A}" dt="2023-11-04T01:22:37.009" v="14493"/>
          <ac:spMkLst>
            <pc:docMk/>
            <pc:sldMk cId="708553223" sldId="317"/>
            <ac:spMk id="582" creationId="{E8CD931C-373C-FE34-BD99-3FF3A6710E44}"/>
          </ac:spMkLst>
        </pc:spChg>
        <pc:spChg chg="add del mod modVis">
          <ac:chgData name="Muchahary, Frankle" userId="0f2bf491-0617-4378-90b8-89af8fa381b9" providerId="ADAL" clId="{90877F19-00D2-4A00-8128-E78E36266C9A}" dt="2023-11-04T01:22:16.439" v="14461"/>
          <ac:spMkLst>
            <pc:docMk/>
            <pc:sldMk cId="708553223" sldId="317"/>
            <ac:spMk id="583" creationId="{27F808C2-131A-3D85-5C84-9140C58A9F93}"/>
          </ac:spMkLst>
        </pc:spChg>
        <pc:spChg chg="add del mod modVis">
          <ac:chgData name="Muchahary, Frankle" userId="0f2bf491-0617-4378-90b8-89af8fa381b9" providerId="ADAL" clId="{90877F19-00D2-4A00-8128-E78E36266C9A}" dt="2023-11-04T01:22:37.107" v="14595"/>
          <ac:spMkLst>
            <pc:docMk/>
            <pc:sldMk cId="708553223" sldId="317"/>
            <ac:spMk id="585" creationId="{5C1F6903-5A77-8FE4-3C09-6F661A977AA7}"/>
          </ac:spMkLst>
        </pc:spChg>
        <pc:spChg chg="add del mod modVis">
          <ac:chgData name="Muchahary, Frankle" userId="0f2bf491-0617-4378-90b8-89af8fa381b9" providerId="ADAL" clId="{90877F19-00D2-4A00-8128-E78E36266C9A}" dt="2023-11-04T01:22:37.663" v="14739"/>
          <ac:spMkLst>
            <pc:docMk/>
            <pc:sldMk cId="708553223" sldId="317"/>
            <ac:spMk id="587" creationId="{026AF903-A213-D091-0745-129CE786DDBB}"/>
          </ac:spMkLst>
        </pc:spChg>
        <pc:spChg chg="add del mod ord replST">
          <ac:chgData name="Muchahary, Frankle" userId="0f2bf491-0617-4378-90b8-89af8fa381b9" providerId="ADAL" clId="{90877F19-00D2-4A00-8128-E78E36266C9A}" dt="2023-11-04T01:26:38.932" v="15385"/>
          <ac:spMkLst>
            <pc:docMk/>
            <pc:sldMk cId="708553223" sldId="317"/>
            <ac:spMk id="589" creationId="{BCF4B524-00C4-6886-904E-EAEAF53E54D7}"/>
          </ac:spMkLst>
        </pc:spChg>
        <pc:spChg chg="add del mod modVis">
          <ac:chgData name="Muchahary, Frankle" userId="0f2bf491-0617-4378-90b8-89af8fa381b9" providerId="ADAL" clId="{90877F19-00D2-4A00-8128-E78E36266C9A}" dt="2023-11-04T01:23:23.207" v="15035"/>
          <ac:spMkLst>
            <pc:docMk/>
            <pc:sldMk cId="708553223" sldId="317"/>
            <ac:spMk id="591" creationId="{4AF0698E-FBBB-3BBA-6800-27C260500F17}"/>
          </ac:spMkLst>
        </pc:spChg>
        <pc:spChg chg="add mod replST delST">
          <ac:chgData name="Muchahary, Frankle" userId="0f2bf491-0617-4378-90b8-89af8fa381b9" providerId="ADAL" clId="{90877F19-00D2-4A00-8128-E78E36266C9A}" dt="2023-11-04T01:23:23.207" v="15035"/>
          <ac:spMkLst>
            <pc:docMk/>
            <pc:sldMk cId="708553223" sldId="317"/>
            <ac:spMk id="592" creationId="{4CB1D528-D16D-6720-387D-47C972A74CA5}"/>
          </ac:spMkLst>
        </pc:spChg>
        <pc:spChg chg="add del mod modVis">
          <ac:chgData name="Muchahary, Frankle" userId="0f2bf491-0617-4378-90b8-89af8fa381b9" providerId="ADAL" clId="{90877F19-00D2-4A00-8128-E78E36266C9A}" dt="2023-11-04T01:24:04.805" v="15253"/>
          <ac:spMkLst>
            <pc:docMk/>
            <pc:sldMk cId="708553223" sldId="317"/>
            <ac:spMk id="594" creationId="{D76125F4-8934-5812-34E0-D23C9B662E25}"/>
          </ac:spMkLst>
        </pc:spChg>
        <pc:spChg chg="add del mod modVis">
          <ac:chgData name="Muchahary, Frankle" userId="0f2bf491-0617-4378-90b8-89af8fa381b9" providerId="ADAL" clId="{90877F19-00D2-4A00-8128-E78E36266C9A}" dt="2023-11-04T01:26:32.124" v="15352"/>
          <ac:spMkLst>
            <pc:docMk/>
            <pc:sldMk cId="708553223" sldId="317"/>
            <ac:spMk id="596" creationId="{FD64B6C0-9134-192C-05E9-4F53BC207E14}"/>
          </ac:spMkLst>
        </pc:spChg>
        <pc:spChg chg="add del mod modVis">
          <ac:chgData name="Muchahary, Frankle" userId="0f2bf491-0617-4378-90b8-89af8fa381b9" providerId="ADAL" clId="{90877F19-00D2-4A00-8128-E78E36266C9A}" dt="2023-11-04T01:26:38.982" v="15452"/>
          <ac:spMkLst>
            <pc:docMk/>
            <pc:sldMk cId="708553223" sldId="317"/>
            <ac:spMk id="598" creationId="{1F849E77-C633-FCF0-8433-A50E06643712}"/>
          </ac:spMkLst>
        </pc:spChg>
        <pc:spChg chg="add del mod modVis">
          <ac:chgData name="Muchahary, Frankle" userId="0f2bf491-0617-4378-90b8-89af8fa381b9" providerId="ADAL" clId="{90877F19-00D2-4A00-8128-E78E36266C9A}" dt="2023-11-04T01:26:43.362" v="15546"/>
          <ac:spMkLst>
            <pc:docMk/>
            <pc:sldMk cId="708553223" sldId="317"/>
            <ac:spMk id="600" creationId="{0A5538FD-8A05-3138-880F-649E9B195045}"/>
          </ac:spMkLst>
        </pc:spChg>
        <pc:spChg chg="add mod replST delST">
          <ac:chgData name="Muchahary, Frankle" userId="0f2bf491-0617-4378-90b8-89af8fa381b9" providerId="ADAL" clId="{90877F19-00D2-4A00-8128-E78E36266C9A}" dt="2023-11-04T01:27:02.034" v="15835"/>
          <ac:spMkLst>
            <pc:docMk/>
            <pc:sldMk cId="708553223" sldId="317"/>
            <ac:spMk id="603" creationId="{9E743794-5159-2CB6-8993-AAA802AE0FBD}"/>
          </ac:spMkLst>
        </pc:spChg>
        <pc:spChg chg="add del mod modVis">
          <ac:chgData name="Muchahary, Frankle" userId="0f2bf491-0617-4378-90b8-89af8fa381b9" providerId="ADAL" clId="{90877F19-00D2-4A00-8128-E78E36266C9A}" dt="2023-11-04T01:27:02.034" v="15835"/>
          <ac:spMkLst>
            <pc:docMk/>
            <pc:sldMk cId="708553223" sldId="317"/>
            <ac:spMk id="604" creationId="{CA753DFF-F345-AC3A-5B5E-AA241586CFCB}"/>
          </ac:spMkLst>
        </pc:spChg>
        <pc:spChg chg="add del mod modVis">
          <ac:chgData name="Muchahary, Frankle" userId="0f2bf491-0617-4378-90b8-89af8fa381b9" providerId="ADAL" clId="{90877F19-00D2-4A00-8128-E78E36266C9A}" dt="2023-11-04T01:27:05.412" v="16017"/>
          <ac:spMkLst>
            <pc:docMk/>
            <pc:sldMk cId="708553223" sldId="317"/>
            <ac:spMk id="606" creationId="{37720E97-7872-74B2-74F8-8E71987E8769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5" v="17122"/>
          <ac:spMkLst>
            <pc:docMk/>
            <pc:sldMk cId="708553223" sldId="317"/>
            <ac:spMk id="608" creationId="{C880A99B-EF82-9C88-7643-0259F1445D1E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5" v="17120"/>
          <ac:spMkLst>
            <pc:docMk/>
            <pc:sldMk cId="708553223" sldId="317"/>
            <ac:spMk id="609" creationId="{0CA811DB-D7FD-3273-98E5-6262C0335931}"/>
          </ac:spMkLst>
        </pc:spChg>
        <pc:spChg chg="add del mod replST">
          <ac:chgData name="Muchahary, Frankle" userId="0f2bf491-0617-4378-90b8-89af8fa381b9" providerId="ADAL" clId="{90877F19-00D2-4A00-8128-E78E36266C9A}" dt="2023-11-04T01:28:15.854" v="17118"/>
          <ac:spMkLst>
            <pc:docMk/>
            <pc:sldMk cId="708553223" sldId="317"/>
            <ac:spMk id="610" creationId="{DA66E9DD-8177-CA23-F355-409FBBBAAFF5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3" v="17117"/>
          <ac:spMkLst>
            <pc:docMk/>
            <pc:sldMk cId="708553223" sldId="317"/>
            <ac:spMk id="611" creationId="{C8862991-4CE1-F1B9-5382-16F934753251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3" v="17115"/>
          <ac:spMkLst>
            <pc:docMk/>
            <pc:sldMk cId="708553223" sldId="317"/>
            <ac:spMk id="612" creationId="{4A076233-0EF9-1861-EFE4-2ECDA4B3C908}"/>
          </ac:spMkLst>
        </pc:spChg>
        <pc:spChg chg="add del mod replST">
          <ac:chgData name="Muchahary, Frankle" userId="0f2bf491-0617-4378-90b8-89af8fa381b9" providerId="ADAL" clId="{90877F19-00D2-4A00-8128-E78E36266C9A}" dt="2023-11-04T01:28:15.851" v="17113"/>
          <ac:spMkLst>
            <pc:docMk/>
            <pc:sldMk cId="708553223" sldId="317"/>
            <ac:spMk id="613" creationId="{874C3683-0E9E-6C1D-EC77-7CE713801BB2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1" v="17112"/>
          <ac:spMkLst>
            <pc:docMk/>
            <pc:sldMk cId="708553223" sldId="317"/>
            <ac:spMk id="614" creationId="{DE9DE3B0-07E1-A3F9-7585-689C96EF85C0}"/>
          </ac:spMkLst>
        </pc:spChg>
        <pc:spChg chg="add del mod ord replST">
          <ac:chgData name="Muchahary, Frankle" userId="0f2bf491-0617-4378-90b8-89af8fa381b9" providerId="ADAL" clId="{90877F19-00D2-4A00-8128-E78E36266C9A}" dt="2023-11-04T01:28:15.851" v="17110"/>
          <ac:spMkLst>
            <pc:docMk/>
            <pc:sldMk cId="708553223" sldId="317"/>
            <ac:spMk id="615" creationId="{F9ED443D-C138-98A2-3CC9-47C02A1EF9DC}"/>
          </ac:spMkLst>
        </pc:spChg>
        <pc:spChg chg="add del mod replST">
          <ac:chgData name="Muchahary, Frankle" userId="0f2bf491-0617-4378-90b8-89af8fa381b9" providerId="ADAL" clId="{90877F19-00D2-4A00-8128-E78E36266C9A}" dt="2023-11-04T01:28:15.848" v="17108"/>
          <ac:spMkLst>
            <pc:docMk/>
            <pc:sldMk cId="708553223" sldId="317"/>
            <ac:spMk id="616" creationId="{BCC998C8-D2DB-8AB3-8A55-0DC7CD9FFADC}"/>
          </ac:spMkLst>
        </pc:spChg>
        <pc:spChg chg="add del mod ord replST">
          <ac:chgData name="Muchahary, Frankle" userId="0f2bf491-0617-4378-90b8-89af8fa381b9" providerId="ADAL" clId="{90877F19-00D2-4A00-8128-E78E36266C9A}" dt="2023-11-04T01:28:16.017" v="17241"/>
          <ac:spMkLst>
            <pc:docMk/>
            <pc:sldMk cId="708553223" sldId="317"/>
            <ac:spMk id="617" creationId="{464239D4-3E7B-A495-3564-C34C0D0AE2F1}"/>
          </ac:spMkLst>
        </pc:spChg>
        <pc:spChg chg="add del mod modVis">
          <ac:chgData name="Muchahary, Frankle" userId="0f2bf491-0617-4378-90b8-89af8fa381b9" providerId="ADAL" clId="{90877F19-00D2-4A00-8128-E78E36266C9A}" dt="2023-11-04T01:27:35.711" v="16425"/>
          <ac:spMkLst>
            <pc:docMk/>
            <pc:sldMk cId="708553223" sldId="317"/>
            <ac:spMk id="618" creationId="{D6D5CADD-B93C-8068-5AA4-EC20518B74F0}"/>
          </ac:spMkLst>
        </pc:spChg>
        <pc:spChg chg="add del mod replST">
          <ac:chgData name="Muchahary, Frankle" userId="0f2bf491-0617-4378-90b8-89af8fa381b9" providerId="ADAL" clId="{90877F19-00D2-4A00-8128-E78E36266C9A}" dt="2023-11-04T01:28:16.021" v="17242"/>
          <ac:spMkLst>
            <pc:docMk/>
            <pc:sldMk cId="708553223" sldId="317"/>
            <ac:spMk id="619" creationId="{13DDB007-E143-BA7E-3C59-6B964C174D73}"/>
          </ac:spMkLst>
        </pc:spChg>
        <pc:spChg chg="add del mod replST">
          <ac:chgData name="Muchahary, Frankle" userId="0f2bf491-0617-4378-90b8-89af8fa381b9" providerId="ADAL" clId="{90877F19-00D2-4A00-8128-E78E36266C9A}" dt="2023-11-04T01:28:16.021" v="17243"/>
          <ac:spMkLst>
            <pc:docMk/>
            <pc:sldMk cId="708553223" sldId="317"/>
            <ac:spMk id="620" creationId="{889ACE0E-5E32-8CED-E1DD-537ED9DF8DA0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2" creationId="{05A6EFC0-6988-74B1-0595-46A7B93CC278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3" creationId="{BEE4FB25-6E30-A237-63DF-56BC819FEEE0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4" creationId="{8BB1D97F-58BD-4946-DE77-116A572C10FD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5" creationId="{C8AF26A4-EEB3-77DC-3D50-A71591CDE07C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6" creationId="{BD1B333D-2D07-79E3-2BFA-4CCCDCD90465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7" creationId="{778A42D0-A2EA-DCEF-C062-F266C9900AAC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8" creationId="{C5523FFD-B4B8-0E34-37D6-D315DF342FC6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29" creationId="{1409213B-2B31-2901-BF88-13C0E00DE0CC}"/>
          </ac:spMkLst>
        </pc:spChg>
        <pc:spChg chg="add del mod replST delST">
          <ac:chgData name="Muchahary, Frankle" userId="0f2bf491-0617-4378-90b8-89af8fa381b9" providerId="ADAL" clId="{90877F19-00D2-4A00-8128-E78E36266C9A}" dt="2023-11-04T01:28:11.785" v="17105"/>
          <ac:spMkLst>
            <pc:docMk/>
            <pc:sldMk cId="708553223" sldId="317"/>
            <ac:spMk id="630" creationId="{14EC9ADD-A09B-0EE9-C12F-DDE84ECB0368}"/>
          </ac:spMkLst>
        </pc:spChg>
        <pc:spChg chg="add del mod modVis">
          <ac:chgData name="Muchahary, Frankle" userId="0f2bf491-0617-4378-90b8-89af8fa381b9" providerId="ADAL" clId="{90877F19-00D2-4A00-8128-E78E36266C9A}" dt="2023-11-04T01:28:16.062" v="17304"/>
          <ac:spMkLst>
            <pc:docMk/>
            <pc:sldMk cId="708553223" sldId="317"/>
            <ac:spMk id="635" creationId="{DF385488-5BE4-A048-BEB2-650ABBD115DB}"/>
          </ac:spMkLst>
        </pc:spChg>
        <pc:spChg chg="add del mod modVis">
          <ac:chgData name="Muchahary, Frankle" userId="0f2bf491-0617-4378-90b8-89af8fa381b9" providerId="ADAL" clId="{90877F19-00D2-4A00-8128-E78E36266C9A}" dt="2023-11-04T01:38:22.939" v="18107"/>
          <ac:spMkLst>
            <pc:docMk/>
            <pc:sldMk cId="708553223" sldId="317"/>
            <ac:spMk id="640" creationId="{391DA7FE-9158-F01B-4A3E-569B3C06731B}"/>
          </ac:spMkLst>
        </pc:spChg>
        <pc:spChg chg="add del mod">
          <ac:chgData name="Muchahary, Frankle" userId="0f2bf491-0617-4378-90b8-89af8fa381b9" providerId="ADAL" clId="{90877F19-00D2-4A00-8128-E78E36266C9A}" dt="2023-11-04T01:39:52.828" v="18194"/>
          <ac:spMkLst>
            <pc:docMk/>
            <pc:sldMk cId="708553223" sldId="317"/>
            <ac:spMk id="642" creationId="{5D801D12-759B-70D2-F1A9-A4879084DEB3}"/>
          </ac:spMkLst>
        </pc:spChg>
        <pc:spChg chg="add del mod modVis">
          <ac:chgData name="Muchahary, Frankle" userId="0f2bf491-0617-4378-90b8-89af8fa381b9" providerId="ADAL" clId="{90877F19-00D2-4A00-8128-E78E36266C9A}" dt="2023-11-04T01:44:39.731" v="18347"/>
          <ac:spMkLst>
            <pc:docMk/>
            <pc:sldMk cId="708553223" sldId="317"/>
            <ac:spMk id="643" creationId="{393A678D-419D-C5C6-EB67-05A4C57EA9A6}"/>
          </ac:spMkLst>
        </pc:spChg>
        <pc:spChg chg="add del mod modVis">
          <ac:chgData name="Muchahary, Frankle" userId="0f2bf491-0617-4378-90b8-89af8fa381b9" providerId="ADAL" clId="{90877F19-00D2-4A00-8128-E78E36266C9A}" dt="2023-11-04T01:44:40.630" v="18375"/>
          <ac:spMkLst>
            <pc:docMk/>
            <pc:sldMk cId="708553223" sldId="317"/>
            <ac:spMk id="644" creationId="{664DA4B8-08AE-B43C-5D07-612D3A7ACA9F}"/>
          </ac:spMkLst>
        </pc:spChg>
        <pc:spChg chg="add del mod modVis">
          <ac:chgData name="Muchahary, Frankle" userId="0f2bf491-0617-4378-90b8-89af8fa381b9" providerId="ADAL" clId="{90877F19-00D2-4A00-8128-E78E36266C9A}" dt="2023-11-04T01:44:43.858" v="18415"/>
          <ac:spMkLst>
            <pc:docMk/>
            <pc:sldMk cId="708553223" sldId="317"/>
            <ac:spMk id="645" creationId="{711FDED0-03FF-0799-3B39-6C71A3BF60F7}"/>
          </ac:spMkLst>
        </pc:spChg>
        <pc:spChg chg="add del mod modVis">
          <ac:chgData name="Muchahary, Frankle" userId="0f2bf491-0617-4378-90b8-89af8fa381b9" providerId="ADAL" clId="{90877F19-00D2-4A00-8128-E78E36266C9A}" dt="2023-11-04T01:44:45.371" v="18448"/>
          <ac:spMkLst>
            <pc:docMk/>
            <pc:sldMk cId="708553223" sldId="317"/>
            <ac:spMk id="646" creationId="{FF68A73B-8834-DDBD-C373-709EFB83D849}"/>
          </ac:spMkLst>
        </pc:spChg>
        <pc:spChg chg="add mod ord replST delST">
          <ac:chgData name="Muchahary, Frankle" userId="0f2bf491-0617-4378-90b8-89af8fa381b9" providerId="ADAL" clId="{90877F19-00D2-4A00-8128-E78E36266C9A}" dt="2023-11-04T01:44:55.408" v="18770"/>
          <ac:spMkLst>
            <pc:docMk/>
            <pc:sldMk cId="708553223" sldId="317"/>
            <ac:spMk id="647" creationId="{B5E52B38-5510-F04E-FB9D-89855E4B7B3D}"/>
          </ac:spMkLst>
        </pc:spChg>
        <pc:spChg chg="add del mod modVis">
          <ac:chgData name="Muchahary, Frankle" userId="0f2bf491-0617-4378-90b8-89af8fa381b9" providerId="ADAL" clId="{90877F19-00D2-4A00-8128-E78E36266C9A}" dt="2023-11-04T01:44:55.408" v="18770"/>
          <ac:spMkLst>
            <pc:docMk/>
            <pc:sldMk cId="708553223" sldId="317"/>
            <ac:spMk id="648" creationId="{E231CBDC-CD5C-7D26-47A7-B9AEB87536F5}"/>
          </ac:spMkLst>
        </pc:spChg>
        <pc:spChg chg="add del mod modVis">
          <ac:chgData name="Muchahary, Frankle" userId="0f2bf491-0617-4378-90b8-89af8fa381b9" providerId="ADAL" clId="{90877F19-00D2-4A00-8128-E78E36266C9A}" dt="2023-11-04T01:45:01.534" v="19079"/>
          <ac:spMkLst>
            <pc:docMk/>
            <pc:sldMk cId="708553223" sldId="317"/>
            <ac:spMk id="653" creationId="{235249FB-B0AB-3B18-A130-54FA56E3F2A1}"/>
          </ac:spMkLst>
        </pc:spChg>
        <pc:spChg chg="add del mod ord replST">
          <ac:chgData name="Muchahary, Frankle" userId="0f2bf491-0617-4378-90b8-89af8fa381b9" providerId="ADAL" clId="{90877F19-00D2-4A00-8128-E78E36266C9A}" dt="2023-11-04T01:47:58.101" v="20922"/>
          <ac:spMkLst>
            <pc:docMk/>
            <pc:sldMk cId="708553223" sldId="317"/>
            <ac:spMk id="654" creationId="{A82E93EB-599B-388D-F37A-8643158832EB}"/>
          </ac:spMkLst>
        </pc:spChg>
        <pc:spChg chg="add del mod modVis">
          <ac:chgData name="Muchahary, Frankle" userId="0f2bf491-0617-4378-90b8-89af8fa381b9" providerId="ADAL" clId="{90877F19-00D2-4A00-8128-E78E36266C9A}" dt="2023-11-04T01:45:59.270" v="19330"/>
          <ac:spMkLst>
            <pc:docMk/>
            <pc:sldMk cId="708553223" sldId="317"/>
            <ac:spMk id="661" creationId="{F5C61ADE-5FEA-21F0-F5B2-899625FFA68C}"/>
          </ac:spMkLst>
        </pc:spChg>
        <pc:spChg chg="add del mod modVis">
          <ac:chgData name="Muchahary, Frankle" userId="0f2bf491-0617-4378-90b8-89af8fa381b9" providerId="ADAL" clId="{90877F19-00D2-4A00-8128-E78E36266C9A}" dt="2023-11-04T01:46:05.716" v="19489"/>
          <ac:spMkLst>
            <pc:docMk/>
            <pc:sldMk cId="708553223" sldId="317"/>
            <ac:spMk id="663" creationId="{C34AA31D-8952-A2A5-2628-2CECFF9BA361}"/>
          </ac:spMkLst>
        </pc:spChg>
        <pc:spChg chg="add del mod modVis">
          <ac:chgData name="Muchahary, Frankle" userId="0f2bf491-0617-4378-90b8-89af8fa381b9" providerId="ADAL" clId="{90877F19-00D2-4A00-8128-E78E36266C9A}" dt="2023-11-04T01:46:33.453" v="19592"/>
          <ac:spMkLst>
            <pc:docMk/>
            <pc:sldMk cId="708553223" sldId="317"/>
            <ac:spMk id="665" creationId="{1F74397F-82EA-2032-F242-2C633D431AB2}"/>
          </ac:spMkLst>
        </pc:spChg>
        <pc:spChg chg="add del mod modVis">
          <ac:chgData name="Muchahary, Frankle" userId="0f2bf491-0617-4378-90b8-89af8fa381b9" providerId="ADAL" clId="{90877F19-00D2-4A00-8128-E78E36266C9A}" dt="2023-11-04T01:46:43.176" v="19725"/>
          <ac:spMkLst>
            <pc:docMk/>
            <pc:sldMk cId="708553223" sldId="317"/>
            <ac:spMk id="667" creationId="{C1FEEF69-DAD4-A3B4-C7FD-E2F4E71079A5}"/>
          </ac:spMkLst>
        </pc:spChg>
        <pc:spChg chg="add mod ord replST delST">
          <ac:chgData name="Muchahary, Frankle" userId="0f2bf491-0617-4378-90b8-89af8fa381b9" providerId="ADAL" clId="{90877F19-00D2-4A00-8128-E78E36266C9A}" dt="2023-11-04T01:47:14.354" v="20139"/>
          <ac:spMkLst>
            <pc:docMk/>
            <pc:sldMk cId="708553223" sldId="317"/>
            <ac:spMk id="670" creationId="{C111E44E-DB2C-16E0-A5BE-56321D187314}"/>
          </ac:spMkLst>
        </pc:spChg>
        <pc:spChg chg="add del mod modVis">
          <ac:chgData name="Muchahary, Frankle" userId="0f2bf491-0617-4378-90b8-89af8fa381b9" providerId="ADAL" clId="{90877F19-00D2-4A00-8128-E78E36266C9A}" dt="2023-11-04T01:47:14.354" v="20139"/>
          <ac:spMkLst>
            <pc:docMk/>
            <pc:sldMk cId="708553223" sldId="317"/>
            <ac:spMk id="671" creationId="{DE02E0BC-1A96-E088-BF35-1BCD6FC97CB0}"/>
          </ac:spMkLst>
        </pc:spChg>
        <pc:spChg chg="add del mod modVis">
          <ac:chgData name="Muchahary, Frankle" userId="0f2bf491-0617-4378-90b8-89af8fa381b9" providerId="ADAL" clId="{90877F19-00D2-4A00-8128-E78E36266C9A}" dt="2023-11-04T01:47:22.277" v="20483"/>
          <ac:spMkLst>
            <pc:docMk/>
            <pc:sldMk cId="708553223" sldId="317"/>
            <ac:spMk id="676" creationId="{5633A66E-F988-E736-FBBA-92FDC5FC67A1}"/>
          </ac:spMkLst>
        </pc:spChg>
        <pc:spChg chg="add del mod ord replST">
          <ac:chgData name="Muchahary, Frankle" userId="0f2bf491-0617-4378-90b8-89af8fa381b9" providerId="ADAL" clId="{90877F19-00D2-4A00-8128-E78E36266C9A}" dt="2023-11-04T01:50:02.939" v="22602"/>
          <ac:spMkLst>
            <pc:docMk/>
            <pc:sldMk cId="708553223" sldId="317"/>
            <ac:spMk id="677" creationId="{ECB4E410-AFC9-B1FA-00C6-DF726457D43A}"/>
          </ac:spMkLst>
        </pc:spChg>
        <pc:spChg chg="add del mod modVis">
          <ac:chgData name="Muchahary, Frankle" userId="0f2bf491-0617-4378-90b8-89af8fa381b9" providerId="ADAL" clId="{90877F19-00D2-4A00-8128-E78E36266C9A}" dt="2023-11-04T01:47:53.658" v="20912"/>
          <ac:spMkLst>
            <pc:docMk/>
            <pc:sldMk cId="708553223" sldId="317"/>
            <ac:spMk id="684" creationId="{3FEDACE4-812D-9E22-ECAE-9885CA6329D5}"/>
          </ac:spMkLst>
        </pc:spChg>
        <pc:spChg chg="add del mod modVis">
          <ac:chgData name="Muchahary, Frankle" userId="0f2bf491-0617-4378-90b8-89af8fa381b9" providerId="ADAL" clId="{90877F19-00D2-4A00-8128-E78E36266C9A}" dt="2023-11-04T01:48:08.817" v="21083"/>
          <ac:spMkLst>
            <pc:docMk/>
            <pc:sldMk cId="708553223" sldId="317"/>
            <ac:spMk id="687" creationId="{094123F0-6D25-D13A-CD3A-1941C8A7EC44}"/>
          </ac:spMkLst>
        </pc:spChg>
        <pc:spChg chg="add del mod replST">
          <ac:chgData name="Muchahary, Frankle" userId="0f2bf491-0617-4378-90b8-89af8fa381b9" providerId="ADAL" clId="{90877F19-00D2-4A00-8128-E78E36266C9A}" dt="2023-11-04T01:49:17.465" v="21294"/>
          <ac:spMkLst>
            <pc:docMk/>
            <pc:sldMk cId="708553223" sldId="317"/>
            <ac:spMk id="690" creationId="{305D80E1-224B-8C5C-ACAF-A399ED8D5DFD}"/>
          </ac:spMkLst>
        </pc:spChg>
        <pc:spChg chg="add del mod modVis">
          <ac:chgData name="Muchahary, Frankle" userId="0f2bf491-0617-4378-90b8-89af8fa381b9" providerId="ADAL" clId="{90877F19-00D2-4A00-8128-E78E36266C9A}" dt="2023-11-04T01:49:14.160" v="21282"/>
          <ac:spMkLst>
            <pc:docMk/>
            <pc:sldMk cId="708553223" sldId="317"/>
            <ac:spMk id="691" creationId="{1BD0E55F-FEE0-8709-FED3-089569601884}"/>
          </ac:spMkLst>
        </pc:spChg>
        <pc:spChg chg="add del mod modVis">
          <ac:chgData name="Muchahary, Frankle" userId="0f2bf491-0617-4378-90b8-89af8fa381b9" providerId="ADAL" clId="{90877F19-00D2-4A00-8128-E78E36266C9A}" dt="2023-11-04T01:49:38.590" v="21485"/>
          <ac:spMkLst>
            <pc:docMk/>
            <pc:sldMk cId="708553223" sldId="317"/>
            <ac:spMk id="695" creationId="{C05BAB47-D1B2-7105-C8BF-8C9FF28DF2A0}"/>
          </ac:spMkLst>
        </pc:spChg>
        <pc:spChg chg="add del mod modVis">
          <ac:chgData name="Muchahary, Frankle" userId="0f2bf491-0617-4378-90b8-89af8fa381b9" providerId="ADAL" clId="{90877F19-00D2-4A00-8128-E78E36266C9A}" dt="2023-11-04T01:49:41.631" v="21728"/>
          <ac:spMkLst>
            <pc:docMk/>
            <pc:sldMk cId="708553223" sldId="317"/>
            <ac:spMk id="696" creationId="{E4F2F458-4DDB-A77F-5C7C-AC288A6CCC0D}"/>
          </ac:spMkLst>
        </pc:spChg>
        <pc:spChg chg="add del mod modVis">
          <ac:chgData name="Muchahary, Frankle" userId="0f2bf491-0617-4378-90b8-89af8fa381b9" providerId="ADAL" clId="{90877F19-00D2-4A00-8128-E78E36266C9A}" dt="2023-11-04T01:49:49.807" v="22174"/>
          <ac:spMkLst>
            <pc:docMk/>
            <pc:sldMk cId="708553223" sldId="317"/>
            <ac:spMk id="701" creationId="{98E60AA3-44D8-E23B-6986-D100885B862C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6" v="56659"/>
          <ac:spMkLst>
            <pc:docMk/>
            <pc:sldMk cId="708553223" sldId="317"/>
            <ac:spMk id="704" creationId="{F3C2BF88-E194-2AF9-5FFF-9F049BB035FE}"/>
          </ac:spMkLst>
        </pc:spChg>
        <pc:spChg chg="add del mod ord replST">
          <ac:chgData name="Muchahary, Frankle" userId="0f2bf491-0617-4378-90b8-89af8fa381b9" providerId="ADAL" clId="{90877F19-00D2-4A00-8128-E78E36266C9A}" dt="2023-11-05T18:08:40.225" v="147413"/>
          <ac:spMkLst>
            <pc:docMk/>
            <pc:sldMk cId="708553223" sldId="317"/>
            <ac:spMk id="705" creationId="{2BAB8A09-998F-FECB-0657-889582B1FE9C}"/>
          </ac:spMkLst>
        </pc:spChg>
        <pc:spChg chg="add del mod ord replST">
          <ac:chgData name="Muchahary, Frankle" userId="0f2bf491-0617-4378-90b8-89af8fa381b9" providerId="ADAL" clId="{90877F19-00D2-4A00-8128-E78E36266C9A}" dt="2023-11-04T19:19:14.778" v="56663"/>
          <ac:spMkLst>
            <pc:docMk/>
            <pc:sldMk cId="708553223" sldId="317"/>
            <ac:spMk id="706" creationId="{3AD36F0D-34D3-F0A3-A123-3AA5959D45C5}"/>
          </ac:spMkLst>
        </pc:spChg>
        <pc:spChg chg="add del mod modVis">
          <ac:chgData name="Muchahary, Frankle" userId="0f2bf491-0617-4378-90b8-89af8fa381b9" providerId="ADAL" clId="{90877F19-00D2-4A00-8128-E78E36266C9A}" dt="2023-11-04T01:49:59.744" v="22592"/>
          <ac:spMkLst>
            <pc:docMk/>
            <pc:sldMk cId="708553223" sldId="317"/>
            <ac:spMk id="706" creationId="{BBED3D22-A9E1-364C-8D51-5E7F28ECC385}"/>
          </ac:spMkLst>
        </pc:spChg>
        <pc:spChg chg="add del mod modVis">
          <ac:chgData name="Muchahary, Frankle" userId="0f2bf491-0617-4378-90b8-89af8fa381b9" providerId="ADAL" clId="{90877F19-00D2-4A00-8128-E78E36266C9A}" dt="2023-11-04T19:19:14.867" v="56772"/>
          <ac:spMkLst>
            <pc:docMk/>
            <pc:sldMk cId="708553223" sldId="317"/>
            <ac:spMk id="711" creationId="{315A55AB-CDF5-A48B-F470-F7698B30157F}"/>
          </ac:spMkLst>
        </pc:spChg>
        <pc:spChg chg="add del mod modVis">
          <ac:chgData name="Muchahary, Frankle" userId="0f2bf491-0617-4378-90b8-89af8fa381b9" providerId="ADAL" clId="{90877F19-00D2-4A00-8128-E78E36266C9A}" dt="2023-11-04T01:50:08.776" v="22763"/>
          <ac:spMkLst>
            <pc:docMk/>
            <pc:sldMk cId="708553223" sldId="317"/>
            <ac:spMk id="712" creationId="{B5D23456-B918-1DD3-779D-B7A10AA03FFF}"/>
          </ac:spMkLst>
        </pc:spChg>
        <pc:spChg chg="add del mod modVis">
          <ac:chgData name="Muchahary, Frankle" userId="0f2bf491-0617-4378-90b8-89af8fa381b9" providerId="ADAL" clId="{90877F19-00D2-4A00-8128-E78E36266C9A}" dt="2023-11-04T19:19:19.821" v="57306"/>
          <ac:spMkLst>
            <pc:docMk/>
            <pc:sldMk cId="708553223" sldId="317"/>
            <ac:spMk id="713" creationId="{1C85402E-DD6D-4F15-BFA3-7E6219E73802}"/>
          </ac:spMkLst>
        </pc:spChg>
        <pc:spChg chg="add del mod ord replST">
          <ac:chgData name="Muchahary, Frankle" userId="0f2bf491-0617-4378-90b8-89af8fa381b9" providerId="ADAL" clId="{90877F19-00D2-4A00-8128-E78E36266C9A}" dt="2023-11-04T20:02:16.674" v="79818"/>
          <ac:spMkLst>
            <pc:docMk/>
            <pc:sldMk cId="708553223" sldId="317"/>
            <ac:spMk id="714" creationId="{5AC59B72-AEE5-380B-168B-299956BDFF9B}"/>
          </ac:spMkLst>
        </pc:spChg>
        <pc:spChg chg="add del mod replST">
          <ac:chgData name="Muchahary, Frankle" userId="0f2bf491-0617-4378-90b8-89af8fa381b9" providerId="ADAL" clId="{90877F19-00D2-4A00-8128-E78E36266C9A}" dt="2023-11-04T01:50:43.340" v="22986"/>
          <ac:spMkLst>
            <pc:docMk/>
            <pc:sldMk cId="708553223" sldId="317"/>
            <ac:spMk id="714" creationId="{DBEFB892-492F-A416-DC71-4DB69781FE0D}"/>
          </ac:spMkLst>
        </pc:spChg>
        <pc:spChg chg="add del mod ord replST">
          <ac:chgData name="Muchahary, Frankle" userId="0f2bf491-0617-4378-90b8-89af8fa381b9" providerId="ADAL" clId="{90877F19-00D2-4A00-8128-E78E36266C9A}" dt="2023-11-04T19:40:01.284" v="59995"/>
          <ac:spMkLst>
            <pc:docMk/>
            <pc:sldMk cId="708553223" sldId="317"/>
            <ac:spMk id="715" creationId="{DD574C9A-9C0A-E4B3-ABFD-23163C1A99F3}"/>
          </ac:spMkLst>
        </pc:spChg>
        <pc:spChg chg="add del mod modVis">
          <ac:chgData name="Muchahary, Frankle" userId="0f2bf491-0617-4378-90b8-89af8fa381b9" providerId="ADAL" clId="{90877F19-00D2-4A00-8128-E78E36266C9A}" dt="2023-11-04T01:50:39.861" v="22904"/>
          <ac:spMkLst>
            <pc:docMk/>
            <pc:sldMk cId="708553223" sldId="317"/>
            <ac:spMk id="715" creationId="{DD78163E-8F96-0518-0055-080DB324FA97}"/>
          </ac:spMkLst>
        </pc:spChg>
        <pc:spChg chg="add del mod ord replST">
          <ac:chgData name="Muchahary, Frankle" userId="0f2bf491-0617-4378-90b8-89af8fa381b9" providerId="ADAL" clId="{90877F19-00D2-4A00-8128-E78E36266C9A}" dt="2023-11-04T19:26:23.556" v="57596"/>
          <ac:spMkLst>
            <pc:docMk/>
            <pc:sldMk cId="708553223" sldId="317"/>
            <ac:spMk id="716" creationId="{63F83437-4088-5BD2-1889-2F3A9EF4A942}"/>
          </ac:spMkLst>
        </pc:spChg>
        <pc:spChg chg="add del mod replST">
          <ac:chgData name="Muchahary, Frankle" userId="0f2bf491-0617-4378-90b8-89af8fa381b9" providerId="ADAL" clId="{90877F19-00D2-4A00-8128-E78E36266C9A}" dt="2023-11-04T01:50:44.003" v="23059"/>
          <ac:spMkLst>
            <pc:docMk/>
            <pc:sldMk cId="708553223" sldId="317"/>
            <ac:spMk id="717" creationId="{2B56E684-FBA6-7D03-44C7-A126F8596C1F}"/>
          </ac:spMkLst>
        </pc:spChg>
        <pc:spChg chg="add del mod ord replST">
          <ac:chgData name="Muchahary, Frankle" userId="0f2bf491-0617-4378-90b8-89af8fa381b9" providerId="ADAL" clId="{90877F19-00D2-4A00-8128-E78E36266C9A}" dt="2023-11-04T19:46:13.464" v="61435"/>
          <ac:spMkLst>
            <pc:docMk/>
            <pc:sldMk cId="708553223" sldId="317"/>
            <ac:spMk id="717" creationId="{CA36C62E-1FC3-C3D8-6A7F-AFCCD5225159}"/>
          </ac:spMkLst>
        </pc:spChg>
        <pc:spChg chg="add del mod modVis">
          <ac:chgData name="Muchahary, Frankle" userId="0f2bf491-0617-4378-90b8-89af8fa381b9" providerId="ADAL" clId="{90877F19-00D2-4A00-8128-E78E36266C9A}" dt="2023-11-04T01:50:43.388" v="23047"/>
          <ac:spMkLst>
            <pc:docMk/>
            <pc:sldMk cId="708553223" sldId="317"/>
            <ac:spMk id="718" creationId="{43C5C491-95A0-B6D1-A035-41BED5F88D8B}"/>
          </ac:spMkLst>
        </pc:spChg>
        <pc:spChg chg="add del mod ord replST">
          <ac:chgData name="Muchahary, Frankle" userId="0f2bf491-0617-4378-90b8-89af8fa381b9" providerId="ADAL" clId="{90877F19-00D2-4A00-8128-E78E36266C9A}" dt="2023-11-04T19:40:01.285" v="59997"/>
          <ac:spMkLst>
            <pc:docMk/>
            <pc:sldMk cId="708553223" sldId="317"/>
            <ac:spMk id="718" creationId="{6B3B2879-186F-9AB7-107D-692AFF3184FB}"/>
          </ac:spMkLst>
        </pc:spChg>
        <pc:spChg chg="add del mod ord replST">
          <ac:chgData name="Muchahary, Frankle" userId="0f2bf491-0617-4378-90b8-89af8fa381b9" providerId="ADAL" clId="{90877F19-00D2-4A00-8128-E78E36266C9A}" dt="2023-11-04T19:26:23.557" v="57598"/>
          <ac:spMkLst>
            <pc:docMk/>
            <pc:sldMk cId="708553223" sldId="317"/>
            <ac:spMk id="719" creationId="{65612EB7-C47C-A673-1700-30B37F912FE7}"/>
          </ac:spMkLst>
        </pc:spChg>
        <pc:spChg chg="add del mod ord replST">
          <ac:chgData name="Muchahary, Frankle" userId="0f2bf491-0617-4378-90b8-89af8fa381b9" providerId="ADAL" clId="{90877F19-00D2-4A00-8128-E78E36266C9A}" dt="2023-11-04T19:25:30.266" v="57408"/>
          <ac:spMkLst>
            <pc:docMk/>
            <pc:sldMk cId="708553223" sldId="317"/>
            <ac:spMk id="720" creationId="{5D2008EE-58A1-7719-AF60-4C3144865D7F}"/>
          </ac:spMkLst>
        </pc:spChg>
        <pc:spChg chg="add del mod modVis">
          <ac:chgData name="Muchahary, Frankle" userId="0f2bf491-0617-4378-90b8-89af8fa381b9" providerId="ADAL" clId="{90877F19-00D2-4A00-8128-E78E36266C9A}" dt="2023-11-04T01:53:38.353" v="23256"/>
          <ac:spMkLst>
            <pc:docMk/>
            <pc:sldMk cId="708553223" sldId="317"/>
            <ac:spMk id="721" creationId="{8416909D-ECE0-A402-C2D0-99B43C151E23}"/>
          </ac:spMkLst>
        </pc:spChg>
        <pc:spChg chg="add del mod modVis">
          <ac:chgData name="Muchahary, Frankle" userId="0f2bf491-0617-4378-90b8-89af8fa381b9" providerId="ADAL" clId="{90877F19-00D2-4A00-8128-E78E36266C9A}" dt="2023-11-04T19:25:30.340" v="57498"/>
          <ac:spMkLst>
            <pc:docMk/>
            <pc:sldMk cId="708553223" sldId="317"/>
            <ac:spMk id="722" creationId="{07C54AA4-359B-4111-953C-97F3B3818502}"/>
          </ac:spMkLst>
        </pc:spChg>
        <pc:spChg chg="add del mod modVis">
          <ac:chgData name="Muchahary, Frankle" userId="0f2bf491-0617-4378-90b8-89af8fa381b9" providerId="ADAL" clId="{90877F19-00D2-4A00-8128-E78E36266C9A}" dt="2023-11-04T01:53:48.593" v="24163"/>
          <ac:spMkLst>
            <pc:docMk/>
            <pc:sldMk cId="708553223" sldId="317"/>
            <ac:spMk id="723" creationId="{8C5FEC36-FD68-EF3C-E715-E4EDA021D376}"/>
          </ac:spMkLst>
        </pc:spChg>
        <pc:spChg chg="add del mod modVis">
          <ac:chgData name="Muchahary, Frankle" userId="0f2bf491-0617-4378-90b8-89af8fa381b9" providerId="ADAL" clId="{90877F19-00D2-4A00-8128-E78E36266C9A}" dt="2023-11-04T19:26:23.642" v="57696"/>
          <ac:spMkLst>
            <pc:docMk/>
            <pc:sldMk cId="708553223" sldId="317"/>
            <ac:spMk id="724" creationId="{C73A2A24-033A-A287-2C3D-4CE53873E91F}"/>
          </ac:spMkLst>
        </pc:spChg>
        <pc:spChg chg="add del mod replST">
          <ac:chgData name="Muchahary, Frankle" userId="0f2bf491-0617-4378-90b8-89af8fa381b9" providerId="ADAL" clId="{90877F19-00D2-4A00-8128-E78E36266C9A}" dt="2023-11-04T01:53:49.313" v="24224"/>
          <ac:spMkLst>
            <pc:docMk/>
            <pc:sldMk cId="708553223" sldId="317"/>
            <ac:spMk id="724" creationId="{E7732FD8-856F-9819-2027-CDD335FA63C7}"/>
          </ac:spMkLst>
        </pc:spChg>
        <pc:spChg chg="add del mod replST">
          <ac:chgData name="Muchahary, Frankle" userId="0f2bf491-0617-4378-90b8-89af8fa381b9" providerId="ADAL" clId="{90877F19-00D2-4A00-8128-E78E36266C9A}" dt="2023-11-04T01:53:49.313" v="24225"/>
          <ac:spMkLst>
            <pc:docMk/>
            <pc:sldMk cId="708553223" sldId="317"/>
            <ac:spMk id="725" creationId="{DF811DD9-67D9-0440-003D-AC4272DF3D5F}"/>
          </ac:spMkLst>
        </pc:spChg>
        <pc:spChg chg="add del mod replST">
          <ac:chgData name="Muchahary, Frankle" userId="0f2bf491-0617-4378-90b8-89af8fa381b9" providerId="ADAL" clId="{90877F19-00D2-4A00-8128-E78E36266C9A}" dt="2023-11-04T01:53:49.313" v="24226"/>
          <ac:spMkLst>
            <pc:docMk/>
            <pc:sldMk cId="708553223" sldId="317"/>
            <ac:spMk id="726" creationId="{3162A012-AE29-5814-E9AF-C9EA6EA133C7}"/>
          </ac:spMkLst>
        </pc:spChg>
        <pc:spChg chg="add del mod modVis">
          <ac:chgData name="Muchahary, Frankle" userId="0f2bf491-0617-4378-90b8-89af8fa381b9" providerId="ADAL" clId="{90877F19-00D2-4A00-8128-E78E36266C9A}" dt="2023-11-04T19:37:57.263" v="57811"/>
          <ac:spMkLst>
            <pc:docMk/>
            <pc:sldMk cId="708553223" sldId="317"/>
            <ac:spMk id="726" creationId="{EBA71F25-96ED-E296-CD8A-0C8A38E71D89}"/>
          </ac:spMkLst>
        </pc:spChg>
        <pc:spChg chg="add del mod replST">
          <ac:chgData name="Muchahary, Frankle" userId="0f2bf491-0617-4378-90b8-89af8fa381b9" providerId="ADAL" clId="{90877F19-00D2-4A00-8128-E78E36266C9A}" dt="2023-11-04T01:53:49.313" v="24227"/>
          <ac:spMkLst>
            <pc:docMk/>
            <pc:sldMk cId="708553223" sldId="317"/>
            <ac:spMk id="727" creationId="{F0461C78-BCAB-5DB9-0FFB-0554BAA595F5}"/>
          </ac:spMkLst>
        </pc:spChg>
        <pc:spChg chg="add del mod modVis">
          <ac:chgData name="Muchahary, Frankle" userId="0f2bf491-0617-4378-90b8-89af8fa381b9" providerId="ADAL" clId="{90877F19-00D2-4A00-8128-E78E36266C9A}" dt="2023-11-04T19:37:58.159" v="57926"/>
          <ac:spMkLst>
            <pc:docMk/>
            <pc:sldMk cId="708553223" sldId="317"/>
            <ac:spMk id="728" creationId="{E89D73A6-16F1-01A9-4F9F-4904FE1D710D}"/>
          </ac:spMkLst>
        </pc:spChg>
        <pc:spChg chg="add del mod replST">
          <ac:chgData name="Muchahary, Frankle" userId="0f2bf491-0617-4378-90b8-89af8fa381b9" providerId="ADAL" clId="{90877F19-00D2-4A00-8128-E78E36266C9A}" dt="2023-11-04T01:53:49.313" v="24228"/>
          <ac:spMkLst>
            <pc:docMk/>
            <pc:sldMk cId="708553223" sldId="317"/>
            <ac:spMk id="728" creationId="{FD90A1FE-6906-1212-4869-A5DF662022A6}"/>
          </ac:spMkLst>
        </pc:spChg>
        <pc:spChg chg="add del mod replST">
          <ac:chgData name="Muchahary, Frankle" userId="0f2bf491-0617-4378-90b8-89af8fa381b9" providerId="ADAL" clId="{90877F19-00D2-4A00-8128-E78E36266C9A}" dt="2023-11-04T01:53:49.318" v="24229"/>
          <ac:spMkLst>
            <pc:docMk/>
            <pc:sldMk cId="708553223" sldId="317"/>
            <ac:spMk id="729" creationId="{5EF239B3-D098-359D-8168-DCEA7EBDF5C9}"/>
          </ac:spMkLst>
        </pc:spChg>
        <pc:spChg chg="add del mod replST">
          <ac:chgData name="Muchahary, Frankle" userId="0f2bf491-0617-4378-90b8-89af8fa381b9" providerId="ADAL" clId="{90877F19-00D2-4A00-8128-E78E36266C9A}" dt="2023-11-04T01:53:49.319" v="24230"/>
          <ac:spMkLst>
            <pc:docMk/>
            <pc:sldMk cId="708553223" sldId="317"/>
            <ac:spMk id="730" creationId="{6598ABB9-71FB-0E23-4E64-B38A1ADD9316}"/>
          </ac:spMkLst>
        </pc:spChg>
        <pc:spChg chg="add del mod modVis">
          <ac:chgData name="Muchahary, Frankle" userId="0f2bf491-0617-4378-90b8-89af8fa381b9" providerId="ADAL" clId="{90877F19-00D2-4A00-8128-E78E36266C9A}" dt="2023-11-04T19:38:00.526" v="58041"/>
          <ac:spMkLst>
            <pc:docMk/>
            <pc:sldMk cId="708553223" sldId="317"/>
            <ac:spMk id="730" creationId="{F148C0BA-0BEC-4983-EAFE-E27D6F7C4AB8}"/>
          </ac:spMkLst>
        </pc:spChg>
        <pc:spChg chg="add del mod replST">
          <ac:chgData name="Muchahary, Frankle" userId="0f2bf491-0617-4378-90b8-89af8fa381b9" providerId="ADAL" clId="{90877F19-00D2-4A00-8128-E78E36266C9A}" dt="2023-11-04T01:53:49.319" v="24231"/>
          <ac:spMkLst>
            <pc:docMk/>
            <pc:sldMk cId="708553223" sldId="317"/>
            <ac:spMk id="731" creationId="{2FB87DB6-60DC-873D-00BD-261BF54F35FF}"/>
          </ac:spMkLst>
        </pc:spChg>
        <pc:spChg chg="add del mod modVis">
          <ac:chgData name="Muchahary, Frankle" userId="0f2bf491-0617-4378-90b8-89af8fa381b9" providerId="ADAL" clId="{90877F19-00D2-4A00-8128-E78E36266C9A}" dt="2023-11-04T19:38:01.618" v="58156"/>
          <ac:spMkLst>
            <pc:docMk/>
            <pc:sldMk cId="708553223" sldId="317"/>
            <ac:spMk id="732" creationId="{26F899F1-ED64-6686-4863-1ADBE86C692D}"/>
          </ac:spMkLst>
        </pc:spChg>
        <pc:spChg chg="add del mod replST">
          <ac:chgData name="Muchahary, Frankle" userId="0f2bf491-0617-4378-90b8-89af8fa381b9" providerId="ADAL" clId="{90877F19-00D2-4A00-8128-E78E36266C9A}" dt="2023-11-04T01:53:49.319" v="24232"/>
          <ac:spMkLst>
            <pc:docMk/>
            <pc:sldMk cId="708553223" sldId="317"/>
            <ac:spMk id="732" creationId="{6275A874-0F19-2F28-9AC6-F3256DA86D34}"/>
          </ac:spMkLst>
        </pc:spChg>
        <pc:spChg chg="add del mod replST">
          <ac:chgData name="Muchahary, Frankle" userId="0f2bf491-0617-4378-90b8-89af8fa381b9" providerId="ADAL" clId="{90877F19-00D2-4A00-8128-E78E36266C9A}" dt="2023-11-04T01:53:49.319" v="24233"/>
          <ac:spMkLst>
            <pc:docMk/>
            <pc:sldMk cId="708553223" sldId="317"/>
            <ac:spMk id="733" creationId="{954DAC27-B9C9-5ABF-5D14-886157C1DD2E}"/>
          </ac:spMkLst>
        </pc:spChg>
        <pc:spChg chg="add del mod modVis">
          <ac:chgData name="Muchahary, Frankle" userId="0f2bf491-0617-4378-90b8-89af8fa381b9" providerId="ADAL" clId="{90877F19-00D2-4A00-8128-E78E36266C9A}" dt="2023-11-04T19:38:03.559" v="58271"/>
          <ac:spMkLst>
            <pc:docMk/>
            <pc:sldMk cId="708553223" sldId="317"/>
            <ac:spMk id="734" creationId="{8FFF93D4-A7A5-0283-66F3-2CBAF8A5DCA0}"/>
          </ac:spMkLst>
        </pc:spChg>
        <pc:spChg chg="add del mod replST">
          <ac:chgData name="Muchahary, Frankle" userId="0f2bf491-0617-4378-90b8-89af8fa381b9" providerId="ADAL" clId="{90877F19-00D2-4A00-8128-E78E36266C9A}" dt="2023-11-04T01:53:49.323" v="24234"/>
          <ac:spMkLst>
            <pc:docMk/>
            <pc:sldMk cId="708553223" sldId="317"/>
            <ac:spMk id="734" creationId="{FE172EA2-4A67-38EE-B36D-5E2D99F94132}"/>
          </ac:spMkLst>
        </pc:spChg>
        <pc:spChg chg="add del mod replST">
          <ac:chgData name="Muchahary, Frankle" userId="0f2bf491-0617-4378-90b8-89af8fa381b9" providerId="ADAL" clId="{90877F19-00D2-4A00-8128-E78E36266C9A}" dt="2023-11-04T01:53:49.323" v="24235"/>
          <ac:spMkLst>
            <pc:docMk/>
            <pc:sldMk cId="708553223" sldId="317"/>
            <ac:spMk id="735" creationId="{2FBF2113-8681-B8D7-4277-B367A6E10463}"/>
          </ac:spMkLst>
        </pc:spChg>
        <pc:spChg chg="add del mod modVis">
          <ac:chgData name="Muchahary, Frankle" userId="0f2bf491-0617-4378-90b8-89af8fa381b9" providerId="ADAL" clId="{90877F19-00D2-4A00-8128-E78E36266C9A}" dt="2023-11-04T19:38:06.692" v="58484"/>
          <ac:spMkLst>
            <pc:docMk/>
            <pc:sldMk cId="708553223" sldId="317"/>
            <ac:spMk id="736" creationId="{50CFD3F1-927B-C1A0-D7F1-C8400F87195E}"/>
          </ac:spMkLst>
        </pc:spChg>
        <pc:spChg chg="add del mod replST">
          <ac:chgData name="Muchahary, Frankle" userId="0f2bf491-0617-4378-90b8-89af8fa381b9" providerId="ADAL" clId="{90877F19-00D2-4A00-8128-E78E36266C9A}" dt="2023-11-04T01:53:49.326" v="24236"/>
          <ac:spMkLst>
            <pc:docMk/>
            <pc:sldMk cId="708553223" sldId="317"/>
            <ac:spMk id="736" creationId="{864961BE-2785-2919-C745-12F29B3DD51F}"/>
          </ac:spMkLst>
        </pc:spChg>
        <pc:spChg chg="add del mod ord replST">
          <ac:chgData name="Muchahary, Frankle" userId="0f2bf491-0617-4378-90b8-89af8fa381b9" providerId="ADAL" clId="{90877F19-00D2-4A00-8128-E78E36266C9A}" dt="2023-11-04T19:39:49.823" v="59569"/>
          <ac:spMkLst>
            <pc:docMk/>
            <pc:sldMk cId="708553223" sldId="317"/>
            <ac:spMk id="737" creationId="{5B598CB9-319B-F385-DA85-E3F5D599892B}"/>
          </ac:spMkLst>
        </pc:spChg>
        <pc:spChg chg="add del mod modVis">
          <ac:chgData name="Muchahary, Frankle" userId="0f2bf491-0617-4378-90b8-89af8fa381b9" providerId="ADAL" clId="{90877F19-00D2-4A00-8128-E78E36266C9A}" dt="2023-11-04T01:53:49.394" v="24286"/>
          <ac:spMkLst>
            <pc:docMk/>
            <pc:sldMk cId="708553223" sldId="317"/>
            <ac:spMk id="738" creationId="{D81F2F7C-E427-0D9C-8DB3-DAB52BD297B5}"/>
          </ac:spMkLst>
        </pc:spChg>
        <pc:spChg chg="add del mod modVis">
          <ac:chgData name="Muchahary, Frankle" userId="0f2bf491-0617-4378-90b8-89af8fa381b9" providerId="ADAL" clId="{90877F19-00D2-4A00-8128-E78E36266C9A}" dt="2023-11-04T01:53:59.907" v="25193"/>
          <ac:spMkLst>
            <pc:docMk/>
            <pc:sldMk cId="708553223" sldId="317"/>
            <ac:spMk id="740" creationId="{3F9E18B8-E5E5-7D51-843C-D796B80803F0}"/>
          </ac:spMkLst>
        </pc:spChg>
        <pc:spChg chg="add mod replST">
          <ac:chgData name="Muchahary, Frankle" userId="0f2bf491-0617-4378-90b8-89af8fa381b9" providerId="ADAL" clId="{90877F19-00D2-4A00-8128-E78E36266C9A}" dt="2023-11-08T07:17:14.037" v="170956"/>
          <ac:spMkLst>
            <pc:docMk/>
            <pc:sldMk cId="708553223" sldId="317"/>
            <ac:spMk id="740" creationId="{F032FE9F-F04A-C21D-789B-61C99E159F5E}"/>
          </ac:spMkLst>
        </pc:spChg>
        <pc:spChg chg="add del mod replST">
          <ac:chgData name="Muchahary, Frankle" userId="0f2bf491-0617-4378-90b8-89af8fa381b9" providerId="ADAL" clId="{90877F19-00D2-4A00-8128-E78E36266C9A}" dt="2023-11-04T01:54:00.552" v="25254"/>
          <ac:spMkLst>
            <pc:docMk/>
            <pc:sldMk cId="708553223" sldId="317"/>
            <ac:spMk id="741" creationId="{2673AB5A-7AB0-7917-77EA-F7341AD73190}"/>
          </ac:spMkLst>
        </pc:spChg>
        <pc:spChg chg="add del mod modVis">
          <ac:chgData name="Muchahary, Frankle" userId="0f2bf491-0617-4378-90b8-89af8fa381b9" providerId="ADAL" clId="{90877F19-00D2-4A00-8128-E78E36266C9A}" dt="2023-11-04T19:38:17.625" v="58649"/>
          <ac:spMkLst>
            <pc:docMk/>
            <pc:sldMk cId="708553223" sldId="317"/>
            <ac:spMk id="741" creationId="{79987769-5465-4823-02FA-30E2D840030F}"/>
          </ac:spMkLst>
        </pc:spChg>
        <pc:spChg chg="add del mod replST">
          <ac:chgData name="Muchahary, Frankle" userId="0f2bf491-0617-4378-90b8-89af8fa381b9" providerId="ADAL" clId="{90877F19-00D2-4A00-8128-E78E36266C9A}" dt="2023-11-04T01:54:00.552" v="25255"/>
          <ac:spMkLst>
            <pc:docMk/>
            <pc:sldMk cId="708553223" sldId="317"/>
            <ac:spMk id="742" creationId="{607DC7FF-931B-F857-C947-730108F198FC}"/>
          </ac:spMkLst>
        </pc:spChg>
        <pc:spChg chg="add del mod replST">
          <ac:chgData name="Muchahary, Frankle" userId="0f2bf491-0617-4378-90b8-89af8fa381b9" providerId="ADAL" clId="{90877F19-00D2-4A00-8128-E78E36266C9A}" dt="2023-11-04T01:54:00.554" v="25256"/>
          <ac:spMkLst>
            <pc:docMk/>
            <pc:sldMk cId="708553223" sldId="317"/>
            <ac:spMk id="743" creationId="{2EC2CD9D-1B81-F63E-9D18-627FC51620A9}"/>
          </ac:spMkLst>
        </pc:spChg>
        <pc:spChg chg="add del mod modVis">
          <ac:chgData name="Muchahary, Frankle" userId="0f2bf491-0617-4378-90b8-89af8fa381b9" providerId="ADAL" clId="{90877F19-00D2-4A00-8128-E78E36266C9A}" dt="2023-11-04T19:38:26.052" v="58808"/>
          <ac:spMkLst>
            <pc:docMk/>
            <pc:sldMk cId="708553223" sldId="317"/>
            <ac:spMk id="743" creationId="{9EDD3DAC-73C5-AB19-F6A9-7FD8F4B74896}"/>
          </ac:spMkLst>
        </pc:spChg>
        <pc:spChg chg="add del mod replST">
          <ac:chgData name="Muchahary, Frankle" userId="0f2bf491-0617-4378-90b8-89af8fa381b9" providerId="ADAL" clId="{90877F19-00D2-4A00-8128-E78E36266C9A}" dt="2023-11-04T01:54:00.554" v="25257"/>
          <ac:spMkLst>
            <pc:docMk/>
            <pc:sldMk cId="708553223" sldId="317"/>
            <ac:spMk id="744" creationId="{57C457A2-FB9C-6CB5-1C1C-839F2DA8C70C}"/>
          </ac:spMkLst>
        </pc:spChg>
        <pc:spChg chg="add del mod modVis">
          <ac:chgData name="Muchahary, Frankle" userId="0f2bf491-0617-4378-90b8-89af8fa381b9" providerId="ADAL" clId="{90877F19-00D2-4A00-8128-E78E36266C9A}" dt="2023-11-04T19:38:28.678" v="58967"/>
          <ac:spMkLst>
            <pc:docMk/>
            <pc:sldMk cId="708553223" sldId="317"/>
            <ac:spMk id="745" creationId="{3E2856BA-F8A0-B81C-BE3E-C42AEDF99CE9}"/>
          </ac:spMkLst>
        </pc:spChg>
        <pc:spChg chg="add del mod replST">
          <ac:chgData name="Muchahary, Frankle" userId="0f2bf491-0617-4378-90b8-89af8fa381b9" providerId="ADAL" clId="{90877F19-00D2-4A00-8128-E78E36266C9A}" dt="2023-11-04T01:54:00.556" v="25258"/>
          <ac:spMkLst>
            <pc:docMk/>
            <pc:sldMk cId="708553223" sldId="317"/>
            <ac:spMk id="745" creationId="{903C5128-C88F-DDE8-2CE1-42219F020FB6}"/>
          </ac:spMkLst>
        </pc:spChg>
        <pc:spChg chg="add del mod replST">
          <ac:chgData name="Muchahary, Frankle" userId="0f2bf491-0617-4378-90b8-89af8fa381b9" providerId="ADAL" clId="{90877F19-00D2-4A00-8128-E78E36266C9A}" dt="2023-11-04T01:54:00.556" v="25259"/>
          <ac:spMkLst>
            <pc:docMk/>
            <pc:sldMk cId="708553223" sldId="317"/>
            <ac:spMk id="746" creationId="{4E8326E6-4252-1D48-1AF0-D33C441C5534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0"/>
          <ac:spMkLst>
            <pc:docMk/>
            <pc:sldMk cId="708553223" sldId="317"/>
            <ac:spMk id="747" creationId="{310D49DD-B517-093D-5BA2-07D3C640D46F}"/>
          </ac:spMkLst>
        </pc:spChg>
        <pc:spChg chg="add del mod modVis">
          <ac:chgData name="Muchahary, Frankle" userId="0f2bf491-0617-4378-90b8-89af8fa381b9" providerId="ADAL" clId="{90877F19-00D2-4A00-8128-E78E36266C9A}" dt="2023-11-04T19:38:37.814" v="59129"/>
          <ac:spMkLst>
            <pc:docMk/>
            <pc:sldMk cId="708553223" sldId="317"/>
            <ac:spMk id="747" creationId="{998016AA-E4F7-B9B2-0532-1C33A83F6278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1"/>
          <ac:spMkLst>
            <pc:docMk/>
            <pc:sldMk cId="708553223" sldId="317"/>
            <ac:spMk id="748" creationId="{32ABAF1D-E35D-3BED-DA4E-5A60C866F664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2"/>
          <ac:spMkLst>
            <pc:docMk/>
            <pc:sldMk cId="708553223" sldId="317"/>
            <ac:spMk id="749" creationId="{551B6B52-743C-FA6B-0D64-F045D1B5C432}"/>
          </ac:spMkLst>
        </pc:spChg>
        <pc:spChg chg="add del mod modVis">
          <ac:chgData name="Muchahary, Frankle" userId="0f2bf491-0617-4378-90b8-89af8fa381b9" providerId="ADAL" clId="{90877F19-00D2-4A00-8128-E78E36266C9A}" dt="2023-11-04T19:38:42.223" v="59292"/>
          <ac:spMkLst>
            <pc:docMk/>
            <pc:sldMk cId="708553223" sldId="317"/>
            <ac:spMk id="749" creationId="{EAFE027E-3AF5-DD89-C7EF-F11BB43D92D5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3"/>
          <ac:spMkLst>
            <pc:docMk/>
            <pc:sldMk cId="708553223" sldId="317"/>
            <ac:spMk id="750" creationId="{472BD944-E3CE-DE1A-DF4A-C02E9E571D87}"/>
          </ac:spMkLst>
        </pc:spChg>
        <pc:spChg chg="add del mod modVis">
          <ac:chgData name="Muchahary, Frankle" userId="0f2bf491-0617-4378-90b8-89af8fa381b9" providerId="ADAL" clId="{90877F19-00D2-4A00-8128-E78E36266C9A}" dt="2023-11-04T19:38:50.241" v="59451"/>
          <ac:spMkLst>
            <pc:docMk/>
            <pc:sldMk cId="708553223" sldId="317"/>
            <ac:spMk id="751" creationId="{CD0D918D-24A7-7694-F76E-E7FF9D51ED13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4"/>
          <ac:spMkLst>
            <pc:docMk/>
            <pc:sldMk cId="708553223" sldId="317"/>
            <ac:spMk id="751" creationId="{DF116428-F20C-7C56-A801-6424CEC48992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5"/>
          <ac:spMkLst>
            <pc:docMk/>
            <pc:sldMk cId="708553223" sldId="317"/>
            <ac:spMk id="752" creationId="{D2D851EE-85C2-CB15-0511-08CDA193CA83}"/>
          </ac:spMkLst>
        </pc:spChg>
        <pc:spChg chg="add del mod replST">
          <ac:chgData name="Muchahary, Frankle" userId="0f2bf491-0617-4378-90b8-89af8fa381b9" providerId="ADAL" clId="{90877F19-00D2-4A00-8128-E78E36266C9A}" dt="2023-11-04T01:54:00.557" v="25266"/>
          <ac:spMkLst>
            <pc:docMk/>
            <pc:sldMk cId="708553223" sldId="317"/>
            <ac:spMk id="753" creationId="{7E7F7F32-B3A0-F027-17A5-D108447221D5}"/>
          </ac:spMkLst>
        </pc:spChg>
        <pc:spChg chg="add del mod ord replST">
          <ac:chgData name="Muchahary, Frankle" userId="0f2bf491-0617-4378-90b8-89af8fa381b9" providerId="ADAL" clId="{90877F19-00D2-4A00-8128-E78E36266C9A}" dt="2023-11-05T18:08:41.818" v="148576"/>
          <ac:spMkLst>
            <pc:docMk/>
            <pc:sldMk cId="708553223" sldId="317"/>
            <ac:spMk id="753" creationId="{A5FDCA23-8A6D-A0B2-23BA-E93C2EA13206}"/>
          </ac:spMkLst>
        </pc:spChg>
        <pc:spChg chg="add del mod modVis">
          <ac:chgData name="Muchahary, Frankle" userId="0f2bf491-0617-4378-90b8-89af8fa381b9" providerId="ADAL" clId="{90877F19-00D2-4A00-8128-E78E36266C9A}" dt="2023-11-04T19:39:49.902" v="59684"/>
          <ac:spMkLst>
            <pc:docMk/>
            <pc:sldMk cId="708553223" sldId="317"/>
            <ac:spMk id="754" creationId="{5B8DE634-071E-28A9-35C6-1B30CC268719}"/>
          </ac:spMkLst>
        </pc:spChg>
        <pc:spChg chg="add del mod modVis">
          <ac:chgData name="Muchahary, Frankle" userId="0f2bf491-0617-4378-90b8-89af8fa381b9" providerId="ADAL" clId="{90877F19-00D2-4A00-8128-E78E36266C9A}" dt="2023-11-04T01:54:00.621" v="25316"/>
          <ac:spMkLst>
            <pc:docMk/>
            <pc:sldMk cId="708553223" sldId="317"/>
            <ac:spMk id="755" creationId="{072A5F0E-B249-5925-1734-66A5B19B35E7}"/>
          </ac:spMkLst>
        </pc:spChg>
        <pc:spChg chg="add del mod modVis">
          <ac:chgData name="Muchahary, Frankle" userId="0f2bf491-0617-4378-90b8-89af8fa381b9" providerId="ADAL" clId="{90877F19-00D2-4A00-8128-E78E36266C9A}" dt="2023-11-04T19:39:53.183" v="59896"/>
          <ac:spMkLst>
            <pc:docMk/>
            <pc:sldMk cId="708553223" sldId="317"/>
            <ac:spMk id="756" creationId="{317C76A3-FF11-3163-F919-389CC231F68C}"/>
          </ac:spMkLst>
        </pc:spChg>
        <pc:spChg chg="add del mod modVis">
          <ac:chgData name="Muchahary, Frankle" userId="0f2bf491-0617-4378-90b8-89af8fa381b9" providerId="ADAL" clId="{90877F19-00D2-4A00-8128-E78E36266C9A}" dt="2023-11-04T01:54:43.992" v="26223"/>
          <ac:spMkLst>
            <pc:docMk/>
            <pc:sldMk cId="708553223" sldId="317"/>
            <ac:spMk id="757" creationId="{B1705D97-DF83-1E16-12F8-9D95DF9AD388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4"/>
          <ac:spMkLst>
            <pc:docMk/>
            <pc:sldMk cId="708553223" sldId="317"/>
            <ac:spMk id="758" creationId="{A04120DE-A093-F038-5BF4-516ED4574AD9}"/>
          </ac:spMkLst>
        </pc:spChg>
        <pc:spChg chg="add del mod modVis">
          <ac:chgData name="Muchahary, Frankle" userId="0f2bf491-0617-4378-90b8-89af8fa381b9" providerId="ADAL" clId="{90877F19-00D2-4A00-8128-E78E36266C9A}" dt="2023-11-04T19:40:01.367" v="60096"/>
          <ac:spMkLst>
            <pc:docMk/>
            <pc:sldMk cId="708553223" sldId="317"/>
            <ac:spMk id="758" creationId="{E4F71EC2-0A63-6286-5A79-51947F68943C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5"/>
          <ac:spMkLst>
            <pc:docMk/>
            <pc:sldMk cId="708553223" sldId="317"/>
            <ac:spMk id="759" creationId="{F0BECAD4-3E86-2BFC-526C-D6878FA80B88}"/>
          </ac:spMkLst>
        </pc:spChg>
        <pc:spChg chg="add del mod modVis">
          <ac:chgData name="Muchahary, Frankle" userId="0f2bf491-0617-4378-90b8-89af8fa381b9" providerId="ADAL" clId="{90877F19-00D2-4A00-8128-E78E36266C9A}" dt="2023-11-04T19:40:31.483" v="60337"/>
          <ac:spMkLst>
            <pc:docMk/>
            <pc:sldMk cId="708553223" sldId="317"/>
            <ac:spMk id="760" creationId="{A3CA77D3-06D7-9E1E-B87E-6B673F8AD2BD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6"/>
          <ac:spMkLst>
            <pc:docMk/>
            <pc:sldMk cId="708553223" sldId="317"/>
            <ac:spMk id="760" creationId="{D8B6FE89-F55E-D26B-D44B-439839C24DBC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7"/>
          <ac:spMkLst>
            <pc:docMk/>
            <pc:sldMk cId="708553223" sldId="317"/>
            <ac:spMk id="761" creationId="{26721A30-2B2F-8F47-B6E8-9EAEA40117B4}"/>
          </ac:spMkLst>
        </pc:spChg>
        <pc:spChg chg="add del mod ord replST">
          <ac:chgData name="Muchahary, Frankle" userId="0f2bf491-0617-4378-90b8-89af8fa381b9" providerId="ADAL" clId="{90877F19-00D2-4A00-8128-E78E36266C9A}" dt="2023-11-04T20:02:16.674" v="79820"/>
          <ac:spMkLst>
            <pc:docMk/>
            <pc:sldMk cId="708553223" sldId="317"/>
            <ac:spMk id="761" creationId="{8CEF292F-C52F-86CF-EBC6-71423C2A994F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8"/>
          <ac:spMkLst>
            <pc:docMk/>
            <pc:sldMk cId="708553223" sldId="317"/>
            <ac:spMk id="762" creationId="{E37DEFA9-D091-14B8-225A-1FE38A5332C6}"/>
          </ac:spMkLst>
        </pc:spChg>
        <pc:spChg chg="add del mod replST">
          <ac:chgData name="Muchahary, Frankle" userId="0f2bf491-0617-4378-90b8-89af8fa381b9" providerId="ADAL" clId="{90877F19-00D2-4A00-8128-E78E36266C9A}" dt="2023-11-04T01:54:44.633" v="26289"/>
          <ac:spMkLst>
            <pc:docMk/>
            <pc:sldMk cId="708553223" sldId="317"/>
            <ac:spMk id="763" creationId="{AEC69514-4C29-D289-4D20-D6DFC38921BF}"/>
          </ac:spMkLst>
        </pc:spChg>
        <pc:spChg chg="add del mod modVis">
          <ac:chgData name="Muchahary, Frankle" userId="0f2bf491-0617-4378-90b8-89af8fa381b9" providerId="ADAL" clId="{90877F19-00D2-4A00-8128-E78E36266C9A}" dt="2023-11-04T19:40:45.450" v="60531"/>
          <ac:spMkLst>
            <pc:docMk/>
            <pc:sldMk cId="708553223" sldId="317"/>
            <ac:spMk id="763" creationId="{DB5DCEA8-9E62-523C-D630-3450C98D1F40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0"/>
          <ac:spMkLst>
            <pc:docMk/>
            <pc:sldMk cId="708553223" sldId="317"/>
            <ac:spMk id="764" creationId="{2EDFD621-5B4D-F6D2-3590-53D81D0439CD}"/>
          </ac:spMkLst>
        </pc:spChg>
        <pc:spChg chg="add del mod modVis">
          <ac:chgData name="Muchahary, Frankle" userId="0f2bf491-0617-4378-90b8-89af8fa381b9" providerId="ADAL" clId="{90877F19-00D2-4A00-8128-E78E36266C9A}" dt="2023-11-04T19:40:48.180" v="60723"/>
          <ac:spMkLst>
            <pc:docMk/>
            <pc:sldMk cId="708553223" sldId="317"/>
            <ac:spMk id="765" creationId="{0A653B22-2597-CA19-AD6E-F8F1E78A7CB3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1"/>
          <ac:spMkLst>
            <pc:docMk/>
            <pc:sldMk cId="708553223" sldId="317"/>
            <ac:spMk id="765" creationId="{2B79BC1D-29C5-0838-6819-D8F1ACA97132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2"/>
          <ac:spMkLst>
            <pc:docMk/>
            <pc:sldMk cId="708553223" sldId="317"/>
            <ac:spMk id="766" creationId="{AEB40818-9B26-E0E0-38A3-87AEEAA4C2F0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3"/>
          <ac:spMkLst>
            <pc:docMk/>
            <pc:sldMk cId="708553223" sldId="317"/>
            <ac:spMk id="767" creationId="{0BB33446-A39E-AD8C-824F-214ABC64609C}"/>
          </ac:spMkLst>
        </pc:spChg>
        <pc:spChg chg="add del mod modVis">
          <ac:chgData name="Muchahary, Frankle" userId="0f2bf491-0617-4378-90b8-89af8fa381b9" providerId="ADAL" clId="{90877F19-00D2-4A00-8128-E78E36266C9A}" dt="2023-11-04T19:40:49.520" v="60915"/>
          <ac:spMkLst>
            <pc:docMk/>
            <pc:sldMk cId="708553223" sldId="317"/>
            <ac:spMk id="767" creationId="{2009B275-0EF9-2F1C-576D-38D0D0988FED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4"/>
          <ac:spMkLst>
            <pc:docMk/>
            <pc:sldMk cId="708553223" sldId="317"/>
            <ac:spMk id="768" creationId="{8FE2593E-82CE-7EC1-CAFC-707F70ECFEF2}"/>
          </ac:spMkLst>
        </pc:spChg>
        <pc:spChg chg="add del mod modVis">
          <ac:chgData name="Muchahary, Frankle" userId="0f2bf491-0617-4378-90b8-89af8fa381b9" providerId="ADAL" clId="{90877F19-00D2-4A00-8128-E78E36266C9A}" dt="2023-11-04T19:44:51.174" v="61150"/>
          <ac:spMkLst>
            <pc:docMk/>
            <pc:sldMk cId="708553223" sldId="317"/>
            <ac:spMk id="769" creationId="{3166495B-5654-96DC-D1E7-459324631C1C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5"/>
          <ac:spMkLst>
            <pc:docMk/>
            <pc:sldMk cId="708553223" sldId="317"/>
            <ac:spMk id="769" creationId="{AAA9945C-9969-EA80-AFC4-7FDBA703E89B}"/>
          </ac:spMkLst>
        </pc:spChg>
        <pc:spChg chg="add del mod replST">
          <ac:chgData name="Muchahary, Frankle" userId="0f2bf491-0617-4378-90b8-89af8fa381b9" providerId="ADAL" clId="{90877F19-00D2-4A00-8128-E78E36266C9A}" dt="2023-11-04T01:54:44.648" v="26296"/>
          <ac:spMkLst>
            <pc:docMk/>
            <pc:sldMk cId="708553223" sldId="317"/>
            <ac:spMk id="770" creationId="{DB5AC88E-BA64-56B3-63FF-BBB1A820DAFF}"/>
          </ac:spMkLst>
        </pc:spChg>
        <pc:spChg chg="add del mod modVis">
          <ac:chgData name="Muchahary, Frankle" userId="0f2bf491-0617-4378-90b8-89af8fa381b9" providerId="ADAL" clId="{90877F19-00D2-4A00-8128-E78E36266C9A}" dt="2023-11-04T19:46:06.097" v="61337"/>
          <ac:spMkLst>
            <pc:docMk/>
            <pc:sldMk cId="708553223" sldId="317"/>
            <ac:spMk id="771" creationId="{C3F6A646-E670-A1EC-DAC3-643A0E8F58DA}"/>
          </ac:spMkLst>
        </pc:spChg>
        <pc:spChg chg="add del mod modVis">
          <ac:chgData name="Muchahary, Frankle" userId="0f2bf491-0617-4378-90b8-89af8fa381b9" providerId="ADAL" clId="{90877F19-00D2-4A00-8128-E78E36266C9A}" dt="2023-11-04T01:54:44.711" v="26346"/>
          <ac:spMkLst>
            <pc:docMk/>
            <pc:sldMk cId="708553223" sldId="317"/>
            <ac:spMk id="772" creationId="{E02C561C-E286-664F-0E97-1B82C495F778}"/>
          </ac:spMkLst>
        </pc:spChg>
        <pc:spChg chg="add del mod modVis">
          <ac:chgData name="Muchahary, Frankle" userId="0f2bf491-0617-4378-90b8-89af8fa381b9" providerId="ADAL" clId="{90877F19-00D2-4A00-8128-E78E36266C9A}" dt="2023-11-04T19:46:13.549" v="61538"/>
          <ac:spMkLst>
            <pc:docMk/>
            <pc:sldMk cId="708553223" sldId="317"/>
            <ac:spMk id="773" creationId="{38069D51-AB93-D1E4-0D14-8899DFCAC5E9}"/>
          </ac:spMkLst>
        </pc:spChg>
        <pc:spChg chg="add del mod modVis">
          <ac:chgData name="Muchahary, Frankle" userId="0f2bf491-0617-4378-90b8-89af8fa381b9" providerId="ADAL" clId="{90877F19-00D2-4A00-8128-E78E36266C9A}" dt="2023-11-04T01:54:49.449" v="27253"/>
          <ac:spMkLst>
            <pc:docMk/>
            <pc:sldMk cId="708553223" sldId="317"/>
            <ac:spMk id="774" creationId="{9FC64D22-EDDC-C8D7-67FB-9B728133520E}"/>
          </ac:spMkLst>
        </pc:spChg>
        <pc:spChg chg="add del mod replST">
          <ac:chgData name="Muchahary, Frankle" userId="0f2bf491-0617-4378-90b8-89af8fa381b9" providerId="ADAL" clId="{90877F19-00D2-4A00-8128-E78E36266C9A}" dt="2023-11-04T01:54:50.782" v="27314"/>
          <ac:spMkLst>
            <pc:docMk/>
            <pc:sldMk cId="708553223" sldId="317"/>
            <ac:spMk id="775" creationId="{A9E8E485-BD77-4834-EE76-7D26624F2101}"/>
          </ac:spMkLst>
        </pc:spChg>
        <pc:spChg chg="add del mod modVis">
          <ac:chgData name="Muchahary, Frankle" userId="0f2bf491-0617-4378-90b8-89af8fa381b9" providerId="ADAL" clId="{90877F19-00D2-4A00-8128-E78E36266C9A}" dt="2023-11-04T19:49:00.311" v="61770"/>
          <ac:spMkLst>
            <pc:docMk/>
            <pc:sldMk cId="708553223" sldId="317"/>
            <ac:spMk id="775" creationId="{EFDD4EA1-499C-F355-9D09-B7472DFC83DA}"/>
          </ac:spMkLst>
        </pc:spChg>
        <pc:spChg chg="add del mod ord replST">
          <ac:chgData name="Muchahary, Frankle" userId="0f2bf491-0617-4378-90b8-89af8fa381b9" providerId="ADAL" clId="{90877F19-00D2-4A00-8128-E78E36266C9A}" dt="2023-11-04T19:50:28.014" v="64033"/>
          <ac:spMkLst>
            <pc:docMk/>
            <pc:sldMk cId="708553223" sldId="317"/>
            <ac:spMk id="776" creationId="{5F5E8615-4258-6AD8-1757-ED883AA8C389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15"/>
          <ac:spMkLst>
            <pc:docMk/>
            <pc:sldMk cId="708553223" sldId="317"/>
            <ac:spMk id="776" creationId="{E11E78ED-0B7C-E1ED-6307-47560ED1E16D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16"/>
          <ac:spMkLst>
            <pc:docMk/>
            <pc:sldMk cId="708553223" sldId="317"/>
            <ac:spMk id="777" creationId="{CE4AC6BD-69E4-BE53-4D88-61130D09209C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17"/>
          <ac:spMkLst>
            <pc:docMk/>
            <pc:sldMk cId="708553223" sldId="317"/>
            <ac:spMk id="778" creationId="{296A3D60-C8FB-0BFD-7B7F-C05357CAB273}"/>
          </ac:spMkLst>
        </pc:spChg>
        <pc:spChg chg="add del mod modVis">
          <ac:chgData name="Muchahary, Frankle" userId="0f2bf491-0617-4378-90b8-89af8fa381b9" providerId="ADAL" clId="{90877F19-00D2-4A00-8128-E78E36266C9A}" dt="2023-11-04T19:49:02.155" v="61982"/>
          <ac:spMkLst>
            <pc:docMk/>
            <pc:sldMk cId="708553223" sldId="317"/>
            <ac:spMk id="778" creationId="{3BC31EE1-938E-E69E-0B67-79C53DC4C45E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18"/>
          <ac:spMkLst>
            <pc:docMk/>
            <pc:sldMk cId="708553223" sldId="317"/>
            <ac:spMk id="779" creationId="{A15DA121-DC69-35E9-33C3-98AAB1268A3B}"/>
          </ac:spMkLst>
        </pc:spChg>
        <pc:spChg chg="add del mod modVis">
          <ac:chgData name="Muchahary, Frankle" userId="0f2bf491-0617-4378-90b8-89af8fa381b9" providerId="ADAL" clId="{90877F19-00D2-4A00-8128-E78E36266C9A}" dt="2023-11-04T19:49:08.806" v="62238"/>
          <ac:spMkLst>
            <pc:docMk/>
            <pc:sldMk cId="708553223" sldId="317"/>
            <ac:spMk id="780" creationId="{071E0452-F5AE-D417-BCA5-20B1E81679CB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19"/>
          <ac:spMkLst>
            <pc:docMk/>
            <pc:sldMk cId="708553223" sldId="317"/>
            <ac:spMk id="780" creationId="{E97AF753-79CE-935B-618D-7A5F4A7DB8FF}"/>
          </ac:spMkLst>
        </pc:spChg>
        <pc:spChg chg="add del mod ord replST">
          <ac:chgData name="Muchahary, Frankle" userId="0f2bf491-0617-4378-90b8-89af8fa381b9" providerId="ADAL" clId="{90877F19-00D2-4A00-8128-E78E36266C9A}" dt="2023-11-04T19:50:28.015" v="64035"/>
          <ac:spMkLst>
            <pc:docMk/>
            <pc:sldMk cId="708553223" sldId="317"/>
            <ac:spMk id="781" creationId="{5591657E-E70F-D482-D824-B2198F503F9B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0"/>
          <ac:spMkLst>
            <pc:docMk/>
            <pc:sldMk cId="708553223" sldId="317"/>
            <ac:spMk id="781" creationId="{608F04D7-A0C8-4168-E114-F9FD78F46A0E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1"/>
          <ac:spMkLst>
            <pc:docMk/>
            <pc:sldMk cId="708553223" sldId="317"/>
            <ac:spMk id="782" creationId="{20BAFFED-38C7-C98E-D0F9-9B288747F7B0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2"/>
          <ac:spMkLst>
            <pc:docMk/>
            <pc:sldMk cId="708553223" sldId="317"/>
            <ac:spMk id="783" creationId="{6A21AEBB-6046-2B4A-A217-4C1E6C51D593}"/>
          </ac:spMkLst>
        </pc:spChg>
        <pc:spChg chg="add del mod modVis">
          <ac:chgData name="Muchahary, Frankle" userId="0f2bf491-0617-4378-90b8-89af8fa381b9" providerId="ADAL" clId="{90877F19-00D2-4A00-8128-E78E36266C9A}" dt="2023-11-04T19:49:22.717" v="62477"/>
          <ac:spMkLst>
            <pc:docMk/>
            <pc:sldMk cId="708553223" sldId="317"/>
            <ac:spMk id="783" creationId="{C4B87044-340A-E3A2-3E90-1318A74392F8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3"/>
          <ac:spMkLst>
            <pc:docMk/>
            <pc:sldMk cId="708553223" sldId="317"/>
            <ac:spMk id="784" creationId="{3D5DD853-F6D9-6FC3-B5C0-059241F8F319}"/>
          </ac:spMkLst>
        </pc:spChg>
        <pc:spChg chg="add del mod ord replST">
          <ac:chgData name="Muchahary, Frankle" userId="0f2bf491-0617-4378-90b8-89af8fa381b9" providerId="ADAL" clId="{90877F19-00D2-4A00-8128-E78E36266C9A}" dt="2023-11-04T19:50:28.016" v="64037"/>
          <ac:spMkLst>
            <pc:docMk/>
            <pc:sldMk cId="708553223" sldId="317"/>
            <ac:spMk id="784" creationId="{72915266-2D1C-8AEF-0104-3A827EEF769B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4"/>
          <ac:spMkLst>
            <pc:docMk/>
            <pc:sldMk cId="708553223" sldId="317"/>
            <ac:spMk id="785" creationId="{912D97BE-6A6F-3D52-0305-7466A5978E41}"/>
          </ac:spMkLst>
        </pc:spChg>
        <pc:spChg chg="add del mod modVis">
          <ac:chgData name="Muchahary, Frankle" userId="0f2bf491-0617-4378-90b8-89af8fa381b9" providerId="ADAL" clId="{90877F19-00D2-4A00-8128-E78E36266C9A}" dt="2023-11-04T19:49:27.653" v="62715"/>
          <ac:spMkLst>
            <pc:docMk/>
            <pc:sldMk cId="708553223" sldId="317"/>
            <ac:spMk id="786" creationId="{0BA6822A-C637-D31D-A62D-9EC7094F489D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5"/>
          <ac:spMkLst>
            <pc:docMk/>
            <pc:sldMk cId="708553223" sldId="317"/>
            <ac:spMk id="786" creationId="{DFA5C8EC-F340-F671-B7C5-672AD5BFA5CB}"/>
          </ac:spMkLst>
        </pc:spChg>
        <pc:spChg chg="add del mod ord replST">
          <ac:chgData name="Muchahary, Frankle" userId="0f2bf491-0617-4378-90b8-89af8fa381b9" providerId="ADAL" clId="{90877F19-00D2-4A00-8128-E78E36266C9A}" dt="2023-11-04T19:50:28.017" v="64039"/>
          <ac:spMkLst>
            <pc:docMk/>
            <pc:sldMk cId="708553223" sldId="317"/>
            <ac:spMk id="787" creationId="{4B937C49-30EC-6693-1E01-FC555AD1AE7E}"/>
          </ac:spMkLst>
        </pc:spChg>
        <pc:spChg chg="add del mod replST">
          <ac:chgData name="Muchahary, Frankle" userId="0f2bf491-0617-4378-90b8-89af8fa381b9" providerId="ADAL" clId="{90877F19-00D2-4A00-8128-E78E36266C9A}" dt="2023-11-04T01:54:50.797" v="27326"/>
          <ac:spMkLst>
            <pc:docMk/>
            <pc:sldMk cId="708553223" sldId="317"/>
            <ac:spMk id="787" creationId="{B11B6CE1-A04E-BF17-D7A0-33ED46CF7866}"/>
          </ac:spMkLst>
        </pc:spChg>
        <pc:spChg chg="add del mod modVis">
          <ac:chgData name="Muchahary, Frankle" userId="0f2bf491-0617-4378-90b8-89af8fa381b9" providerId="ADAL" clId="{90877F19-00D2-4A00-8128-E78E36266C9A}" dt="2023-11-04T01:54:50.875" v="27376"/>
          <ac:spMkLst>
            <pc:docMk/>
            <pc:sldMk cId="708553223" sldId="317"/>
            <ac:spMk id="789" creationId="{906FADC1-430F-3733-4965-ED03E4DAAA7A}"/>
          </ac:spMkLst>
        </pc:spChg>
        <pc:spChg chg="add del mod modVis">
          <ac:chgData name="Muchahary, Frankle" userId="0f2bf491-0617-4378-90b8-89af8fa381b9" providerId="ADAL" clId="{90877F19-00D2-4A00-8128-E78E36266C9A}" dt="2023-11-04T19:49:45.447" v="62948"/>
          <ac:spMkLst>
            <pc:docMk/>
            <pc:sldMk cId="708553223" sldId="317"/>
            <ac:spMk id="789" creationId="{E8CAA4FE-B7A8-22F6-F542-AEA4DABCAD5B}"/>
          </ac:spMkLst>
        </pc:spChg>
        <pc:spChg chg="add del mod modVis">
          <ac:chgData name="Muchahary, Frankle" userId="0f2bf491-0617-4378-90b8-89af8fa381b9" providerId="ADAL" clId="{90877F19-00D2-4A00-8128-E78E36266C9A}" dt="2023-11-04T19:50:28.113" v="64211"/>
          <ac:spMkLst>
            <pc:docMk/>
            <pc:sldMk cId="708553223" sldId="317"/>
            <ac:spMk id="791" creationId="{3375CB27-3774-22CE-159E-23D8FA220257}"/>
          </ac:spMkLst>
        </pc:spChg>
        <pc:spChg chg="add del mod modVis">
          <ac:chgData name="Muchahary, Frankle" userId="0f2bf491-0617-4378-90b8-89af8fa381b9" providerId="ADAL" clId="{90877F19-00D2-4A00-8128-E78E36266C9A}" dt="2023-11-04T01:55:30.671" v="27539"/>
          <ac:spMkLst>
            <pc:docMk/>
            <pc:sldMk cId="708553223" sldId="317"/>
            <ac:spMk id="791" creationId="{6958035D-76E4-0329-C938-B049E1D14D1D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8" v="65804"/>
          <ac:spMkLst>
            <pc:docMk/>
            <pc:sldMk cId="708553223" sldId="317"/>
            <ac:spMk id="792" creationId="{66E28607-D499-CDD7-4BC4-9B17F445410C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8" v="65802"/>
          <ac:spMkLst>
            <pc:docMk/>
            <pc:sldMk cId="708553223" sldId="317"/>
            <ac:spMk id="793" creationId="{33BE8C10-F778-33CF-5ED2-43A0FF203641}"/>
          </ac:spMkLst>
        </pc:spChg>
        <pc:spChg chg="add del mod modVis">
          <ac:chgData name="Muchahary, Frankle" userId="0f2bf491-0617-4378-90b8-89af8fa381b9" providerId="ADAL" clId="{90877F19-00D2-4A00-8128-E78E36266C9A}" dt="2023-11-04T01:55:37.557" v="27688"/>
          <ac:spMkLst>
            <pc:docMk/>
            <pc:sldMk cId="708553223" sldId="317"/>
            <ac:spMk id="793" creationId="{FD28B4CD-B7A4-4AFE-3953-1F610BFA8024}"/>
          </ac:spMkLst>
        </pc:spChg>
        <pc:spChg chg="add del mod replST">
          <ac:chgData name="Muchahary, Frankle" userId="0f2bf491-0617-4378-90b8-89af8fa381b9" providerId="ADAL" clId="{90877F19-00D2-4A00-8128-E78E36266C9A}" dt="2023-11-04T19:51:17.897" v="65800"/>
          <ac:spMkLst>
            <pc:docMk/>
            <pc:sldMk cId="708553223" sldId="317"/>
            <ac:spMk id="794" creationId="{63B2A8B1-778A-3E72-B29A-976A6F986145}"/>
          </ac:spMkLst>
        </pc:spChg>
        <pc:spChg chg="add del mod modVis">
          <ac:chgData name="Muchahary, Frankle" userId="0f2bf491-0617-4378-90b8-89af8fa381b9" providerId="ADAL" clId="{90877F19-00D2-4A00-8128-E78E36266C9A}" dt="2023-11-04T01:55:42.828" v="27836"/>
          <ac:spMkLst>
            <pc:docMk/>
            <pc:sldMk cId="708553223" sldId="317"/>
            <ac:spMk id="795" creationId="{0C03BDAB-C041-5D15-4974-F083AABC260E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6" v="65799"/>
          <ac:spMkLst>
            <pc:docMk/>
            <pc:sldMk cId="708553223" sldId="317"/>
            <ac:spMk id="795" creationId="{531E12A5-0877-9CEB-0F0C-EB482BEE278E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6" v="65797"/>
          <ac:spMkLst>
            <pc:docMk/>
            <pc:sldMk cId="708553223" sldId="317"/>
            <ac:spMk id="796" creationId="{4C546360-88F7-0439-4C50-0E828C8A19CD}"/>
          </ac:spMkLst>
        </pc:spChg>
        <pc:spChg chg="add del mod replST">
          <ac:chgData name="Muchahary, Frankle" userId="0f2bf491-0617-4378-90b8-89af8fa381b9" providerId="ADAL" clId="{90877F19-00D2-4A00-8128-E78E36266C9A}" dt="2023-11-04T19:51:17.895" v="65795"/>
          <ac:spMkLst>
            <pc:docMk/>
            <pc:sldMk cId="708553223" sldId="317"/>
            <ac:spMk id="797" creationId="{8F4C1BBB-CA68-AC43-6A9C-CF72803F078D}"/>
          </ac:spMkLst>
        </pc:spChg>
        <pc:spChg chg="add del mod modVis">
          <ac:chgData name="Muchahary, Frankle" userId="0f2bf491-0617-4378-90b8-89af8fa381b9" providerId="ADAL" clId="{90877F19-00D2-4A00-8128-E78E36266C9A}" dt="2023-11-04T01:55:54.119" v="28006"/>
          <ac:spMkLst>
            <pc:docMk/>
            <pc:sldMk cId="708553223" sldId="317"/>
            <ac:spMk id="797" creationId="{AC48AA0A-8140-29BA-B322-11F700FB95ED}"/>
          </ac:spMkLst>
        </pc:spChg>
        <pc:spChg chg="add mod replST">
          <ac:chgData name="Muchahary, Frankle" userId="0f2bf491-0617-4378-90b8-89af8fa381b9" providerId="ADAL" clId="{90877F19-00D2-4A00-8128-E78E36266C9A}" dt="2023-11-08T07:17:14.036" v="170954"/>
          <ac:spMkLst>
            <pc:docMk/>
            <pc:sldMk cId="708553223" sldId="317"/>
            <ac:spMk id="798" creationId="{FD338F2F-C25D-7662-9579-080DDD3D2F87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4" v="65794"/>
          <ac:spMkLst>
            <pc:docMk/>
            <pc:sldMk cId="708553223" sldId="317"/>
            <ac:spMk id="799" creationId="{69DC6476-60BF-09C2-F335-D1BF14588A42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4" v="65792"/>
          <ac:spMkLst>
            <pc:docMk/>
            <pc:sldMk cId="708553223" sldId="317"/>
            <ac:spMk id="800" creationId="{1CC16EC7-1163-339B-EBD8-86B5176ECD2A}"/>
          </ac:spMkLst>
        </pc:spChg>
        <pc:spChg chg="add del mod modVis">
          <ac:chgData name="Muchahary, Frankle" userId="0f2bf491-0617-4378-90b8-89af8fa381b9" providerId="ADAL" clId="{90877F19-00D2-4A00-8128-E78E36266C9A}" dt="2023-11-04T01:56:00.047" v="28110"/>
          <ac:spMkLst>
            <pc:docMk/>
            <pc:sldMk cId="708553223" sldId="317"/>
            <ac:spMk id="800" creationId="{F002275C-962C-32A7-C82D-1270A16FAD90}"/>
          </ac:spMkLst>
        </pc:spChg>
        <pc:spChg chg="add del mod replST">
          <ac:chgData name="Muchahary, Frankle" userId="0f2bf491-0617-4378-90b8-89af8fa381b9" providerId="ADAL" clId="{90877F19-00D2-4A00-8128-E78E36266C9A}" dt="2023-11-04T19:51:17.893" v="65790"/>
          <ac:spMkLst>
            <pc:docMk/>
            <pc:sldMk cId="708553223" sldId="317"/>
            <ac:spMk id="801" creationId="{32E78765-6B33-1D79-9DF7-4D7DBC24AF21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2" v="65789"/>
          <ac:spMkLst>
            <pc:docMk/>
            <pc:sldMk cId="708553223" sldId="317"/>
            <ac:spMk id="802" creationId="{75610C35-9FDE-4DE0-30DF-EFCBE117538C}"/>
          </ac:spMkLst>
        </pc:spChg>
        <pc:spChg chg="add del mod modVis">
          <ac:chgData name="Muchahary, Frankle" userId="0f2bf491-0617-4378-90b8-89af8fa381b9" providerId="ADAL" clId="{90877F19-00D2-4A00-8128-E78E36266C9A}" dt="2023-11-04T01:56:02.086" v="28215"/>
          <ac:spMkLst>
            <pc:docMk/>
            <pc:sldMk cId="708553223" sldId="317"/>
            <ac:spMk id="802" creationId="{C44F3AF9-414B-252A-5478-96F0EE240FD6}"/>
          </ac:spMkLst>
        </pc:spChg>
        <pc:spChg chg="add del mod ord replST">
          <ac:chgData name="Muchahary, Frankle" userId="0f2bf491-0617-4378-90b8-89af8fa381b9" providerId="ADAL" clId="{90877F19-00D2-4A00-8128-E78E36266C9A}" dt="2023-11-04T19:51:17.891" v="65787"/>
          <ac:spMkLst>
            <pc:docMk/>
            <pc:sldMk cId="708553223" sldId="317"/>
            <ac:spMk id="803" creationId="{CE10A5C1-D48A-E443-2365-F24EB10AB4D9}"/>
          </ac:spMkLst>
        </pc:spChg>
        <pc:spChg chg="add del mod replST">
          <ac:chgData name="Muchahary, Frankle" userId="0f2bf491-0617-4378-90b8-89af8fa381b9" providerId="ADAL" clId="{90877F19-00D2-4A00-8128-E78E36266C9A}" dt="2023-11-04T19:51:17.883" v="65785"/>
          <ac:spMkLst>
            <pc:docMk/>
            <pc:sldMk cId="708553223" sldId="317"/>
            <ac:spMk id="804" creationId="{2E4306F5-980B-7D7E-BE08-70C934A06D01}"/>
          </ac:spMkLst>
        </pc:spChg>
        <pc:spChg chg="add del mod modVis">
          <ac:chgData name="Muchahary, Frankle" userId="0f2bf491-0617-4378-90b8-89af8fa381b9" providerId="ADAL" clId="{90877F19-00D2-4A00-8128-E78E36266C9A}" dt="2023-11-04T01:56:07.271" v="29062"/>
          <ac:spMkLst>
            <pc:docMk/>
            <pc:sldMk cId="708553223" sldId="317"/>
            <ac:spMk id="804" creationId="{7993F503-96A9-ADD3-D6BF-54518E47978D}"/>
          </ac:spMkLst>
        </pc:spChg>
        <pc:spChg chg="add del mod replST">
          <ac:chgData name="Muchahary, Frankle" userId="0f2bf491-0617-4378-90b8-89af8fa381b9" providerId="ADAL" clId="{90877F19-00D2-4A00-8128-E78E36266C9A}" dt="2023-11-04T19:51:18.119" v="65987"/>
          <ac:spMkLst>
            <pc:docMk/>
            <pc:sldMk cId="708553223" sldId="317"/>
            <ac:spMk id="805" creationId="{0E1EEF88-1A36-DCE2-AEBF-B8EE043E674C}"/>
          </ac:spMkLst>
        </pc:spChg>
        <pc:spChg chg="add del mod replST">
          <ac:chgData name="Muchahary, Frankle" userId="0f2bf491-0617-4378-90b8-89af8fa381b9" providerId="ADAL" clId="{90877F19-00D2-4A00-8128-E78E36266C9A}" dt="2023-11-04T01:56:27.207" v="29562"/>
          <ac:spMkLst>
            <pc:docMk/>
            <pc:sldMk cId="708553223" sldId="317"/>
            <ac:spMk id="805" creationId="{7C8C97F6-EF90-DA10-B326-54DCD046FF6D}"/>
          </ac:spMkLst>
        </pc:spChg>
        <pc:spChg chg="add del mod replST">
          <ac:chgData name="Muchahary, Frankle" userId="0f2bf491-0617-4378-90b8-89af8fa381b9" providerId="ADAL" clId="{90877F19-00D2-4A00-8128-E78E36266C9A}" dt="2023-11-04T01:56:27.207" v="29563"/>
          <ac:spMkLst>
            <pc:docMk/>
            <pc:sldMk cId="708553223" sldId="317"/>
            <ac:spMk id="806" creationId="{115A75BB-1686-B349-3530-FC34DB26AB0E}"/>
          </ac:spMkLst>
        </pc:spChg>
        <pc:spChg chg="add del mod replST">
          <ac:chgData name="Muchahary, Frankle" userId="0f2bf491-0617-4378-90b8-89af8fa381b9" providerId="ADAL" clId="{90877F19-00D2-4A00-8128-E78E36266C9A}" dt="2023-11-04T19:51:18.142" v="66033"/>
          <ac:spMkLst>
            <pc:docMk/>
            <pc:sldMk cId="708553223" sldId="317"/>
            <ac:spMk id="806" creationId="{7E6167ED-3A0F-6AFC-8F10-B885C1A43BE4}"/>
          </ac:spMkLst>
        </pc:spChg>
        <pc:spChg chg="add del mod replST">
          <ac:chgData name="Muchahary, Frankle" userId="0f2bf491-0617-4378-90b8-89af8fa381b9" providerId="ADAL" clId="{90877F19-00D2-4A00-8128-E78E36266C9A}" dt="2023-11-04T19:51:18.143" v="66034"/>
          <ac:spMkLst>
            <pc:docMk/>
            <pc:sldMk cId="708553223" sldId="317"/>
            <ac:spMk id="807" creationId="{08F39FAF-653C-EEE5-C9E6-C8FEF0C2B401}"/>
          </ac:spMkLst>
        </pc:spChg>
        <pc:spChg chg="add del mod replST">
          <ac:chgData name="Muchahary, Frankle" userId="0f2bf491-0617-4378-90b8-89af8fa381b9" providerId="ADAL" clId="{90877F19-00D2-4A00-8128-E78E36266C9A}" dt="2023-11-04T01:56:27.207" v="29564"/>
          <ac:spMkLst>
            <pc:docMk/>
            <pc:sldMk cId="708553223" sldId="317"/>
            <ac:spMk id="807" creationId="{3DC78352-40C1-BA6C-0BA6-AB44E68D8303}"/>
          </ac:spMkLst>
        </pc:spChg>
        <pc:spChg chg="add del mod replST">
          <ac:chgData name="Muchahary, Frankle" userId="0f2bf491-0617-4378-90b8-89af8fa381b9" providerId="ADAL" clId="{90877F19-00D2-4A00-8128-E78E36266C9A}" dt="2023-11-04T19:51:18.109" v="65963"/>
          <ac:spMkLst>
            <pc:docMk/>
            <pc:sldMk cId="708553223" sldId="317"/>
            <ac:spMk id="808" creationId="{6F132656-7B14-E15F-1D45-476B71460A64}"/>
          </ac:spMkLst>
        </pc:spChg>
        <pc:spChg chg="add del mod replST">
          <ac:chgData name="Muchahary, Frankle" userId="0f2bf491-0617-4378-90b8-89af8fa381b9" providerId="ADAL" clId="{90877F19-00D2-4A00-8128-E78E36266C9A}" dt="2023-11-04T01:56:27.207" v="29565"/>
          <ac:spMkLst>
            <pc:docMk/>
            <pc:sldMk cId="708553223" sldId="317"/>
            <ac:spMk id="808" creationId="{F28684A6-3D77-1E20-5924-6F56399B6EEE}"/>
          </ac:spMkLst>
        </pc:spChg>
        <pc:spChg chg="add del mod replST">
          <ac:chgData name="Muchahary, Frankle" userId="0f2bf491-0617-4378-90b8-89af8fa381b9" providerId="ADAL" clId="{90877F19-00D2-4A00-8128-E78E36266C9A}" dt="2023-11-04T01:56:27.207" v="29566"/>
          <ac:spMkLst>
            <pc:docMk/>
            <pc:sldMk cId="708553223" sldId="317"/>
            <ac:spMk id="809" creationId="{9ADFCBA7-F8EB-4B64-FB56-FFA70AA139EA}"/>
          </ac:spMkLst>
        </pc:spChg>
        <pc:spChg chg="add del mod replST">
          <ac:chgData name="Muchahary, Frankle" userId="0f2bf491-0617-4378-90b8-89af8fa381b9" providerId="ADAL" clId="{90877F19-00D2-4A00-8128-E78E36266C9A}" dt="2023-11-04T19:51:17.952" v="65855"/>
          <ac:spMkLst>
            <pc:docMk/>
            <pc:sldMk cId="708553223" sldId="317"/>
            <ac:spMk id="809" creationId="{AB13ACEE-4A93-B63A-A4A8-A488D5047A3D}"/>
          </ac:spMkLst>
        </pc:spChg>
        <pc:spChg chg="add del mod replST">
          <ac:chgData name="Muchahary, Frankle" userId="0f2bf491-0617-4378-90b8-89af8fa381b9" providerId="ADAL" clId="{90877F19-00D2-4A00-8128-E78E36266C9A}" dt="2023-11-04T19:51:18.111" v="65967"/>
          <ac:spMkLst>
            <pc:docMk/>
            <pc:sldMk cId="708553223" sldId="317"/>
            <ac:spMk id="810" creationId="{77C7E533-2AC6-0D9D-5B74-41EC075B039F}"/>
          </ac:spMkLst>
        </pc:spChg>
        <pc:spChg chg="add del mod replST">
          <ac:chgData name="Muchahary, Frankle" userId="0f2bf491-0617-4378-90b8-89af8fa381b9" providerId="ADAL" clId="{90877F19-00D2-4A00-8128-E78E36266C9A}" dt="2023-11-04T01:56:27.218" v="29567"/>
          <ac:spMkLst>
            <pc:docMk/>
            <pc:sldMk cId="708553223" sldId="317"/>
            <ac:spMk id="810" creationId="{AFD87C67-5630-B121-F001-04FD6722B1D6}"/>
          </ac:spMkLst>
        </pc:spChg>
        <pc:spChg chg="add del mod replST">
          <ac:chgData name="Muchahary, Frankle" userId="0f2bf491-0617-4378-90b8-89af8fa381b9" providerId="ADAL" clId="{90877F19-00D2-4A00-8128-E78E36266C9A}" dt="2023-11-04T19:51:17.951" v="65852"/>
          <ac:spMkLst>
            <pc:docMk/>
            <pc:sldMk cId="708553223" sldId="317"/>
            <ac:spMk id="811" creationId="{56EC9FFF-4BC5-6B3F-E251-2FE8C60A9E5A}"/>
          </ac:spMkLst>
        </pc:spChg>
        <pc:spChg chg="add del mod replST">
          <ac:chgData name="Muchahary, Frankle" userId="0f2bf491-0617-4378-90b8-89af8fa381b9" providerId="ADAL" clId="{90877F19-00D2-4A00-8128-E78E36266C9A}" dt="2023-11-04T01:56:27.218" v="29568"/>
          <ac:spMkLst>
            <pc:docMk/>
            <pc:sldMk cId="708553223" sldId="317"/>
            <ac:spMk id="811" creationId="{CC45C4AE-F63F-3180-7FE2-CC9297D024E9}"/>
          </ac:spMkLst>
        </pc:spChg>
        <pc:spChg chg="add del mod replST">
          <ac:chgData name="Muchahary, Frankle" userId="0f2bf491-0617-4378-90b8-89af8fa381b9" providerId="ADAL" clId="{90877F19-00D2-4A00-8128-E78E36266C9A}" dt="2023-11-04T19:51:18.111" v="65968"/>
          <ac:spMkLst>
            <pc:docMk/>
            <pc:sldMk cId="708553223" sldId="317"/>
            <ac:spMk id="812" creationId="{470CC3E1-4258-706C-91A9-13B806BF4A28}"/>
          </ac:spMkLst>
        </pc:spChg>
        <pc:spChg chg="add del mod replST">
          <ac:chgData name="Muchahary, Frankle" userId="0f2bf491-0617-4378-90b8-89af8fa381b9" providerId="ADAL" clId="{90877F19-00D2-4A00-8128-E78E36266C9A}" dt="2023-11-04T01:56:27.218" v="29569"/>
          <ac:spMkLst>
            <pc:docMk/>
            <pc:sldMk cId="708553223" sldId="317"/>
            <ac:spMk id="812" creationId="{B9C57302-C414-5BEC-309F-12F5FDB1647F}"/>
          </ac:spMkLst>
        </pc:spChg>
        <pc:spChg chg="add del mod replST">
          <ac:chgData name="Muchahary, Frankle" userId="0f2bf491-0617-4378-90b8-89af8fa381b9" providerId="ADAL" clId="{90877F19-00D2-4A00-8128-E78E36266C9A}" dt="2023-11-04T19:51:17.949" v="65849"/>
          <ac:spMkLst>
            <pc:docMk/>
            <pc:sldMk cId="708553223" sldId="317"/>
            <ac:spMk id="813" creationId="{434DC33E-72F9-10DD-A414-16FBEED323CB}"/>
          </ac:spMkLst>
        </pc:spChg>
        <pc:spChg chg="add del mod replST">
          <ac:chgData name="Muchahary, Frankle" userId="0f2bf491-0617-4378-90b8-89af8fa381b9" providerId="ADAL" clId="{90877F19-00D2-4A00-8128-E78E36266C9A}" dt="2023-11-04T01:56:27.218" v="29570"/>
          <ac:spMkLst>
            <pc:docMk/>
            <pc:sldMk cId="708553223" sldId="317"/>
            <ac:spMk id="813" creationId="{E9E7B286-5CDC-C5AE-6BE1-EC2EB54062DD}"/>
          </ac:spMkLst>
        </pc:spChg>
        <pc:spChg chg="add del mod replST">
          <ac:chgData name="Muchahary, Frankle" userId="0f2bf491-0617-4378-90b8-89af8fa381b9" providerId="ADAL" clId="{90877F19-00D2-4A00-8128-E78E36266C9A}" dt="2023-11-04T01:56:27.220" v="29571"/>
          <ac:spMkLst>
            <pc:docMk/>
            <pc:sldMk cId="708553223" sldId="317"/>
            <ac:spMk id="814" creationId="{89C74189-C0E8-771D-0CF9-1EC180B3AA08}"/>
          </ac:spMkLst>
        </pc:spChg>
        <pc:spChg chg="add del mod replST">
          <ac:chgData name="Muchahary, Frankle" userId="0f2bf491-0617-4378-90b8-89af8fa381b9" providerId="ADAL" clId="{90877F19-00D2-4A00-8128-E78E36266C9A}" dt="2023-11-04T19:51:18.111" v="65969"/>
          <ac:spMkLst>
            <pc:docMk/>
            <pc:sldMk cId="708553223" sldId="317"/>
            <ac:spMk id="814" creationId="{9C04BA13-4D9D-73AC-65C6-00C2C36F9921}"/>
          </ac:spMkLst>
        </pc:spChg>
        <pc:spChg chg="add del mod replST">
          <ac:chgData name="Muchahary, Frankle" userId="0f2bf491-0617-4378-90b8-89af8fa381b9" providerId="ADAL" clId="{90877F19-00D2-4A00-8128-E78E36266C9A}" dt="2023-11-04T19:51:17.948" v="65846"/>
          <ac:spMkLst>
            <pc:docMk/>
            <pc:sldMk cId="708553223" sldId="317"/>
            <ac:spMk id="815" creationId="{13E8B0C6-F857-1EC7-9688-79E34E71F62B}"/>
          </ac:spMkLst>
        </pc:spChg>
        <pc:spChg chg="add del mod replST">
          <ac:chgData name="Muchahary, Frankle" userId="0f2bf491-0617-4378-90b8-89af8fa381b9" providerId="ADAL" clId="{90877F19-00D2-4A00-8128-E78E36266C9A}" dt="2023-11-04T01:56:27.220" v="29572"/>
          <ac:spMkLst>
            <pc:docMk/>
            <pc:sldMk cId="708553223" sldId="317"/>
            <ac:spMk id="815" creationId="{C86D9EC3-F258-7EB3-0000-7739AD36549C}"/>
          </ac:spMkLst>
        </pc:spChg>
        <pc:spChg chg="add del mod replST">
          <ac:chgData name="Muchahary, Frankle" userId="0f2bf491-0617-4378-90b8-89af8fa381b9" providerId="ADAL" clId="{90877F19-00D2-4A00-8128-E78E36266C9A}" dt="2023-11-04T01:56:27.222" v="29573"/>
          <ac:spMkLst>
            <pc:docMk/>
            <pc:sldMk cId="708553223" sldId="317"/>
            <ac:spMk id="816" creationId="{03D0CBA4-4383-3D0D-06E3-A66F47E67784}"/>
          </ac:spMkLst>
        </pc:spChg>
        <pc:spChg chg="add del mod replST">
          <ac:chgData name="Muchahary, Frankle" userId="0f2bf491-0617-4378-90b8-89af8fa381b9" providerId="ADAL" clId="{90877F19-00D2-4A00-8128-E78E36266C9A}" dt="2023-11-04T19:51:18.112" v="65970"/>
          <ac:spMkLst>
            <pc:docMk/>
            <pc:sldMk cId="708553223" sldId="317"/>
            <ac:spMk id="816" creationId="{68223796-DBDB-B3EC-1B41-5E31A22837D2}"/>
          </ac:spMkLst>
        </pc:spChg>
        <pc:spChg chg="add del mod modVis">
          <ac:chgData name="Muchahary, Frankle" userId="0f2bf491-0617-4378-90b8-89af8fa381b9" providerId="ADAL" clId="{90877F19-00D2-4A00-8128-E78E36266C9A}" dt="2023-11-04T01:56:10.384" v="29288"/>
          <ac:spMkLst>
            <pc:docMk/>
            <pc:sldMk cId="708553223" sldId="317"/>
            <ac:spMk id="818" creationId="{00319706-E738-2FE1-D83B-DC8759276585}"/>
          </ac:spMkLst>
        </pc:spChg>
        <pc:spChg chg="add del mod modVis">
          <ac:chgData name="Muchahary, Frankle" userId="0f2bf491-0617-4378-90b8-89af8fa381b9" providerId="ADAL" clId="{90877F19-00D2-4A00-8128-E78E36266C9A}" dt="2023-11-04T01:56:25.102" v="29502"/>
          <ac:spMkLst>
            <pc:docMk/>
            <pc:sldMk cId="708553223" sldId="317"/>
            <ac:spMk id="820" creationId="{2B267C63-42DE-488E-E18F-35294864FF12}"/>
          </ac:spMkLst>
        </pc:spChg>
        <pc:spChg chg="add del mod modVis">
          <ac:chgData name="Muchahary, Frankle" userId="0f2bf491-0617-4378-90b8-89af8fa381b9" providerId="ADAL" clId="{90877F19-00D2-4A00-8128-E78E36266C9A}" dt="2023-11-04T01:56:27.271" v="29624"/>
          <ac:spMkLst>
            <pc:docMk/>
            <pc:sldMk cId="708553223" sldId="317"/>
            <ac:spMk id="822" creationId="{F1A79298-C979-561B-0274-6F789E55E9DB}"/>
          </ac:spMkLst>
        </pc:spChg>
        <pc:spChg chg="add del mod modVis">
          <ac:chgData name="Muchahary, Frankle" userId="0f2bf491-0617-4378-90b8-89af8fa381b9" providerId="ADAL" clId="{90877F19-00D2-4A00-8128-E78E36266C9A}" dt="2023-11-04T01:56:45.615" v="29782"/>
          <ac:spMkLst>
            <pc:docMk/>
            <pc:sldMk cId="708553223" sldId="317"/>
            <ac:spMk id="824" creationId="{ED08FAF7-E9C0-AB08-DF1B-33B7A84075CA}"/>
          </ac:spMkLst>
        </pc:spChg>
        <pc:spChg chg="add del mod modVis">
          <ac:chgData name="Muchahary, Frankle" userId="0f2bf491-0617-4378-90b8-89af8fa381b9" providerId="ADAL" clId="{90877F19-00D2-4A00-8128-E78E36266C9A}" dt="2023-11-04T01:57:05.451" v="30657"/>
          <ac:spMkLst>
            <pc:docMk/>
            <pc:sldMk cId="708553223" sldId="317"/>
            <ac:spMk id="826" creationId="{E0B4773B-1A07-B315-68FF-7445BBAF6F9D}"/>
          </ac:spMkLst>
        </pc:spChg>
        <pc:spChg chg="add del mod modVis">
          <ac:chgData name="Muchahary, Frankle" userId="0f2bf491-0617-4378-90b8-89af8fa381b9" providerId="ADAL" clId="{90877F19-00D2-4A00-8128-E78E36266C9A}" dt="2023-11-04T19:50:36.258" v="64683"/>
          <ac:spMkLst>
            <pc:docMk/>
            <pc:sldMk cId="708553223" sldId="317"/>
            <ac:spMk id="827" creationId="{02B56D17-CEDA-F209-EE98-818BA7A53C4B}"/>
          </ac:spMkLst>
        </pc:spChg>
        <pc:spChg chg="add del mod ord replST">
          <ac:chgData name="Muchahary, Frankle" userId="0f2bf491-0617-4378-90b8-89af8fa381b9" providerId="ADAL" clId="{90877F19-00D2-4A00-8128-E78E36266C9A}" dt="2023-11-04T19:56:27.076" v="67278"/>
          <ac:spMkLst>
            <pc:docMk/>
            <pc:sldMk cId="708553223" sldId="317"/>
            <ac:spMk id="828" creationId="{955CCC41-7444-87B1-A432-B5CDB3BC019D}"/>
          </ac:spMkLst>
        </pc:spChg>
        <pc:spChg chg="add del mod modVis">
          <ac:chgData name="Muchahary, Frankle" userId="0f2bf491-0617-4378-90b8-89af8fa381b9" providerId="ADAL" clId="{90877F19-00D2-4A00-8128-E78E36266C9A}" dt="2023-11-04T01:56:56.903" v="30553"/>
          <ac:spMkLst>
            <pc:docMk/>
            <pc:sldMk cId="708553223" sldId="317"/>
            <ac:spMk id="829" creationId="{74DEDA41-2FE4-7695-E2BC-BD2A4293853C}"/>
          </ac:spMkLst>
        </pc:spChg>
        <pc:spChg chg="add del mod replST">
          <ac:chgData name="Muchahary, Frankle" userId="0f2bf491-0617-4378-90b8-89af8fa381b9" providerId="ADAL" clId="{90877F19-00D2-4A00-8128-E78E36266C9A}" dt="2023-11-04T19:51:18.110" v="65966"/>
          <ac:spMkLst>
            <pc:docMk/>
            <pc:sldMk cId="708553223" sldId="317"/>
            <ac:spMk id="829" creationId="{B7CE1B25-F790-AB3E-44C3-933F3C43634A}"/>
          </ac:spMkLst>
        </pc:spChg>
        <pc:spChg chg="add mod ord replST delST">
          <ac:chgData name="Muchahary, Frankle" userId="0f2bf491-0617-4378-90b8-89af8fa381b9" providerId="ADAL" clId="{90877F19-00D2-4A00-8128-E78E36266C9A}" dt="2023-11-04T01:57:26.372" v="30865"/>
          <ac:spMkLst>
            <pc:docMk/>
            <pc:sldMk cId="708553223" sldId="317"/>
            <ac:spMk id="831" creationId="{692DDD4F-4630-2671-5C94-CCB8DD2D6F6A}"/>
          </ac:spMkLst>
        </pc:spChg>
        <pc:spChg chg="add del mod modVis">
          <ac:chgData name="Muchahary, Frankle" userId="0f2bf491-0617-4378-90b8-89af8fa381b9" providerId="ADAL" clId="{90877F19-00D2-4A00-8128-E78E36266C9A}" dt="2023-11-04T19:50:40.919" v="65574"/>
          <ac:spMkLst>
            <pc:docMk/>
            <pc:sldMk cId="708553223" sldId="317"/>
            <ac:spMk id="832" creationId="{06199BC7-AD89-9E41-6C3F-C3211372AB19}"/>
          </ac:spMkLst>
        </pc:spChg>
        <pc:spChg chg="add del mod modVis">
          <ac:chgData name="Muchahary, Frankle" userId="0f2bf491-0617-4378-90b8-89af8fa381b9" providerId="ADAL" clId="{90877F19-00D2-4A00-8128-E78E36266C9A}" dt="2023-11-04T01:57:26.372" v="30865"/>
          <ac:spMkLst>
            <pc:docMk/>
            <pc:sldMk cId="708553223" sldId="317"/>
            <ac:spMk id="832" creationId="{EA47DA9B-7D02-DD5C-7C9C-C299FFFE0BED}"/>
          </ac:spMkLst>
        </pc:spChg>
        <pc:spChg chg="add del mod ord replST">
          <ac:chgData name="Muchahary, Frankle" userId="0f2bf491-0617-4378-90b8-89af8fa381b9" providerId="ADAL" clId="{90877F19-00D2-4A00-8128-E78E36266C9A}" dt="2023-11-04T19:56:27.075" v="67276"/>
          <ac:spMkLst>
            <pc:docMk/>
            <pc:sldMk cId="708553223" sldId="317"/>
            <ac:spMk id="833" creationId="{A17762F0-BA65-ECFB-1F84-FC77896FC75E}"/>
          </ac:spMkLst>
        </pc:spChg>
        <pc:spChg chg="add del mod modVis">
          <ac:chgData name="Muchahary, Frankle" userId="0f2bf491-0617-4378-90b8-89af8fa381b9" providerId="ADAL" clId="{90877F19-00D2-4A00-8128-E78E36266C9A}" dt="2023-11-04T01:57:50.851" v="31152"/>
          <ac:spMkLst>
            <pc:docMk/>
            <pc:sldMk cId="708553223" sldId="317"/>
            <ac:spMk id="833" creationId="{B61CF704-53CE-D5FE-2949-84C48199A1DE}"/>
          </ac:spMkLst>
        </pc:spChg>
        <pc:spChg chg="add del mod replST">
          <ac:chgData name="Muchahary, Frankle" userId="0f2bf491-0617-4378-90b8-89af8fa381b9" providerId="ADAL" clId="{90877F19-00D2-4A00-8128-E78E36266C9A}" dt="2023-11-04T19:51:17.958" v="65867"/>
          <ac:spMkLst>
            <pc:docMk/>
            <pc:sldMk cId="708553223" sldId="317"/>
            <ac:spMk id="834" creationId="{01E5B653-DFCC-33D0-60C9-97FE6D10B785}"/>
          </ac:spMkLst>
        </pc:spChg>
        <pc:spChg chg="add del mod">
          <ac:chgData name="Muchahary, Frankle" userId="0f2bf491-0617-4378-90b8-89af8fa381b9" providerId="ADAL" clId="{90877F19-00D2-4A00-8128-E78E36266C9A}" dt="2023-11-04T01:59:15.731" v="31162" actId="478"/>
          <ac:spMkLst>
            <pc:docMk/>
            <pc:sldMk cId="708553223" sldId="317"/>
            <ac:spMk id="835" creationId="{19801B1B-DE99-A8CC-7B9C-4ED35D937A93}"/>
          </ac:spMkLst>
        </pc:spChg>
        <pc:spChg chg="add del mod replST">
          <ac:chgData name="Muchahary, Frankle" userId="0f2bf491-0617-4378-90b8-89af8fa381b9" providerId="ADAL" clId="{90877F19-00D2-4A00-8128-E78E36266C9A}" dt="2023-11-04T19:51:18.109" v="65964"/>
          <ac:spMkLst>
            <pc:docMk/>
            <pc:sldMk cId="708553223" sldId="317"/>
            <ac:spMk id="835" creationId="{CB5C4E9B-E8E6-5E74-4B22-2BDE5145AF7A}"/>
          </ac:spMkLst>
        </pc:spChg>
        <pc:spChg chg="add del mod modVis">
          <ac:chgData name="Muchahary, Frankle" userId="0f2bf491-0617-4378-90b8-89af8fa381b9" providerId="ADAL" clId="{90877F19-00D2-4A00-8128-E78E36266C9A}" dt="2023-11-04T01:59:24.181" v="31282"/>
          <ac:spMkLst>
            <pc:docMk/>
            <pc:sldMk cId="708553223" sldId="317"/>
            <ac:spMk id="836" creationId="{5DB2479F-E28F-1F0E-F0A9-3179D036451E}"/>
          </ac:spMkLst>
        </pc:spChg>
        <pc:spChg chg="add del mod replST">
          <ac:chgData name="Muchahary, Frankle" userId="0f2bf491-0617-4378-90b8-89af8fa381b9" providerId="ADAL" clId="{90877F19-00D2-4A00-8128-E78E36266C9A}" dt="2023-11-04T19:51:17.956" v="65864"/>
          <ac:spMkLst>
            <pc:docMk/>
            <pc:sldMk cId="708553223" sldId="317"/>
            <ac:spMk id="836" creationId="{60FF3D8C-372B-F697-3564-FA7635C7962F}"/>
          </ac:spMkLst>
        </pc:spChg>
        <pc:spChg chg="add del mod replST">
          <ac:chgData name="Muchahary, Frankle" userId="0f2bf491-0617-4378-90b8-89af8fa381b9" providerId="ADAL" clId="{90877F19-00D2-4A00-8128-E78E36266C9A}" dt="2023-11-04T19:51:17.954" v="65861"/>
          <ac:spMkLst>
            <pc:docMk/>
            <pc:sldMk cId="708553223" sldId="317"/>
            <ac:spMk id="837" creationId="{A185344B-4601-9B82-F94F-B8F952C1DCA7}"/>
          </ac:spMkLst>
        </pc:spChg>
        <pc:spChg chg="add del mod replST">
          <ac:chgData name="Muchahary, Frankle" userId="0f2bf491-0617-4378-90b8-89af8fa381b9" providerId="ADAL" clId="{90877F19-00D2-4A00-8128-E78E36266C9A}" dt="2023-11-04T19:51:18.110" v="65965"/>
          <ac:spMkLst>
            <pc:docMk/>
            <pc:sldMk cId="708553223" sldId="317"/>
            <ac:spMk id="838" creationId="{4B433038-B9EF-5E39-EE03-B81436E7AAA6}"/>
          </ac:spMkLst>
        </pc:spChg>
        <pc:spChg chg="add del mod replST">
          <ac:chgData name="Muchahary, Frankle" userId="0f2bf491-0617-4378-90b8-89af8fa381b9" providerId="ADAL" clId="{90877F19-00D2-4A00-8128-E78E36266C9A}" dt="2023-11-04T19:51:17.953" v="65858"/>
          <ac:spMkLst>
            <pc:docMk/>
            <pc:sldMk cId="708553223" sldId="317"/>
            <ac:spMk id="839" creationId="{531553C1-BBFE-EA76-F075-8FC7F172978A}"/>
          </ac:spMkLst>
        </pc:spChg>
        <pc:spChg chg="add del mod modVis">
          <ac:chgData name="Muchahary, Frankle" userId="0f2bf491-0617-4378-90b8-89af8fa381b9" providerId="ADAL" clId="{90877F19-00D2-4A00-8128-E78E36266C9A}" dt="2023-11-04T02:00:23.884" v="31807"/>
          <ac:spMkLst>
            <pc:docMk/>
            <pc:sldMk cId="708553223" sldId="317"/>
            <ac:spMk id="843" creationId="{8499A1E8-6BC2-C98F-AB1B-D732ABC32362}"/>
          </ac:spMkLst>
        </pc:spChg>
        <pc:spChg chg="add del mod modVis">
          <ac:chgData name="Muchahary, Frankle" userId="0f2bf491-0617-4378-90b8-89af8fa381b9" providerId="ADAL" clId="{90877F19-00D2-4A00-8128-E78E36266C9A}" dt="2023-11-04T02:01:01.042" v="32009"/>
          <ac:spMkLst>
            <pc:docMk/>
            <pc:sldMk cId="708553223" sldId="317"/>
            <ac:spMk id="845" creationId="{557E4819-81FA-9C61-8D3F-B1500F369204}"/>
          </ac:spMkLst>
        </pc:spChg>
        <pc:spChg chg="add del mod modVis">
          <ac:chgData name="Muchahary, Frankle" userId="0f2bf491-0617-4378-90b8-89af8fa381b9" providerId="ADAL" clId="{90877F19-00D2-4A00-8128-E78E36266C9A}" dt="2023-11-04T19:50:57.157" v="65782"/>
          <ac:spMkLst>
            <pc:docMk/>
            <pc:sldMk cId="708553223" sldId="317"/>
            <ac:spMk id="847" creationId="{4CFE30AD-1D54-FC9E-22C4-370466BBC012}"/>
          </ac:spMkLst>
        </pc:spChg>
        <pc:spChg chg="add del mod modVis">
          <ac:chgData name="Muchahary, Frankle" userId="0f2bf491-0617-4378-90b8-89af8fa381b9" providerId="ADAL" clId="{90877F19-00D2-4A00-8128-E78E36266C9A}" dt="2023-11-04T19:51:18.213" v="66150"/>
          <ac:spMkLst>
            <pc:docMk/>
            <pc:sldMk cId="708553223" sldId="317"/>
            <ac:spMk id="849" creationId="{FC8207FA-7D09-A91A-5889-5574BF9FA9C6}"/>
          </ac:spMkLst>
        </pc:spChg>
        <pc:spChg chg="add del mod ord replST">
          <ac:chgData name="Muchahary, Frankle" userId="0f2bf491-0617-4378-90b8-89af8fa381b9" providerId="ADAL" clId="{90877F19-00D2-4A00-8128-E78E36266C9A}" dt="2023-11-04T19:56:27.073" v="67274"/>
          <ac:spMkLst>
            <pc:docMk/>
            <pc:sldMk cId="708553223" sldId="317"/>
            <ac:spMk id="850" creationId="{1340ECCD-92AD-95FB-5A34-4C5B1B15C0E1}"/>
          </ac:spMkLst>
        </pc:spChg>
        <pc:spChg chg="add del mod modVis">
          <ac:chgData name="Muchahary, Frankle" userId="0f2bf491-0617-4378-90b8-89af8fa381b9" providerId="ADAL" clId="{90877F19-00D2-4A00-8128-E78E36266C9A}" dt="2023-11-04T02:01:13.205" v="32377"/>
          <ac:spMkLst>
            <pc:docMk/>
            <pc:sldMk cId="708553223" sldId="317"/>
            <ac:spMk id="850" creationId="{24F8DB41-3146-6E21-D7AA-6AF4EB863F08}"/>
          </ac:spMkLst>
        </pc:spChg>
        <pc:spChg chg="add del mod ord replST">
          <ac:chgData name="Muchahary, Frankle" userId="0f2bf491-0617-4378-90b8-89af8fa381b9" providerId="ADAL" clId="{90877F19-00D2-4A00-8128-E78E36266C9A}" dt="2023-11-04T19:56:27.073" v="67272"/>
          <ac:spMkLst>
            <pc:docMk/>
            <pc:sldMk cId="708553223" sldId="317"/>
            <ac:spMk id="851" creationId="{90796DBC-01C8-7B67-7DDB-5FB37E2C9E14}"/>
          </ac:spMkLst>
        </pc:spChg>
        <pc:spChg chg="add del mod modVis">
          <ac:chgData name="Muchahary, Frankle" userId="0f2bf491-0617-4378-90b8-89af8fa381b9" providerId="ADAL" clId="{90877F19-00D2-4A00-8128-E78E36266C9A}" dt="2023-11-04T19:56:27.176" v="67450"/>
          <ac:spMkLst>
            <pc:docMk/>
            <pc:sldMk cId="708553223" sldId="317"/>
            <ac:spMk id="853" creationId="{6A3E04E2-EF68-F5D5-06B1-82154576A318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25" v="74210"/>
          <ac:spMkLst>
            <pc:docMk/>
            <pc:sldMk cId="708553223" sldId="317"/>
            <ac:spMk id="854" creationId="{64CDC8C5-680D-7ED6-3F73-B281A78555EF}"/>
          </ac:spMkLst>
        </pc:spChg>
        <pc:spChg chg="add del mod ord replST">
          <ac:chgData name="Muchahary, Frankle" userId="0f2bf491-0617-4378-90b8-89af8fa381b9" providerId="ADAL" clId="{90877F19-00D2-4A00-8128-E78E36266C9A}" dt="2023-11-04T19:59:36.534" v="74226"/>
          <ac:spMkLst>
            <pc:docMk/>
            <pc:sldMk cId="708553223" sldId="317"/>
            <ac:spMk id="855" creationId="{7D51A0AE-D7FA-6228-0661-74BD9A4CC26B}"/>
          </ac:spMkLst>
        </pc:spChg>
        <pc:spChg chg="add del mod replST">
          <ac:chgData name="Muchahary, Frankle" userId="0f2bf491-0617-4378-90b8-89af8fa381b9" providerId="ADAL" clId="{90877F19-00D2-4A00-8128-E78E36266C9A}" dt="2023-11-04T19:59:36.542" v="74241"/>
          <ac:spMkLst>
            <pc:docMk/>
            <pc:sldMk cId="708553223" sldId="317"/>
            <ac:spMk id="856" creationId="{AFAD8C99-A47A-FD00-3B04-D387838F2A8E}"/>
          </ac:spMkLst>
        </pc:spChg>
        <pc:spChg chg="add del mod ord replST">
          <ac:chgData name="Muchahary, Frankle" userId="0f2bf491-0617-4378-90b8-89af8fa381b9" providerId="ADAL" clId="{90877F19-00D2-4A00-8128-E78E36266C9A}" dt="2023-11-04T19:56:38.869" v="67503"/>
          <ac:spMkLst>
            <pc:docMk/>
            <pc:sldMk cId="708553223" sldId="317"/>
            <ac:spMk id="857" creationId="{B7D68C5F-94F6-0A44-055E-73F294BAF1D7}"/>
          </ac:spMkLst>
        </pc:spChg>
        <pc:spChg chg="add del mod ord replST">
          <ac:chgData name="Muchahary, Frankle" userId="0f2bf491-0617-4378-90b8-89af8fa381b9" providerId="ADAL" clId="{90877F19-00D2-4A00-8128-E78E36266C9A}" dt="2023-11-04T19:56:38.880" v="67519"/>
          <ac:spMkLst>
            <pc:docMk/>
            <pc:sldMk cId="708553223" sldId="317"/>
            <ac:spMk id="858" creationId="{6E1EE85D-0809-CE87-0597-32CD3F0803C7}"/>
          </ac:spMkLst>
        </pc:spChg>
        <pc:spChg chg="add del mod replST">
          <ac:chgData name="Muchahary, Frankle" userId="0f2bf491-0617-4378-90b8-89af8fa381b9" providerId="ADAL" clId="{90877F19-00D2-4A00-8128-E78E36266C9A}" dt="2023-11-04T19:56:38.888" v="67534"/>
          <ac:spMkLst>
            <pc:docMk/>
            <pc:sldMk cId="708553223" sldId="317"/>
            <ac:spMk id="859" creationId="{5C0D66CB-DC0A-519E-0EF9-E9C3E1E53C3D}"/>
          </ac:spMkLst>
        </pc:spChg>
        <pc:spChg chg="add del mod ord replST">
          <ac:chgData name="Muchahary, Frankle" userId="0f2bf491-0617-4378-90b8-89af8fa381b9" providerId="ADAL" clId="{90877F19-00D2-4A00-8128-E78E36266C9A}" dt="2023-11-04T19:56:38.897" v="67547"/>
          <ac:spMkLst>
            <pc:docMk/>
            <pc:sldMk cId="708553223" sldId="317"/>
            <ac:spMk id="860" creationId="{3E262647-A7C9-5A1D-6DAB-6C1AA2688471}"/>
          </ac:spMkLst>
        </pc:spChg>
        <pc:spChg chg="add del mod ord replST">
          <ac:chgData name="Muchahary, Frankle" userId="0f2bf491-0617-4378-90b8-89af8fa381b9" providerId="ADAL" clId="{90877F19-00D2-4A00-8128-E78E36266C9A}" dt="2023-11-04T19:56:38.907" v="67563"/>
          <ac:spMkLst>
            <pc:docMk/>
            <pc:sldMk cId="708553223" sldId="317"/>
            <ac:spMk id="861" creationId="{689B3B6B-DA79-B17D-7F86-1D0E0D5FFB82}"/>
          </ac:spMkLst>
        </pc:spChg>
        <pc:spChg chg="add del mod replST">
          <ac:chgData name="Muchahary, Frankle" userId="0f2bf491-0617-4378-90b8-89af8fa381b9" providerId="ADAL" clId="{90877F19-00D2-4A00-8128-E78E36266C9A}" dt="2023-11-04T19:56:38.916" v="67578"/>
          <ac:spMkLst>
            <pc:docMk/>
            <pc:sldMk cId="708553223" sldId="317"/>
            <ac:spMk id="862" creationId="{F93F17F7-7EB7-6CAB-87F9-0F9EB6C150AD}"/>
          </ac:spMkLst>
        </pc:spChg>
        <pc:spChg chg="add del mod ord replST">
          <ac:chgData name="Muchahary, Frankle" userId="0f2bf491-0617-4378-90b8-89af8fa381b9" providerId="ADAL" clId="{90877F19-00D2-4A00-8128-E78E36266C9A}" dt="2023-11-04T19:56:38.924" v="67591"/>
          <ac:spMkLst>
            <pc:docMk/>
            <pc:sldMk cId="708553223" sldId="317"/>
            <ac:spMk id="863" creationId="{C15B0D7F-5D8A-534D-C1A6-3CC8B82619DC}"/>
          </ac:spMkLst>
        </pc:spChg>
        <pc:spChg chg="add del mod ord replST">
          <ac:chgData name="Muchahary, Frankle" userId="0f2bf491-0617-4378-90b8-89af8fa381b9" providerId="ADAL" clId="{90877F19-00D2-4A00-8128-E78E36266C9A}" dt="2023-11-04T19:56:38.934" v="67607"/>
          <ac:spMkLst>
            <pc:docMk/>
            <pc:sldMk cId="708553223" sldId="317"/>
            <ac:spMk id="864" creationId="{B25CC46E-9355-0EE7-3F5E-FE2D069684F1}"/>
          </ac:spMkLst>
        </pc:spChg>
        <pc:spChg chg="add del mod replST">
          <ac:chgData name="Muchahary, Frankle" userId="0f2bf491-0617-4378-90b8-89af8fa381b9" providerId="ADAL" clId="{90877F19-00D2-4A00-8128-E78E36266C9A}" dt="2023-11-04T19:56:38.942" v="67622"/>
          <ac:spMkLst>
            <pc:docMk/>
            <pc:sldMk cId="708553223" sldId="317"/>
            <ac:spMk id="865" creationId="{44CC6418-EF32-9992-9387-D9D36580D895}"/>
          </ac:spMkLst>
        </pc:spChg>
        <pc:spChg chg="add del mod replST">
          <ac:chgData name="Muchahary, Frankle" userId="0f2bf491-0617-4378-90b8-89af8fa381b9" providerId="ADAL" clId="{90877F19-00D2-4A00-8128-E78E36266C9A}" dt="2023-11-08T07:17:14.033" v="170948"/>
          <ac:spMkLst>
            <pc:docMk/>
            <pc:sldMk cId="708553223" sldId="317"/>
            <ac:spMk id="866" creationId="{7E7BE56D-E711-64C4-2657-C0593A54EC3A}"/>
          </ac:spMkLst>
        </pc:spChg>
        <pc:spChg chg="add del mod replST">
          <ac:chgData name="Muchahary, Frankle" userId="0f2bf491-0617-4378-90b8-89af8fa381b9" providerId="ADAL" clId="{90877F19-00D2-4A00-8128-E78E36266C9A}" dt="2023-11-08T07:17:14.033" v="170949"/>
          <ac:spMkLst>
            <pc:docMk/>
            <pc:sldMk cId="708553223" sldId="317"/>
            <ac:spMk id="867" creationId="{E1A93581-987F-607F-0A21-C2672F53506A}"/>
          </ac:spMkLst>
        </pc:spChg>
        <pc:spChg chg="add del mod replST">
          <ac:chgData name="Muchahary, Frankle" userId="0f2bf491-0617-4378-90b8-89af8fa381b9" providerId="ADAL" clId="{90877F19-00D2-4A00-8128-E78E36266C9A}" dt="2023-11-05T18:08:40.226" v="147414"/>
          <ac:spMkLst>
            <pc:docMk/>
            <pc:sldMk cId="708553223" sldId="317"/>
            <ac:spMk id="868" creationId="{5E28DCB7-2022-E238-D3FF-394DED8C65DE}"/>
          </ac:spMkLst>
        </pc:spChg>
        <pc:spChg chg="add mod replST">
          <ac:chgData name="Muchahary, Frankle" userId="0f2bf491-0617-4378-90b8-89af8fa381b9" providerId="ADAL" clId="{90877F19-00D2-4A00-8128-E78E36266C9A}" dt="2023-11-08T07:17:14.019" v="170906"/>
          <ac:spMkLst>
            <pc:docMk/>
            <pc:sldMk cId="708553223" sldId="317"/>
            <ac:spMk id="869" creationId="{BA161C74-E035-2EFD-44EB-68500C0986FB}"/>
          </ac:spMkLst>
        </pc:spChg>
        <pc:spChg chg="add del mod modVis">
          <ac:chgData name="Muchahary, Frankle" userId="0f2bf491-0617-4378-90b8-89af8fa381b9" providerId="ADAL" clId="{90877F19-00D2-4A00-8128-E78E36266C9A}" dt="2023-11-04T02:02:25.505" v="34146"/>
          <ac:spMkLst>
            <pc:docMk/>
            <pc:sldMk cId="708553223" sldId="317"/>
            <ac:spMk id="871" creationId="{977FE05B-A5A9-D17C-9B5C-366FEA21FFD3}"/>
          </ac:spMkLst>
        </pc:spChg>
        <pc:spChg chg="add del mod replST">
          <ac:chgData name="Muchahary, Frankle" userId="0f2bf491-0617-4378-90b8-89af8fa381b9" providerId="ADAL" clId="{90877F19-00D2-4A00-8128-E78E36266C9A}" dt="2023-11-04T20:32:34.759" v="118234"/>
          <ac:spMkLst>
            <pc:docMk/>
            <pc:sldMk cId="708553223" sldId="317"/>
            <ac:spMk id="871" creationId="{C6BB1D42-4CD1-8035-4F10-73B2322B58F8}"/>
          </ac:spMkLst>
        </pc:spChg>
        <pc:spChg chg="add del mod replST">
          <ac:chgData name="Muchahary, Frankle" userId="0f2bf491-0617-4378-90b8-89af8fa381b9" providerId="ADAL" clId="{90877F19-00D2-4A00-8128-E78E36266C9A}" dt="2023-11-04T19:59:08.375" v="69757"/>
          <ac:spMkLst>
            <pc:docMk/>
            <pc:sldMk cId="708553223" sldId="317"/>
            <ac:spMk id="872" creationId="{E58DD47A-F6CE-51C7-C085-9B5920DD5394}"/>
          </ac:spMkLst>
        </pc:spChg>
        <pc:spChg chg="add del mod replST">
          <ac:chgData name="Muchahary, Frankle" userId="0f2bf491-0617-4378-90b8-89af8fa381b9" providerId="ADAL" clId="{90877F19-00D2-4A00-8128-E78E36266C9A}" dt="2023-11-04T19:59:08.374" v="69754"/>
          <ac:spMkLst>
            <pc:docMk/>
            <pc:sldMk cId="708553223" sldId="317"/>
            <ac:spMk id="873" creationId="{8C8ABE25-A622-3A5B-6579-36CB1BF6DE85}"/>
          </ac:spMkLst>
        </pc:spChg>
        <pc:spChg chg="add del mod modVis">
          <ac:chgData name="Muchahary, Frankle" userId="0f2bf491-0617-4378-90b8-89af8fa381b9" providerId="ADAL" clId="{90877F19-00D2-4A00-8128-E78E36266C9A}" dt="2023-11-04T02:02:22.804" v="34068"/>
          <ac:spMkLst>
            <pc:docMk/>
            <pc:sldMk cId="708553223" sldId="317"/>
            <ac:spMk id="873" creationId="{FBDB9DC5-B788-F46C-AC1D-DD005194039B}"/>
          </ac:spMkLst>
        </pc:spChg>
        <pc:spChg chg="add del mod replST">
          <ac:chgData name="Muchahary, Frankle" userId="0f2bf491-0617-4378-90b8-89af8fa381b9" providerId="ADAL" clId="{90877F19-00D2-4A00-8128-E78E36266C9A}" dt="2023-11-04T19:59:08.372" v="69751"/>
          <ac:spMkLst>
            <pc:docMk/>
            <pc:sldMk cId="708553223" sldId="317"/>
            <ac:spMk id="874" creationId="{127853CE-A2DB-A0E6-2D5C-7274D2FEB82E}"/>
          </ac:spMkLst>
        </pc:spChg>
        <pc:spChg chg="add del mod replST">
          <ac:chgData name="Muchahary, Frankle" userId="0f2bf491-0617-4378-90b8-89af8fa381b9" providerId="ADAL" clId="{90877F19-00D2-4A00-8128-E78E36266C9A}" dt="2023-11-04T19:59:08.371" v="69748"/>
          <ac:spMkLst>
            <pc:docMk/>
            <pc:sldMk cId="708553223" sldId="317"/>
            <ac:spMk id="875" creationId="{53604C64-5C67-34AE-A7B2-FAF92BCF7D05}"/>
          </ac:spMkLst>
        </pc:spChg>
        <pc:spChg chg="add del mod">
          <ac:chgData name="Muchahary, Frankle" userId="0f2bf491-0617-4378-90b8-89af8fa381b9" providerId="ADAL" clId="{90877F19-00D2-4A00-8128-E78E36266C9A}" dt="2023-11-04T02:03:05.611" v="34157" actId="478"/>
          <ac:spMkLst>
            <pc:docMk/>
            <pc:sldMk cId="708553223" sldId="317"/>
            <ac:spMk id="875" creationId="{853DB035-CB10-2B95-B44D-04807E7274BB}"/>
          </ac:spMkLst>
        </pc:spChg>
        <pc:spChg chg="add del mod replST">
          <ac:chgData name="Muchahary, Frankle" userId="0f2bf491-0617-4378-90b8-89af8fa381b9" providerId="ADAL" clId="{90877F19-00D2-4A00-8128-E78E36266C9A}" dt="2023-11-04T19:59:08.370" v="69745"/>
          <ac:spMkLst>
            <pc:docMk/>
            <pc:sldMk cId="708553223" sldId="317"/>
            <ac:spMk id="876" creationId="{4877EDDA-DDC4-5515-3092-B32B7EC8A118}"/>
          </ac:spMkLst>
        </pc:spChg>
        <pc:spChg chg="add del mod replST">
          <ac:chgData name="Muchahary, Frankle" userId="0f2bf491-0617-4378-90b8-89af8fa381b9" providerId="ADAL" clId="{90877F19-00D2-4A00-8128-E78E36266C9A}" dt="2023-11-04T20:32:34.752" v="118219"/>
          <ac:spMkLst>
            <pc:docMk/>
            <pc:sldMk cId="708553223" sldId="317"/>
            <ac:spMk id="877" creationId="{26660116-7A40-70D7-E387-F42A639A29ED}"/>
          </ac:spMkLst>
        </pc:spChg>
        <pc:spChg chg="add del mod replST">
          <ac:chgData name="Muchahary, Frankle" userId="0f2bf491-0617-4378-90b8-89af8fa381b9" providerId="ADAL" clId="{90877F19-00D2-4A00-8128-E78E36266C9A}" dt="2023-11-04T19:59:08.369" v="69742"/>
          <ac:spMkLst>
            <pc:docMk/>
            <pc:sldMk cId="708553223" sldId="317"/>
            <ac:spMk id="878" creationId="{244C9B97-4B5D-A057-0CC6-0F929C884DC0}"/>
          </ac:spMkLst>
        </pc:spChg>
        <pc:spChg chg="add del mod modVis">
          <ac:chgData name="Muchahary, Frankle" userId="0f2bf491-0617-4378-90b8-89af8fa381b9" providerId="ADAL" clId="{90877F19-00D2-4A00-8128-E78E36266C9A}" dt="2023-11-04T02:03:32.588" v="34183"/>
          <ac:spMkLst>
            <pc:docMk/>
            <pc:sldMk cId="708553223" sldId="317"/>
            <ac:spMk id="879" creationId="{785A819F-BC8E-C3F4-D3E9-235A9D0873BF}"/>
          </ac:spMkLst>
        </pc:spChg>
        <pc:spChg chg="add del mod ord">
          <ac:chgData name="Muchahary, Frankle" userId="0f2bf491-0617-4378-90b8-89af8fa381b9" providerId="ADAL" clId="{90877F19-00D2-4A00-8128-E78E36266C9A}" dt="2023-11-04T02:06:01.095" v="34861" actId="478"/>
          <ac:spMkLst>
            <pc:docMk/>
            <pc:sldMk cId="708553223" sldId="317"/>
            <ac:spMk id="881" creationId="{3D8D7A1B-9D9E-7FCE-E41F-666F84754A0F}"/>
          </ac:spMkLst>
        </pc:spChg>
        <pc:spChg chg="add del mod modVis">
          <ac:chgData name="Muchahary, Frankle" userId="0f2bf491-0617-4378-90b8-89af8fa381b9" providerId="ADAL" clId="{90877F19-00D2-4A00-8128-E78E36266C9A}" dt="2023-11-04T02:04:06.238" v="34387"/>
          <ac:spMkLst>
            <pc:docMk/>
            <pc:sldMk cId="708553223" sldId="317"/>
            <ac:spMk id="882" creationId="{95630C41-15B5-B58D-56BC-082BCC59E078}"/>
          </ac:spMkLst>
        </pc:spChg>
        <pc:spChg chg="add del mod modVis">
          <ac:chgData name="Muchahary, Frankle" userId="0f2bf491-0617-4378-90b8-89af8fa381b9" providerId="ADAL" clId="{90877F19-00D2-4A00-8128-E78E36266C9A}" dt="2023-11-04T19:56:39.133" v="67956"/>
          <ac:spMkLst>
            <pc:docMk/>
            <pc:sldMk cId="708553223" sldId="317"/>
            <ac:spMk id="889" creationId="{A75EFA1B-39EA-6EE6-B118-4BE1A0A60935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37" v="68726"/>
          <ac:spMkLst>
            <pc:docMk/>
            <pc:sldMk cId="708553223" sldId="317"/>
            <ac:spMk id="890" creationId="{0D186A5F-0F54-6D28-DA1A-F4DEF323CEA3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47" v="68742"/>
          <ac:spMkLst>
            <pc:docMk/>
            <pc:sldMk cId="708553223" sldId="317"/>
            <ac:spMk id="891" creationId="{0B662DDB-0D7F-7ED6-E604-BEF444C5C678}"/>
          </ac:spMkLst>
        </pc:spChg>
        <pc:spChg chg="add del mod modVis">
          <ac:chgData name="Muchahary, Frankle" userId="0f2bf491-0617-4378-90b8-89af8fa381b9" providerId="ADAL" clId="{90877F19-00D2-4A00-8128-E78E36266C9A}" dt="2023-11-04T02:05:31.747" v="34750"/>
          <ac:spMkLst>
            <pc:docMk/>
            <pc:sldMk cId="708553223" sldId="317"/>
            <ac:spMk id="892" creationId="{C4656C97-0EE0-AB87-F8DF-CA1795775382}"/>
          </ac:spMkLst>
        </pc:spChg>
        <pc:spChg chg="add del mod replST">
          <ac:chgData name="Muchahary, Frankle" userId="0f2bf491-0617-4378-90b8-89af8fa381b9" providerId="ADAL" clId="{90877F19-00D2-4A00-8128-E78E36266C9A}" dt="2023-11-04T19:57:27.156" v="68757"/>
          <ac:spMkLst>
            <pc:docMk/>
            <pc:sldMk cId="708553223" sldId="317"/>
            <ac:spMk id="892" creationId="{C7946EF5-BF7F-6E4E-A9A9-F76EB30AAD41}"/>
          </ac:spMkLst>
        </pc:spChg>
        <pc:spChg chg="add del mod replST">
          <ac:chgData name="Muchahary, Frankle" userId="0f2bf491-0617-4378-90b8-89af8fa381b9" providerId="ADAL" clId="{90877F19-00D2-4A00-8128-E78E36266C9A}" dt="2023-11-04T02:05:32.674" v="34799"/>
          <ac:spMkLst>
            <pc:docMk/>
            <pc:sldMk cId="708553223" sldId="317"/>
            <ac:spMk id="893" creationId="{A6124588-061B-E985-C064-B2C77205F03F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64" v="68770"/>
          <ac:spMkLst>
            <pc:docMk/>
            <pc:sldMk cId="708553223" sldId="317"/>
            <ac:spMk id="893" creationId="{BFF19477-4513-8099-9B59-9837B1C4E5EF}"/>
          </ac:spMkLst>
        </pc:spChg>
        <pc:spChg chg="add del mod ord replST">
          <ac:chgData name="Muchahary, Frankle" userId="0f2bf491-0617-4378-90b8-89af8fa381b9" providerId="ADAL" clId="{90877F19-00D2-4A00-8128-E78E36266C9A}" dt="2023-11-04T19:57:27.173" v="68786"/>
          <ac:spMkLst>
            <pc:docMk/>
            <pc:sldMk cId="708553223" sldId="317"/>
            <ac:spMk id="894" creationId="{469C5C0F-96D8-5D32-0994-0DD63D63A079}"/>
          </ac:spMkLst>
        </pc:spChg>
        <pc:spChg chg="add del mod modVis">
          <ac:chgData name="Muchahary, Frankle" userId="0f2bf491-0617-4378-90b8-89af8fa381b9" providerId="ADAL" clId="{90877F19-00D2-4A00-8128-E78E36266C9A}" dt="2023-11-04T02:05:32.725" v="34854"/>
          <ac:spMkLst>
            <pc:docMk/>
            <pc:sldMk cId="708553223" sldId="317"/>
            <ac:spMk id="895" creationId="{C2FF1D3C-939F-60D7-3A43-4350CFE88F35}"/>
          </ac:spMkLst>
        </pc:spChg>
        <pc:spChg chg="add del mod replST">
          <ac:chgData name="Muchahary, Frankle" userId="0f2bf491-0617-4378-90b8-89af8fa381b9" providerId="ADAL" clId="{90877F19-00D2-4A00-8128-E78E36266C9A}" dt="2023-11-04T19:57:27.181" v="68801"/>
          <ac:spMkLst>
            <pc:docMk/>
            <pc:sldMk cId="708553223" sldId="317"/>
            <ac:spMk id="895" creationId="{DD703179-ADA5-E889-AE10-D01492DA3F95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896" creationId="{4E80C393-A46E-CF1F-FF17-D411CBE54F41}"/>
          </ac:spMkLst>
        </pc:spChg>
        <pc:spChg chg="add mod replST">
          <ac:chgData name="Muchahary, Frankle" userId="0f2bf491-0617-4378-90b8-89af8fa381b9" providerId="ADAL" clId="{90877F19-00D2-4A00-8128-E78E36266C9A}" dt="2023-11-08T07:17:14.023" v="170913"/>
          <ac:spMkLst>
            <pc:docMk/>
            <pc:sldMk cId="708553223" sldId="317"/>
            <ac:spMk id="896" creationId="{6216DF49-1866-0541-31C3-AC06A8F39EC5}"/>
          </ac:spMkLst>
        </pc:spChg>
        <pc:spChg chg="add mod replST">
          <ac:chgData name="Muchahary, Frankle" userId="0f2bf491-0617-4378-90b8-89af8fa381b9" providerId="ADAL" clId="{90877F19-00D2-4A00-8128-E78E36266C9A}" dt="2023-11-08T07:17:14.023" v="170914"/>
          <ac:spMkLst>
            <pc:docMk/>
            <pc:sldMk cId="708553223" sldId="317"/>
            <ac:spMk id="897" creationId="{3345A71F-214A-41CA-F5E8-0967CE32EAD9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897" creationId="{37D47037-E947-83EC-1B7D-65DF9683F666}"/>
          </ac:spMkLst>
        </pc:spChg>
        <pc:spChg chg="add del mod ord">
          <ac:chgData name="Muchahary, Frankle" userId="0f2bf491-0617-4378-90b8-89af8fa381b9" providerId="ADAL" clId="{90877F19-00D2-4A00-8128-E78E36266C9A}" dt="2023-11-05T18:08:47.920" v="148769" actId="478"/>
          <ac:spMkLst>
            <pc:docMk/>
            <pc:sldMk cId="708553223" sldId="317"/>
            <ac:spMk id="898" creationId="{11FED061-3C46-C825-773C-FF776F34B758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898" creationId="{EEC512BA-786A-8E04-9538-03BAA28E09DD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899" creationId="{1C378D93-2F5F-0B42-92EE-6BC325D14E27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0" creationId="{8026ABC6-C64E-6B1C-08DE-B3051536C9F5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1" creationId="{29577A36-7FB1-6338-FCF8-40A30A824428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2" creationId="{D266FF52-C85C-3786-772D-83C0DDD67722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3" creationId="{CAD3F761-CB95-4B5B-6796-62D747BA9462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4" creationId="{7A26D4C7-FA53-543F-95FB-2D2333B589CC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5" creationId="{5B8CD11D-09DE-ED23-A014-F09844F11300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6" creationId="{A8A7DD08-A1F5-2B48-CA67-67DC8C14FDBE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906" creationId="{BF266C32-8D4E-240C-8303-52205836B83D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907" creationId="{2F950857-A99D-7E76-D48A-57F80078F620}"/>
          </ac:spMkLst>
        </pc:spChg>
        <pc:spChg chg="add del mod modVis">
          <ac:chgData name="Muchahary, Frankle" userId="0f2bf491-0617-4378-90b8-89af8fa381b9" providerId="ADAL" clId="{90877F19-00D2-4A00-8128-E78E36266C9A}" dt="2023-11-05T18:08:53.954" v="149216"/>
          <ac:spMkLst>
            <pc:docMk/>
            <pc:sldMk cId="708553223" sldId="317"/>
            <ac:spMk id="907" creationId="{6BCAB11F-7DAB-A2A2-64D8-517233C14735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7" creationId="{8757EA29-A109-01A7-47AE-3A252EB5BDCD}"/>
          </ac:spMkLst>
        </pc:spChg>
        <pc:spChg chg="add del mod or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908" creationId="{28FF99C7-FA0C-32ED-12B1-85FD6FC3701D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09" v="149262"/>
          <ac:spMkLst>
            <pc:docMk/>
            <pc:sldMk cId="708553223" sldId="317"/>
            <ac:spMk id="908" creationId="{3FE5E192-8958-06ED-18E1-F5AC990EE0B0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8" creationId="{D82337FA-664E-0ADC-3116-F3206C18D341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16" v="149278"/>
          <ac:spMkLst>
            <pc:docMk/>
            <pc:sldMk cId="708553223" sldId="317"/>
            <ac:spMk id="909" creationId="{06E0AF0E-4A35-97AF-16D2-57E73E87E1FD}"/>
          </ac:spMkLst>
        </pc:spChg>
        <pc:spChg chg="add del mod replST delST">
          <ac:chgData name="Muchahary, Frankle" userId="0f2bf491-0617-4378-90b8-89af8fa381b9" providerId="ADAL" clId="{90877F19-00D2-4A00-8128-E78E36266C9A}" dt="2023-11-07T19:53:50.641" v="162063"/>
          <ac:spMkLst>
            <pc:docMk/>
            <pc:sldMk cId="708553223" sldId="317"/>
            <ac:spMk id="909" creationId="{6C537A05-C4DF-7742-B1F5-65155ED7A267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09" creationId="{BF897ED8-3183-0A40-A555-59D78CB2AAF3}"/>
          </ac:spMkLst>
        </pc:spChg>
        <pc:spChg chg="add del mod replST">
          <ac:chgData name="Muchahary, Frankle" userId="0f2bf491-0617-4378-90b8-89af8fa381b9" providerId="ADAL" clId="{90877F19-00D2-4A00-8128-E78E36266C9A}" dt="2023-11-05T18:08:56.124" v="149293"/>
          <ac:spMkLst>
            <pc:docMk/>
            <pc:sldMk cId="708553223" sldId="317"/>
            <ac:spMk id="910" creationId="{9F005FAA-11FE-B21E-EBA7-48C725B604C6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0" creationId="{F725D8A8-567F-60E4-649D-AE2CB244FBD1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30" v="149306"/>
          <ac:spMkLst>
            <pc:docMk/>
            <pc:sldMk cId="708553223" sldId="317"/>
            <ac:spMk id="911" creationId="{73D463B6-D2B5-89F3-C181-12A5A8A4A673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1" creationId="{CDD28AE8-B124-0839-4CEE-A09A3FCB709B}"/>
          </ac:spMkLst>
        </pc:spChg>
        <pc:spChg chg="add del mod modVis">
          <ac:chgData name="Muchahary, Frankle" userId="0f2bf491-0617-4378-90b8-89af8fa381b9" providerId="ADAL" clId="{90877F19-00D2-4A00-8128-E78E36266C9A}" dt="2023-11-07T19:56:01.368" v="162267"/>
          <ac:spMkLst>
            <pc:docMk/>
            <pc:sldMk cId="708553223" sldId="317"/>
            <ac:spMk id="911" creationId="{D4A92D2F-C955-4C19-38A3-58B30C03CCA9}"/>
          </ac:spMkLst>
        </pc:spChg>
        <pc:spChg chg="add del mod modVis">
          <ac:chgData name="Muchahary, Frankle" userId="0f2bf491-0617-4378-90b8-89af8fa381b9" providerId="ADAL" clId="{90877F19-00D2-4A00-8128-E78E36266C9A}" dt="2023-11-08T07:16:02.007" v="170009"/>
          <ac:spMkLst>
            <pc:docMk/>
            <pc:sldMk cId="708553223" sldId="317"/>
            <ac:spMk id="912" creationId="{20164601-434E-DB50-E280-ADC4D03ADE73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37" v="149322"/>
          <ac:spMkLst>
            <pc:docMk/>
            <pc:sldMk cId="708553223" sldId="317"/>
            <ac:spMk id="912" creationId="{8CC5D106-EE07-63CC-AE46-A54C7FC3DD15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2" creationId="{D7C9F02F-AF2A-3536-047C-1CA89C437EAB}"/>
          </ac:spMkLst>
        </pc:spChg>
        <pc:spChg chg="add del mod modVis">
          <ac:chgData name="Muchahary, Frankle" userId="0f2bf491-0617-4378-90b8-89af8fa381b9" providerId="ADAL" clId="{90877F19-00D2-4A00-8128-E78E36266C9A}" dt="2023-11-04T02:09:03.346" v="34936"/>
          <ac:spMkLst>
            <pc:docMk/>
            <pc:sldMk cId="708553223" sldId="317"/>
            <ac:spMk id="913" creationId="{2C1F7B88-0E3E-8DD9-6F3E-6BB6540CA163}"/>
          </ac:spMkLst>
        </pc:spChg>
        <pc:spChg chg="add del mod replST">
          <ac:chgData name="Muchahary, Frankle" userId="0f2bf491-0617-4378-90b8-89af8fa381b9" providerId="ADAL" clId="{90877F19-00D2-4A00-8128-E78E36266C9A}" dt="2023-11-05T18:08:56.144" v="149337"/>
          <ac:spMkLst>
            <pc:docMk/>
            <pc:sldMk cId="708553223" sldId="317"/>
            <ac:spMk id="913" creationId="{500D1B6D-26CE-98FB-93E8-EFD5D276C8C7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3" creationId="{68B06E59-6672-5631-8D55-74D17EEAF4AA}"/>
          </ac:spMkLst>
        </pc:spChg>
        <pc:spChg chg="add del mod modVis">
          <ac:chgData name="Muchahary, Frankle" userId="0f2bf491-0617-4378-90b8-89af8fa381b9" providerId="ADAL" clId="{90877F19-00D2-4A00-8128-E78E36266C9A}" dt="2023-11-08T07:17:14.041" v="170968"/>
          <ac:spMkLst>
            <pc:docMk/>
            <pc:sldMk cId="708553223" sldId="317"/>
            <ac:spMk id="913" creationId="{69AE646D-BDFC-2744-C7C1-595002EE581B}"/>
          </ac:spMkLst>
        </pc:spChg>
        <pc:spChg chg="add mod ord replST">
          <ac:chgData name="Muchahary, Frankle" userId="0f2bf491-0617-4378-90b8-89af8fa381b9" providerId="ADAL" clId="{90877F19-00D2-4A00-8128-E78E36266C9A}" dt="2023-11-08T07:17:14.026" v="170922"/>
          <ac:spMkLst>
            <pc:docMk/>
            <pc:sldMk cId="708553223" sldId="317"/>
            <ac:spMk id="914" creationId="{4A06135F-689F-5C20-2CF8-0340E2DDC54E}"/>
          </ac:spMkLst>
        </pc:spChg>
        <pc:spChg chg="add del mod modVis">
          <ac:chgData name="Muchahary, Frankle" userId="0f2bf491-0617-4378-90b8-89af8fa381b9" providerId="ADAL" clId="{90877F19-00D2-4A00-8128-E78E36266C9A}" dt="2023-11-04T02:09:21.068" v="35321"/>
          <ac:spMkLst>
            <pc:docMk/>
            <pc:sldMk cId="708553223" sldId="317"/>
            <ac:spMk id="914" creationId="{A10BA830-32B4-18A3-F7E8-8F23A3ACBDE9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4" creationId="{E9D01433-2184-B481-A3C4-70050AD4389F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51" v="149350"/>
          <ac:spMkLst>
            <pc:docMk/>
            <pc:sldMk cId="708553223" sldId="317"/>
            <ac:spMk id="914" creationId="{EDB9D2CB-A5B2-6360-3BFB-B1823AB30E7C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58" v="149366"/>
          <ac:spMkLst>
            <pc:docMk/>
            <pc:sldMk cId="708553223" sldId="317"/>
            <ac:spMk id="915" creationId="{C8533EC4-DFEF-E212-CB2E-8C4986F651DB}"/>
          </ac:spMkLst>
        </pc:spChg>
        <pc:spChg chg="add mod ord replST">
          <ac:chgData name="Muchahary, Frankle" userId="0f2bf491-0617-4378-90b8-89af8fa381b9" providerId="ADAL" clId="{90877F19-00D2-4A00-8128-E78E36266C9A}" dt="2023-11-08T07:17:14.026" v="170924"/>
          <ac:spMkLst>
            <pc:docMk/>
            <pc:sldMk cId="708553223" sldId="317"/>
            <ac:spMk id="915" creationId="{E10ED1DF-8B79-86A6-AEA3-3E205D8CE069}"/>
          </ac:spMkLst>
        </pc:spChg>
        <pc:spChg chg="add mod replST delST">
          <ac:chgData name="Muchahary, Frankle" userId="0f2bf491-0617-4378-90b8-89af8fa381b9" providerId="ADAL" clId="{90877F19-00D2-4A00-8128-E78E36266C9A}" dt="2023-11-04T18:58:13.024" v="50894"/>
          <ac:spMkLst>
            <pc:docMk/>
            <pc:sldMk cId="708553223" sldId="317"/>
            <ac:spMk id="915" creationId="{FF53C68D-3964-EA32-AA1B-1D3A021163C4}"/>
          </ac:spMkLst>
        </pc:spChg>
        <pc:spChg chg="add mod replST">
          <ac:chgData name="Muchahary, Frankle" userId="0f2bf491-0617-4378-90b8-89af8fa381b9" providerId="ADAL" clId="{90877F19-00D2-4A00-8128-E78E36266C9A}" dt="2023-11-08T07:17:14.023" v="170915"/>
          <ac:spMkLst>
            <pc:docMk/>
            <pc:sldMk cId="708553223" sldId="317"/>
            <ac:spMk id="916" creationId="{01C3358C-D22B-5E95-6CC1-42D8C997B5B8}"/>
          </ac:spMkLst>
        </pc:spChg>
        <pc:spChg chg="add del mod modVis">
          <ac:chgData name="Muchahary, Frankle" userId="0f2bf491-0617-4378-90b8-89af8fa381b9" providerId="ADAL" clId="{90877F19-00D2-4A00-8128-E78E36266C9A}" dt="2023-11-04T02:09:22.645" v="35473"/>
          <ac:spMkLst>
            <pc:docMk/>
            <pc:sldMk cId="708553223" sldId="317"/>
            <ac:spMk id="916" creationId="{38BA1ABA-2EA0-FBB0-441B-A7B1A8A97B4E}"/>
          </ac:spMkLst>
        </pc:spChg>
        <pc:spChg chg="add del mod replST">
          <ac:chgData name="Muchahary, Frankle" userId="0f2bf491-0617-4378-90b8-89af8fa381b9" providerId="ADAL" clId="{90877F19-00D2-4A00-8128-E78E36266C9A}" dt="2023-11-05T18:08:56.164" v="149381"/>
          <ac:spMkLst>
            <pc:docMk/>
            <pc:sldMk cId="708553223" sldId="317"/>
            <ac:spMk id="916" creationId="{590D5DD4-79BF-C064-4519-53FC2D8B7C27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71" v="149394"/>
          <ac:spMkLst>
            <pc:docMk/>
            <pc:sldMk cId="708553223" sldId="317"/>
            <ac:spMk id="917" creationId="{588C0F10-D61A-10BD-4E61-BAE0F36D0211}"/>
          </ac:spMkLst>
        </pc:spChg>
        <pc:spChg chg="add mod ord replST">
          <ac:chgData name="Muchahary, Frankle" userId="0f2bf491-0617-4378-90b8-89af8fa381b9" providerId="ADAL" clId="{90877F19-00D2-4A00-8128-E78E36266C9A}" dt="2023-11-08T07:17:14.027" v="170926"/>
          <ac:spMkLst>
            <pc:docMk/>
            <pc:sldMk cId="708553223" sldId="317"/>
            <ac:spMk id="917" creationId="{F38813C8-DCF5-D22D-E09D-7C97CB380D8D}"/>
          </ac:spMkLst>
        </pc:spChg>
        <pc:spChg chg="add mod ord replST">
          <ac:chgData name="Muchahary, Frankle" userId="0f2bf491-0617-4378-90b8-89af8fa381b9" providerId="ADAL" clId="{90877F19-00D2-4A00-8128-E78E36266C9A}" dt="2023-11-08T07:17:14.032" v="170944"/>
          <ac:spMkLst>
            <pc:docMk/>
            <pc:sldMk cId="708553223" sldId="317"/>
            <ac:spMk id="918" creationId="{E549DDDB-640D-CFB6-D22B-AC2A63E268BF}"/>
          </ac:spMkLst>
        </pc:spChg>
        <pc:spChg chg="add del mod ord replST">
          <ac:chgData name="Muchahary, Frankle" userId="0f2bf491-0617-4378-90b8-89af8fa381b9" providerId="ADAL" clId="{90877F19-00D2-4A00-8128-E78E36266C9A}" dt="2023-11-05T18:08:56.178" v="149410"/>
          <ac:spMkLst>
            <pc:docMk/>
            <pc:sldMk cId="708553223" sldId="317"/>
            <ac:spMk id="918" creationId="{FE0DF1D4-8C94-C533-C279-CF391B3D0561}"/>
          </ac:spMkLst>
        </pc:spChg>
        <pc:spChg chg="add mod replST">
          <ac:chgData name="Muchahary, Frankle" userId="0f2bf491-0617-4378-90b8-89af8fa381b9" providerId="ADAL" clId="{90877F19-00D2-4A00-8128-E78E36266C9A}" dt="2023-11-08T07:17:14.024" v="170917"/>
          <ac:spMkLst>
            <pc:docMk/>
            <pc:sldMk cId="708553223" sldId="317"/>
            <ac:spMk id="919" creationId="{113E8569-4224-C449-6701-59F3199EFB73}"/>
          </ac:spMkLst>
        </pc:spChg>
        <pc:spChg chg="add del mod replST">
          <ac:chgData name="Muchahary, Frankle" userId="0f2bf491-0617-4378-90b8-89af8fa381b9" providerId="ADAL" clId="{90877F19-00D2-4A00-8128-E78E36266C9A}" dt="2023-11-05T18:08:56.185" v="149425"/>
          <ac:spMkLst>
            <pc:docMk/>
            <pc:sldMk cId="708553223" sldId="317"/>
            <ac:spMk id="919" creationId="{F0595637-199C-2606-706A-09340F926A21}"/>
          </ac:spMkLst>
        </pc:spChg>
        <pc:spChg chg="add mod ord replST">
          <ac:chgData name="Muchahary, Frankle" userId="0f2bf491-0617-4378-90b8-89af8fa381b9" providerId="ADAL" clId="{90877F19-00D2-4A00-8128-E78E36266C9A}" dt="2023-11-08T07:17:14.027" v="170928"/>
          <ac:spMkLst>
            <pc:docMk/>
            <pc:sldMk cId="708553223" sldId="317"/>
            <ac:spMk id="920" creationId="{2EAA570F-8DDF-C820-0A80-168C686E1D49}"/>
          </ac:spMkLst>
        </pc:spChg>
        <pc:spChg chg="add del mod modVis">
          <ac:chgData name="Muchahary, Frankle" userId="0f2bf491-0617-4378-90b8-89af8fa381b9" providerId="ADAL" clId="{90877F19-00D2-4A00-8128-E78E36266C9A}" dt="2023-11-05T18:08:56.297" v="149620"/>
          <ac:spMkLst>
            <pc:docMk/>
            <pc:sldMk cId="708553223" sldId="317"/>
            <ac:spMk id="921" creationId="{3A4FBFD9-8C41-B62D-CC12-5FF311F914DB}"/>
          </ac:spMkLst>
        </pc:spChg>
        <pc:spChg chg="add mod ord replST">
          <ac:chgData name="Muchahary, Frankle" userId="0f2bf491-0617-4378-90b8-89af8fa381b9" providerId="ADAL" clId="{90877F19-00D2-4A00-8128-E78E36266C9A}" dt="2023-11-08T07:17:14.028" v="170930"/>
          <ac:spMkLst>
            <pc:docMk/>
            <pc:sldMk cId="708553223" sldId="317"/>
            <ac:spMk id="921" creationId="{D8A9722D-10AB-919A-328B-0431D71D42D5}"/>
          </ac:spMkLst>
        </pc:spChg>
        <pc:spChg chg="add del mod ord replST">
          <ac:chgData name="Muchahary, Frankle" userId="0f2bf491-0617-4378-90b8-89af8fa381b9" providerId="ADAL" clId="{90877F19-00D2-4A00-8128-E78E36266C9A}" dt="2023-11-05T18:08:57.767" v="149666"/>
          <ac:spMkLst>
            <pc:docMk/>
            <pc:sldMk cId="708553223" sldId="317"/>
            <ac:spMk id="922" creationId="{E729C0AA-7A01-98B0-C9B3-04FCF56E7763}"/>
          </ac:spMkLst>
        </pc:spChg>
        <pc:spChg chg="add mod replST">
          <ac:chgData name="Muchahary, Frankle" userId="0f2bf491-0617-4378-90b8-89af8fa381b9" providerId="ADAL" clId="{90877F19-00D2-4A00-8128-E78E36266C9A}" dt="2023-11-08T07:17:14.024" v="170918"/>
          <ac:spMkLst>
            <pc:docMk/>
            <pc:sldMk cId="708553223" sldId="317"/>
            <ac:spMk id="922" creationId="{F51976BA-7977-D2FB-0846-8D467443BBA9}"/>
          </ac:spMkLst>
        </pc:spChg>
        <pc:spChg chg="add mod ord replST">
          <ac:chgData name="Muchahary, Frankle" userId="0f2bf491-0617-4378-90b8-89af8fa381b9" providerId="ADAL" clId="{90877F19-00D2-4A00-8128-E78E36266C9A}" dt="2023-11-08T07:17:14.028" v="170932"/>
          <ac:spMkLst>
            <pc:docMk/>
            <pc:sldMk cId="708553223" sldId="317"/>
            <ac:spMk id="923" creationId="{7AACCFF3-FA39-DF75-4AE7-C517A0E22DB9}"/>
          </ac:spMkLst>
        </pc:spChg>
        <pc:spChg chg="add del mod ord replST">
          <ac:chgData name="Muchahary, Frankle" userId="0f2bf491-0617-4378-90b8-89af8fa381b9" providerId="ADAL" clId="{90877F19-00D2-4A00-8128-E78E36266C9A}" dt="2023-11-05T18:08:57.776" v="149682"/>
          <ac:spMkLst>
            <pc:docMk/>
            <pc:sldMk cId="708553223" sldId="317"/>
            <ac:spMk id="923" creationId="{B2A52E0E-5470-8D2D-DED1-176C8C9F91CF}"/>
          </ac:spMkLst>
        </pc:spChg>
        <pc:spChg chg="add del mod replST">
          <ac:chgData name="Muchahary, Frankle" userId="0f2bf491-0617-4378-90b8-89af8fa381b9" providerId="ADAL" clId="{90877F19-00D2-4A00-8128-E78E36266C9A}" dt="2023-11-05T18:08:57.784" v="149697"/>
          <ac:spMkLst>
            <pc:docMk/>
            <pc:sldMk cId="708553223" sldId="317"/>
            <ac:spMk id="924" creationId="{97D2D3BD-662A-2FB3-611F-B1052352005B}"/>
          </ac:spMkLst>
        </pc:spChg>
        <pc:spChg chg="add mod ord replST">
          <ac:chgData name="Muchahary, Frankle" userId="0f2bf491-0617-4378-90b8-89af8fa381b9" providerId="ADAL" clId="{90877F19-00D2-4A00-8128-E78E36266C9A}" dt="2023-11-08T07:17:14.029" v="170934"/>
          <ac:spMkLst>
            <pc:docMk/>
            <pc:sldMk cId="708553223" sldId="317"/>
            <ac:spMk id="924" creationId="{E9B3E87C-F5A4-4252-AFBA-7F15A05C0546}"/>
          </ac:spMkLst>
        </pc:spChg>
        <pc:spChg chg="add del mod ord replST">
          <ac:chgData name="Muchahary, Frankle" userId="0f2bf491-0617-4378-90b8-89af8fa381b9" providerId="ADAL" clId="{90877F19-00D2-4A00-8128-E78E36266C9A}" dt="2023-11-05T18:08:57.791" v="149710"/>
          <ac:spMkLst>
            <pc:docMk/>
            <pc:sldMk cId="708553223" sldId="317"/>
            <ac:spMk id="925" creationId="{26924FE8-4598-6851-F190-D2352B69FA74}"/>
          </ac:spMkLst>
        </pc:spChg>
        <pc:spChg chg="add mod replST">
          <ac:chgData name="Muchahary, Frankle" userId="0f2bf491-0617-4378-90b8-89af8fa381b9" providerId="ADAL" clId="{90877F19-00D2-4A00-8128-E78E36266C9A}" dt="2023-11-08T07:17:14.024" v="170916"/>
          <ac:spMkLst>
            <pc:docMk/>
            <pc:sldMk cId="708553223" sldId="317"/>
            <ac:spMk id="925" creationId="{88B47626-1AE7-0383-B78D-E497CEBF2F3B}"/>
          </ac:spMkLst>
        </pc:spChg>
        <pc:spChg chg="add mod ord replST">
          <ac:chgData name="Muchahary, Frankle" userId="0f2bf491-0617-4378-90b8-89af8fa381b9" providerId="ADAL" clId="{90877F19-00D2-4A00-8128-E78E36266C9A}" dt="2023-11-08T07:17:14.030" v="170936"/>
          <ac:spMkLst>
            <pc:docMk/>
            <pc:sldMk cId="708553223" sldId="317"/>
            <ac:spMk id="926" creationId="{0681E486-5374-4C69-5234-052B8BA1852A}"/>
          </ac:spMkLst>
        </pc:spChg>
        <pc:spChg chg="add del mod ord replST">
          <ac:chgData name="Muchahary, Frankle" userId="0f2bf491-0617-4378-90b8-89af8fa381b9" providerId="ADAL" clId="{90877F19-00D2-4A00-8128-E78E36266C9A}" dt="2023-11-05T18:08:57.797" v="149726"/>
          <ac:spMkLst>
            <pc:docMk/>
            <pc:sldMk cId="708553223" sldId="317"/>
            <ac:spMk id="926" creationId="{6768E3AD-09E5-01DD-3DA1-2EB75D81BF23}"/>
          </ac:spMkLst>
        </pc:spChg>
        <pc:spChg chg="add del mod replST">
          <ac:chgData name="Muchahary, Frankle" userId="0f2bf491-0617-4378-90b8-89af8fa381b9" providerId="ADAL" clId="{90877F19-00D2-4A00-8128-E78E36266C9A}" dt="2023-11-05T18:08:57.805" v="149741"/>
          <ac:spMkLst>
            <pc:docMk/>
            <pc:sldMk cId="708553223" sldId="317"/>
            <ac:spMk id="927" creationId="{521DF2F9-ECA3-2CEA-37F4-B3BCE31BCE93}"/>
          </ac:spMkLst>
        </pc:spChg>
        <pc:spChg chg="add mod ord replST">
          <ac:chgData name="Muchahary, Frankle" userId="0f2bf491-0617-4378-90b8-89af8fa381b9" providerId="ADAL" clId="{90877F19-00D2-4A00-8128-E78E36266C9A}" dt="2023-11-08T07:17:14.030" v="170938"/>
          <ac:spMkLst>
            <pc:docMk/>
            <pc:sldMk cId="708553223" sldId="317"/>
            <ac:spMk id="927" creationId="{817885C9-CE2B-53AD-F8A4-8EA043EA12B7}"/>
          </ac:spMkLst>
        </pc:spChg>
        <pc:spChg chg="add mod replST">
          <ac:chgData name="Muchahary, Frankle" userId="0f2bf491-0617-4378-90b8-89af8fa381b9" providerId="ADAL" clId="{90877F19-00D2-4A00-8128-E78E36266C9A}" dt="2023-11-08T07:17:14.025" v="170919"/>
          <ac:spMkLst>
            <pc:docMk/>
            <pc:sldMk cId="708553223" sldId="317"/>
            <ac:spMk id="928" creationId="{9B7E5B4E-86A0-E292-627C-78B0745067F2}"/>
          </ac:spMkLst>
        </pc:spChg>
        <pc:spChg chg="add del mod ord replST">
          <ac:chgData name="Muchahary, Frankle" userId="0f2bf491-0617-4378-90b8-89af8fa381b9" providerId="ADAL" clId="{90877F19-00D2-4A00-8128-E78E36266C9A}" dt="2023-11-05T18:08:57.810" v="149754"/>
          <ac:spMkLst>
            <pc:docMk/>
            <pc:sldMk cId="708553223" sldId="317"/>
            <ac:spMk id="928" creationId="{ECA775E7-CF87-C5FE-5FE9-F39346727ED4}"/>
          </ac:spMkLst>
        </pc:spChg>
        <pc:spChg chg="add del mod ord replST">
          <ac:chgData name="Muchahary, Frankle" userId="0f2bf491-0617-4378-90b8-89af8fa381b9" providerId="ADAL" clId="{90877F19-00D2-4A00-8128-E78E36266C9A}" dt="2023-11-05T18:08:57.818" v="149770"/>
          <ac:spMkLst>
            <pc:docMk/>
            <pc:sldMk cId="708553223" sldId="317"/>
            <ac:spMk id="929" creationId="{24B0EDCB-DDD5-2172-DCF8-01315D897E29}"/>
          </ac:spMkLst>
        </pc:spChg>
        <pc:spChg chg="add mod ord replST">
          <ac:chgData name="Muchahary, Frankle" userId="0f2bf491-0617-4378-90b8-89af8fa381b9" providerId="ADAL" clId="{90877F19-00D2-4A00-8128-E78E36266C9A}" dt="2023-11-08T07:17:14.031" v="170940"/>
          <ac:spMkLst>
            <pc:docMk/>
            <pc:sldMk cId="708553223" sldId="317"/>
            <ac:spMk id="929" creationId="{9984F057-2A1C-B6A9-F9DD-2D76429F3B15}"/>
          </ac:spMkLst>
        </pc:spChg>
        <pc:spChg chg="add mod ord replST">
          <ac:chgData name="Muchahary, Frankle" userId="0f2bf491-0617-4378-90b8-89af8fa381b9" providerId="ADAL" clId="{90877F19-00D2-4A00-8128-E78E36266C9A}" dt="2023-11-08T07:17:14.031" v="170942"/>
          <ac:spMkLst>
            <pc:docMk/>
            <pc:sldMk cId="708553223" sldId="317"/>
            <ac:spMk id="930" creationId="{43BBC1EA-D413-3A00-39ED-689029048275}"/>
          </ac:spMkLst>
        </pc:spChg>
        <pc:spChg chg="add del mod replST">
          <ac:chgData name="Muchahary, Frankle" userId="0f2bf491-0617-4378-90b8-89af8fa381b9" providerId="ADAL" clId="{90877F19-00D2-4A00-8128-E78E36266C9A}" dt="2023-11-05T18:08:57.827" v="149785"/>
          <ac:spMkLst>
            <pc:docMk/>
            <pc:sldMk cId="708553223" sldId="317"/>
            <ac:spMk id="930" creationId="{4976CBC3-CD35-412E-9C5E-EF1702647E80}"/>
          </ac:spMkLst>
        </pc:spChg>
        <pc:spChg chg="add del mod ord replST">
          <ac:chgData name="Muchahary, Frankle" userId="0f2bf491-0617-4378-90b8-89af8fa381b9" providerId="ADAL" clId="{90877F19-00D2-4A00-8128-E78E36266C9A}" dt="2023-11-05T18:08:57.832" v="149798"/>
          <ac:spMkLst>
            <pc:docMk/>
            <pc:sldMk cId="708553223" sldId="317"/>
            <ac:spMk id="931" creationId="{457B3F67-CEEA-0959-D6E2-E3B2BFCC3C02}"/>
          </ac:spMkLst>
        </pc:spChg>
        <pc:spChg chg="add mod replST">
          <ac:chgData name="Muchahary, Frankle" userId="0f2bf491-0617-4378-90b8-89af8fa381b9" providerId="ADAL" clId="{90877F19-00D2-4A00-8128-E78E36266C9A}" dt="2023-11-08T07:17:14.025" v="170920"/>
          <ac:spMkLst>
            <pc:docMk/>
            <pc:sldMk cId="708553223" sldId="317"/>
            <ac:spMk id="931" creationId="{9D50406C-E735-FFFA-D904-F2E9D1EA08AF}"/>
          </ac:spMkLst>
        </pc:spChg>
        <pc:spChg chg="add del mod ord replST">
          <ac:chgData name="Muchahary, Frankle" userId="0f2bf491-0617-4378-90b8-89af8fa381b9" providerId="ADAL" clId="{90877F19-00D2-4A00-8128-E78E36266C9A}" dt="2023-11-05T18:08:57.840" v="149814"/>
          <ac:spMkLst>
            <pc:docMk/>
            <pc:sldMk cId="708553223" sldId="317"/>
            <ac:spMk id="932" creationId="{97036F2A-FDC9-3994-443E-206E4AAB8FF9}"/>
          </ac:spMkLst>
        </pc:spChg>
        <pc:spChg chg="add del mod replST">
          <ac:chgData name="Muchahary, Frankle" userId="0f2bf491-0617-4378-90b8-89af8fa381b9" providerId="ADAL" clId="{90877F19-00D2-4A00-8128-E78E36266C9A}" dt="2023-11-05T18:08:57.847" v="149829"/>
          <ac:spMkLst>
            <pc:docMk/>
            <pc:sldMk cId="708553223" sldId="317"/>
            <ac:spMk id="933" creationId="{4281B902-11C7-CB5F-0F3E-2737A52188E1}"/>
          </ac:spMkLst>
        </pc:spChg>
        <pc:spChg chg="add del mod modVis">
          <ac:chgData name="Muchahary, Frankle" userId="0f2bf491-0617-4378-90b8-89af8fa381b9" providerId="ADAL" clId="{90877F19-00D2-4A00-8128-E78E36266C9A}" dt="2023-11-05T18:08:57.960" v="150024"/>
          <ac:spMkLst>
            <pc:docMk/>
            <pc:sldMk cId="708553223" sldId="317"/>
            <ac:spMk id="935" creationId="{8C243049-221A-A86D-E5BA-507036372D92}"/>
          </ac:spMkLst>
        </pc:spChg>
        <pc:spChg chg="add del mod modVis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36" creationId="{6D31B292-4887-F2B2-F403-D38E069243D8}"/>
          </ac:spMkLst>
        </pc:spChg>
        <pc:spChg chg="add del mod ord replST">
          <ac:chgData name="Muchahary, Frankle" userId="0f2bf491-0617-4378-90b8-89af8fa381b9" providerId="ADAL" clId="{90877F19-00D2-4A00-8128-E78E36266C9A}" dt="2023-11-05T18:08:59.385" v="150080"/>
          <ac:spMkLst>
            <pc:docMk/>
            <pc:sldMk cId="708553223" sldId="317"/>
            <ac:spMk id="936" creationId="{9613DECF-1C00-7932-7335-78F2B7B543E1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37" creationId="{D895E039-185C-A78C-58F6-DD51C1162182}"/>
          </ac:spMkLst>
        </pc:spChg>
        <pc:spChg chg="add del mod ord replST">
          <ac:chgData name="Muchahary, Frankle" userId="0f2bf491-0617-4378-90b8-89af8fa381b9" providerId="ADAL" clId="{90877F19-00D2-4A00-8128-E78E36266C9A}" dt="2023-11-05T18:08:59.392" v="150096"/>
          <ac:spMkLst>
            <pc:docMk/>
            <pc:sldMk cId="708553223" sldId="317"/>
            <ac:spMk id="937" creationId="{EED53322-E4D0-8FC0-D460-5ABC49037C2A}"/>
          </ac:spMkLst>
        </pc:spChg>
        <pc:spChg chg="add del mod replST">
          <ac:chgData name="Muchahary, Frankle" userId="0f2bf491-0617-4378-90b8-89af8fa381b9" providerId="ADAL" clId="{90877F19-00D2-4A00-8128-E78E36266C9A}" dt="2023-11-05T18:08:59.400" v="150111"/>
          <ac:spMkLst>
            <pc:docMk/>
            <pc:sldMk cId="708553223" sldId="317"/>
            <ac:spMk id="938" creationId="{0A6A5658-3636-6977-EFF8-131F9C3DBB45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38" creationId="{94A4A5D1-3BF5-F1CB-92B8-3AD107257AAE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06" v="150124"/>
          <ac:spMkLst>
            <pc:docMk/>
            <pc:sldMk cId="708553223" sldId="317"/>
            <ac:spMk id="939" creationId="{AEACBBA0-304C-13E0-CE50-9C4D47275EA0}"/>
          </ac:spMkLst>
        </pc:spChg>
        <pc:spChg chg="add del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39" creationId="{DC2AC633-7DDD-30A7-F30C-BC2935C6B4D9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0" creationId="{0BD6C4C5-CA48-75CC-8759-57AB41F5A6E9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15" v="150140"/>
          <ac:spMkLst>
            <pc:docMk/>
            <pc:sldMk cId="708553223" sldId="317"/>
            <ac:spMk id="940" creationId="{4A50E856-ED67-8A2D-AD48-F3C3D9B065CA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1" creationId="{7C4CFCCB-FDD2-A039-9527-D5F3154133B5}"/>
          </ac:spMkLst>
        </pc:spChg>
        <pc:spChg chg="add del mod replST">
          <ac:chgData name="Muchahary, Frankle" userId="0f2bf491-0617-4378-90b8-89af8fa381b9" providerId="ADAL" clId="{90877F19-00D2-4A00-8128-E78E36266C9A}" dt="2023-11-05T18:08:59.422" v="150155"/>
          <ac:spMkLst>
            <pc:docMk/>
            <pc:sldMk cId="708553223" sldId="317"/>
            <ac:spMk id="941" creationId="{D7068BC6-D359-9CAF-567C-60E80FEEC822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32" v="150178"/>
          <ac:spMkLst>
            <pc:docMk/>
            <pc:sldMk cId="708553223" sldId="317"/>
            <ac:spMk id="942" creationId="{0C405981-30CC-314A-7C60-9F925AD47078}"/>
          </ac:spMkLst>
        </pc:spChg>
        <pc:spChg chg="add del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2" creationId="{D26764FD-5576-714D-A6ED-2687915DEC3D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39" v="150194"/>
          <ac:spMkLst>
            <pc:docMk/>
            <pc:sldMk cId="708553223" sldId="317"/>
            <ac:spMk id="943" creationId="{72B684F9-7C77-0E38-4C9B-992C3C05B0F9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3" creationId="{AFEFFBCC-4AD5-C239-709C-20846BF69703}"/>
          </ac:spMkLst>
        </pc:spChg>
        <pc:spChg chg="add del mod replST">
          <ac:chgData name="Muchahary, Frankle" userId="0f2bf491-0617-4378-90b8-89af8fa381b9" providerId="ADAL" clId="{90877F19-00D2-4A00-8128-E78E36266C9A}" dt="2023-11-05T18:08:59.445" v="150209"/>
          <ac:spMkLst>
            <pc:docMk/>
            <pc:sldMk cId="708553223" sldId="317"/>
            <ac:spMk id="944" creationId="{56C2C734-03FF-54D9-35E7-8753CC3D5445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4" creationId="{819093F7-DDC4-416B-2A39-F1B2F86E536C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52" v="150222"/>
          <ac:spMkLst>
            <pc:docMk/>
            <pc:sldMk cId="708553223" sldId="317"/>
            <ac:spMk id="945" creationId="{C493ED66-FA00-5B7B-6DA1-6779F1625AF8}"/>
          </ac:spMkLst>
        </pc:spChg>
        <pc:spChg chg="add del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5" creationId="{CA66763C-0FAA-B2D3-B305-C5D64256B4EE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6" creationId="{10278353-FA48-6671-8E7E-AA047FA26894}"/>
          </ac:spMkLst>
        </pc:spChg>
        <pc:spChg chg="add del mod ord replST">
          <ac:chgData name="Muchahary, Frankle" userId="0f2bf491-0617-4378-90b8-89af8fa381b9" providerId="ADAL" clId="{90877F19-00D2-4A00-8128-E78E36266C9A}" dt="2023-11-05T18:08:59.461" v="150238"/>
          <ac:spMkLst>
            <pc:docMk/>
            <pc:sldMk cId="708553223" sldId="317"/>
            <ac:spMk id="946" creationId="{3F549B4D-CA7B-BFCF-4DB2-489CE895F497}"/>
          </ac:spMkLst>
        </pc:spChg>
        <pc:spChg chg="add del mod replST">
          <ac:chgData name="Muchahary, Frankle" userId="0f2bf491-0617-4378-90b8-89af8fa381b9" providerId="ADAL" clId="{90877F19-00D2-4A00-8128-E78E36266C9A}" dt="2023-11-05T18:08:59.469" v="150253"/>
          <ac:spMkLst>
            <pc:docMk/>
            <pc:sldMk cId="708553223" sldId="317"/>
            <ac:spMk id="947" creationId="{6EE06BAA-149A-C49D-02FC-F456CBE45C6F}"/>
          </ac:spMkLst>
        </pc:spChg>
        <pc:spChg chg="add del mod or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7" creationId="{B34C0505-8EA9-0D3B-AF9D-659369CEFACA}"/>
          </ac:spMkLst>
        </pc:spChg>
        <pc:spChg chg="add del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8" creationId="{03B8A4B9-2BBE-5ED1-485C-2222953621DC}"/>
          </ac:spMkLst>
        </pc:spChg>
        <pc:spChg chg="add del mod modVis">
          <ac:chgData name="Muchahary, Frankle" userId="0f2bf491-0617-4378-90b8-89af8fa381b9" providerId="ADAL" clId="{90877F19-00D2-4A00-8128-E78E36266C9A}" dt="2023-11-05T18:08:59.615" v="150522"/>
          <ac:spMkLst>
            <pc:docMk/>
            <pc:sldMk cId="708553223" sldId="317"/>
            <ac:spMk id="949" creationId="{1A896F29-71E3-D4C6-DE52-C588BE644A05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49" creationId="{8701DD02-4DBA-9B8C-289D-ECF5E0099712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37" v="158930"/>
          <ac:spMkLst>
            <pc:docMk/>
            <pc:sldMk cId="708553223" sldId="317"/>
            <ac:spMk id="950" creationId="{19DC3596-1DA0-DEC5-AA9D-6109817131C1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0" creationId="{4C97959B-851B-781F-6744-D2FEC0610D1A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1" creationId="{02C023DE-03DE-9805-DC6D-95F40E21915B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44" v="158946"/>
          <ac:spMkLst>
            <pc:docMk/>
            <pc:sldMk cId="708553223" sldId="317"/>
            <ac:spMk id="951" creationId="{5A0F9F7A-295D-49D4-339B-997DE31864F5}"/>
          </ac:spMkLst>
        </pc:spChg>
        <pc:spChg chg="add del mod replST">
          <ac:chgData name="Muchahary, Frankle" userId="0f2bf491-0617-4378-90b8-89af8fa381b9" providerId="ADAL" clId="{90877F19-00D2-4A00-8128-E78E36266C9A}" dt="2023-11-07T19:53:03.752" v="158961"/>
          <ac:spMkLst>
            <pc:docMk/>
            <pc:sldMk cId="708553223" sldId="317"/>
            <ac:spMk id="952" creationId="{7C1D88EF-6D46-9E8E-2C13-BA0646EF6D93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2" creationId="{CCF55643-7D36-46C1-BD43-0122FDC1B3D4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3" creationId="{1885FAC4-A00A-B664-F9AC-D1EEF808B0C1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60" v="158974"/>
          <ac:spMkLst>
            <pc:docMk/>
            <pc:sldMk cId="708553223" sldId="317"/>
            <ac:spMk id="953" creationId="{F945BB03-AE99-08F5-8FB6-27618A20174C}"/>
          </ac:spMkLst>
        </pc:spChg>
        <pc:spChg chg="add del mod ord replST">
          <ac:chgData name="Muchahary, Frankle" userId="0f2bf491-0617-4378-90b8-89af8fa381b9" providerId="ADAL" clId="{90877F19-00D2-4A00-8128-E78E36266C9A}" dt="2023-11-07T19:53:03.770" v="158990"/>
          <ac:spMkLst>
            <pc:docMk/>
            <pc:sldMk cId="708553223" sldId="317"/>
            <ac:spMk id="954" creationId="{52BC1009-94DC-88F2-1DE1-FD8EBCC79A3E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4" creationId="{DF573FF8-A43A-F5F0-CCA7-C4B54A2F724B}"/>
          </ac:spMkLst>
        </pc:spChg>
        <pc:spChg chg="add del mod replST">
          <ac:chgData name="Muchahary, Frankle" userId="0f2bf491-0617-4378-90b8-89af8fa381b9" providerId="ADAL" clId="{90877F19-00D2-4A00-8128-E78E36266C9A}" dt="2023-11-07T19:53:03.779" v="159005"/>
          <ac:spMkLst>
            <pc:docMk/>
            <pc:sldMk cId="708553223" sldId="317"/>
            <ac:spMk id="955" creationId="{688658CA-1C72-1BB7-4614-0668BBAEA3F9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5" creationId="{7BCABEEC-CC12-305C-1FB7-FB754DF8E00B}"/>
          </ac:spMkLst>
        </pc:spChg>
        <pc:spChg chg="add del mod ord replST">
          <ac:chgData name="Muchahary, Frankle" userId="0f2bf491-0617-4378-90b8-89af8fa381b9" providerId="ADAL" clId="{90877F19-00D2-4A00-8128-E78E36266C9A}" dt="2023-11-07T19:53:03.813" v="159062"/>
          <ac:spMkLst>
            <pc:docMk/>
            <pc:sldMk cId="708553223" sldId="317"/>
            <ac:spMk id="956" creationId="{A889978E-C930-AABF-EB67-A326C77CCB78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6" creationId="{D6668E9C-4C83-CE3B-61E8-70E726D3C267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7" creationId="{A3069998-B5C6-814B-10CA-B354A90895CC}"/>
          </ac:spMkLst>
        </pc:spChg>
        <pc:spChg chg="add del mod ord replST">
          <ac:chgData name="Muchahary, Frankle" userId="0f2bf491-0617-4378-90b8-89af8fa381b9" providerId="ADAL" clId="{90877F19-00D2-4A00-8128-E78E36266C9A}" dt="2023-11-07T19:53:03.821" v="159078"/>
          <ac:spMkLst>
            <pc:docMk/>
            <pc:sldMk cId="708553223" sldId="317"/>
            <ac:spMk id="957" creationId="{B770C14B-7DC6-9F85-805E-B19A9BB6200E}"/>
          </ac:spMkLst>
        </pc:spChg>
        <pc:spChg chg="add del mod replST">
          <ac:chgData name="Muchahary, Frankle" userId="0f2bf491-0617-4378-90b8-89af8fa381b9" providerId="ADAL" clId="{90877F19-00D2-4A00-8128-E78E36266C9A}" dt="2023-11-07T19:53:03.829" v="159093"/>
          <ac:spMkLst>
            <pc:docMk/>
            <pc:sldMk cId="708553223" sldId="317"/>
            <ac:spMk id="958" creationId="{84B46850-4E33-95EB-3E19-225945F4E124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8" creationId="{C67915B9-AA10-1FC0-6F80-1FF424642F44}"/>
          </ac:spMkLst>
        </pc:spChg>
        <pc:spChg chg="add del mod ord replST">
          <ac:chgData name="Muchahary, Frankle" userId="0f2bf491-0617-4378-90b8-89af8fa381b9" providerId="ADAL" clId="{90877F19-00D2-4A00-8128-E78E36266C9A}" dt="2023-11-07T19:53:03.837" v="159106"/>
          <ac:spMkLst>
            <pc:docMk/>
            <pc:sldMk cId="708553223" sldId="317"/>
            <ac:spMk id="959" creationId="{52496566-B507-FB02-6C43-7378DA675DC5}"/>
          </ac:spMkLst>
        </pc:spChg>
        <pc:spChg chg="add mod replST delST">
          <ac:chgData name="Muchahary, Frankle" userId="0f2bf491-0617-4378-90b8-89af8fa381b9" providerId="ADAL" clId="{90877F19-00D2-4A00-8128-E78E36266C9A}" dt="2023-11-04T18:58:37.462" v="54387"/>
          <ac:spMkLst>
            <pc:docMk/>
            <pc:sldMk cId="708553223" sldId="317"/>
            <ac:spMk id="959" creationId="{E436988D-8650-650C-47FE-79604E3F6899}"/>
          </ac:spMkLst>
        </pc:spChg>
        <pc:spChg chg="add del mod ord replST">
          <ac:chgData name="Muchahary, Frankle" userId="0f2bf491-0617-4378-90b8-89af8fa381b9" providerId="ADAL" clId="{90877F19-00D2-4A00-8128-E78E36266C9A}" dt="2023-11-07T19:53:03.847" v="159122"/>
          <ac:spMkLst>
            <pc:docMk/>
            <pc:sldMk cId="708553223" sldId="317"/>
            <ac:spMk id="960" creationId="{4878A9D8-A295-6157-968A-9EDD84B20860}"/>
          </ac:spMkLst>
        </pc:spChg>
        <pc:spChg chg="add del mod replST">
          <ac:chgData name="Muchahary, Frankle" userId="0f2bf491-0617-4378-90b8-89af8fa381b9" providerId="ADAL" clId="{90877F19-00D2-4A00-8128-E78E36266C9A}" dt="2023-11-04T20:32:34.751" v="118216"/>
          <ac:spMkLst>
            <pc:docMk/>
            <pc:sldMk cId="708553223" sldId="317"/>
            <ac:spMk id="960" creationId="{6F623FB6-2B04-E624-777C-1AA48A327A5D}"/>
          </ac:spMkLst>
        </pc:spChg>
        <pc:spChg chg="add del mod replST">
          <ac:chgData name="Muchahary, Frankle" userId="0f2bf491-0617-4378-90b8-89af8fa381b9" providerId="ADAL" clId="{90877F19-00D2-4A00-8128-E78E36266C9A}" dt="2023-11-07T19:53:03.856" v="159137"/>
          <ac:spMkLst>
            <pc:docMk/>
            <pc:sldMk cId="708553223" sldId="317"/>
            <ac:spMk id="962" creationId="{E93CA1CB-4BFF-0480-D522-7AE62B0B56FB}"/>
          </ac:spMkLst>
        </pc:spChg>
        <pc:spChg chg="add del mod modVis">
          <ac:chgData name="Muchahary, Frankle" userId="0f2bf491-0617-4378-90b8-89af8fa381b9" providerId="ADAL" clId="{90877F19-00D2-4A00-8128-E78E36266C9A}" dt="2023-11-05T18:18:40.998" v="150981"/>
          <ac:spMkLst>
            <pc:docMk/>
            <pc:sldMk cId="708553223" sldId="317"/>
            <ac:spMk id="967" creationId="{A2051B7B-36A6-7A3C-4744-B58B9A9EF4FD}"/>
          </ac:spMkLst>
        </pc:spChg>
        <pc:spChg chg="add mod ord rep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75" creationId="{90A7E631-F210-F542-E96C-AADDFE73A094}"/>
          </ac:spMkLst>
        </pc:spChg>
        <pc:spChg chg="add mod rep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76" creationId="{86BDECC4-8E13-F3BE-1D2A-495A8F2357A3}"/>
          </ac:spMkLst>
        </pc:spChg>
        <pc:spChg chg="add del mod modVis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77" creationId="{2CDF391E-491A-F21D-1C74-2D43E65E1C2B}"/>
          </ac:spMkLst>
        </pc:spChg>
        <pc:spChg chg="add mod or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78" creationId="{8B9E6F5E-A7CA-9E05-6BA0-60CD88C69736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79" creationId="{31864CBF-6061-255A-CEFC-EA85527AE1EB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0" creationId="{3C0BBB8C-F1E0-C469-E920-DC503BF5AB80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1" creationId="{411B0FDD-C1A9-5A23-2F03-F36428FFA442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2" creationId="{3CAFD99C-D585-ECCC-CBFD-A72F5A597489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3" creationId="{C12CA5AB-72CD-6203-2AFC-D3C1A3C58DDA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4" creationId="{4174B5F4-E761-1929-9990-BD733414C5C7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5" creationId="{7628FCC2-2CDE-CD4F-61AF-9CCC63056816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6" creationId="{207BA31E-93B2-69F0-B90F-9F5C48953C37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7" creationId="{56253DCC-6AE9-3497-A8DE-59935166E72F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8" creationId="{87A72191-C5E5-3244-48EC-7BF90A4D20D0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89" creationId="{FEF4861A-5E2F-1754-5B99-9574C7DAB547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90" creationId="{05433AB8-51F7-C1AF-9778-B2E1CBFA4D85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91" creationId="{F809AB02-0FC9-4587-263D-F1F360911512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92" creationId="{EDB2CD46-AEE8-83AB-72AD-CDAC469C9263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93" creationId="{EDF7A759-9829-28B8-BA97-D7CB6FDDCB8C}"/>
          </ac:spMkLst>
        </pc:spChg>
        <pc:spChg chg="add mod replST delST">
          <ac:chgData name="Muchahary, Frankle" userId="0f2bf491-0617-4378-90b8-89af8fa381b9" providerId="ADAL" clId="{90877F19-00D2-4A00-8128-E78E36266C9A}" dt="2023-11-04T19:59:34.012" v="74159"/>
          <ac:spMkLst>
            <pc:docMk/>
            <pc:sldMk cId="708553223" sldId="317"/>
            <ac:spMk id="994" creationId="{EC84E712-7F26-F569-0B60-5108E6644FCF}"/>
          </ac:spMkLst>
        </pc:spChg>
        <pc:spChg chg="add del mod modVis">
          <ac:chgData name="Muchahary, Frankle" userId="0f2bf491-0617-4378-90b8-89af8fa381b9" providerId="ADAL" clId="{90877F19-00D2-4A00-8128-E78E36266C9A}" dt="2023-11-04T19:59:37.131" v="75035"/>
          <ac:spMkLst>
            <pc:docMk/>
            <pc:sldMk cId="708553223" sldId="317"/>
            <ac:spMk id="1012" creationId="{C9EE1FE0-357E-181C-04D9-7B33113AF90B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10" v="75768"/>
          <ac:spMkLst>
            <pc:docMk/>
            <pc:sldMk cId="708553223" sldId="317"/>
            <ac:spMk id="1013" creationId="{8B2EFF74-4D41-868C-2C70-786FDEF4FF08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19" v="75784"/>
          <ac:spMkLst>
            <pc:docMk/>
            <pc:sldMk cId="708553223" sldId="317"/>
            <ac:spMk id="1014" creationId="{E50C833C-D335-F08A-2B08-C7F9CDCB5BE3}"/>
          </ac:spMkLst>
        </pc:spChg>
        <pc:spChg chg="add del mod replST">
          <ac:chgData name="Muchahary, Frankle" userId="0f2bf491-0617-4378-90b8-89af8fa381b9" providerId="ADAL" clId="{90877F19-00D2-4A00-8128-E78E36266C9A}" dt="2023-11-04T19:59:49.930" v="75799"/>
          <ac:spMkLst>
            <pc:docMk/>
            <pc:sldMk cId="708553223" sldId="317"/>
            <ac:spMk id="1015" creationId="{932531C9-E2A5-6045-ADA9-7E1B88899CBC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39" v="75812"/>
          <ac:spMkLst>
            <pc:docMk/>
            <pc:sldMk cId="708553223" sldId="317"/>
            <ac:spMk id="1016" creationId="{7C82D147-B33E-2D20-667E-ED4067D87DD4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50" v="75828"/>
          <ac:spMkLst>
            <pc:docMk/>
            <pc:sldMk cId="708553223" sldId="317"/>
            <ac:spMk id="1017" creationId="{155A066A-D37B-A81E-E6E0-7F3701044B95}"/>
          </ac:spMkLst>
        </pc:spChg>
        <pc:spChg chg="add del mod replST">
          <ac:chgData name="Muchahary, Frankle" userId="0f2bf491-0617-4378-90b8-89af8fa381b9" providerId="ADAL" clId="{90877F19-00D2-4A00-8128-E78E36266C9A}" dt="2023-11-04T19:59:49.961" v="75843"/>
          <ac:spMkLst>
            <pc:docMk/>
            <pc:sldMk cId="708553223" sldId="317"/>
            <ac:spMk id="1018" creationId="{18801B6B-F570-68AC-1EAC-5A3D959D3F29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68" v="75856"/>
          <ac:spMkLst>
            <pc:docMk/>
            <pc:sldMk cId="708553223" sldId="317"/>
            <ac:spMk id="1019" creationId="{C0599F26-E0BF-4444-3C6D-CC1AF10C3422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79" v="75872"/>
          <ac:spMkLst>
            <pc:docMk/>
            <pc:sldMk cId="708553223" sldId="317"/>
            <ac:spMk id="1020" creationId="{9B83BF66-841C-335D-07E5-4D72C36016B8}"/>
          </ac:spMkLst>
        </pc:spChg>
        <pc:spChg chg="add del mod replST">
          <ac:chgData name="Muchahary, Frankle" userId="0f2bf491-0617-4378-90b8-89af8fa381b9" providerId="ADAL" clId="{90877F19-00D2-4A00-8128-E78E36266C9A}" dt="2023-11-04T19:59:49.991" v="75887"/>
          <ac:spMkLst>
            <pc:docMk/>
            <pc:sldMk cId="708553223" sldId="317"/>
            <ac:spMk id="1021" creationId="{DE9442A0-9728-E6D6-F943-3A69B7A7190E}"/>
          </ac:spMkLst>
        </pc:spChg>
        <pc:spChg chg="add del mod ord replST">
          <ac:chgData name="Muchahary, Frankle" userId="0f2bf491-0617-4378-90b8-89af8fa381b9" providerId="ADAL" clId="{90877F19-00D2-4A00-8128-E78E36266C9A}" dt="2023-11-04T19:59:49.998" v="75900"/>
          <ac:spMkLst>
            <pc:docMk/>
            <pc:sldMk cId="708553223" sldId="317"/>
            <ac:spMk id="1022" creationId="{7DBF206A-76E6-9599-E844-31AA4BB21159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06" v="75916"/>
          <ac:spMkLst>
            <pc:docMk/>
            <pc:sldMk cId="708553223" sldId="317"/>
            <ac:spMk id="1023" creationId="{3F1F6E72-B33C-F656-12BC-FE90FC798C38}"/>
          </ac:spMkLst>
        </pc:spChg>
        <pc:spChg chg="add del mod replST">
          <ac:chgData name="Muchahary, Frankle" userId="0f2bf491-0617-4378-90b8-89af8fa381b9" providerId="ADAL" clId="{90877F19-00D2-4A00-8128-E78E36266C9A}" dt="2023-11-04T19:59:50.015" v="75931"/>
          <ac:spMkLst>
            <pc:docMk/>
            <pc:sldMk cId="708553223" sldId="317"/>
            <ac:spMk id="1024" creationId="{470B067D-9D9A-206A-7B29-3F1A88A6AECB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22" v="75944"/>
          <ac:spMkLst>
            <pc:docMk/>
            <pc:sldMk cId="708553223" sldId="317"/>
            <ac:spMk id="1025" creationId="{DFD302F1-195E-8DD5-9FFB-0058EB88DE2F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32" v="75960"/>
          <ac:spMkLst>
            <pc:docMk/>
            <pc:sldMk cId="708553223" sldId="317"/>
            <ac:spMk id="1026" creationId="{C3896CEC-FD92-B4AD-0ADF-4430FB393FF7}"/>
          </ac:spMkLst>
        </pc:spChg>
        <pc:spChg chg="add del mod replST">
          <ac:chgData name="Muchahary, Frankle" userId="0f2bf491-0617-4378-90b8-89af8fa381b9" providerId="ADAL" clId="{90877F19-00D2-4A00-8128-E78E36266C9A}" dt="2023-11-04T19:59:50.042" v="75975"/>
          <ac:spMkLst>
            <pc:docMk/>
            <pc:sldMk cId="708553223" sldId="317"/>
            <ac:spMk id="1027" creationId="{372BFA44-737B-A944-02C2-352D6E688B21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49" v="75988"/>
          <ac:spMkLst>
            <pc:docMk/>
            <pc:sldMk cId="708553223" sldId="317"/>
            <ac:spMk id="1028" creationId="{CFCAB088-2B67-7E0B-9D6E-C01F0491B503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59" v="76004"/>
          <ac:spMkLst>
            <pc:docMk/>
            <pc:sldMk cId="708553223" sldId="317"/>
            <ac:spMk id="1029" creationId="{38F4670C-C6EB-9A1C-FF44-EAAB52AC5716}"/>
          </ac:spMkLst>
        </pc:spChg>
        <pc:spChg chg="add del mod replST">
          <ac:chgData name="Muchahary, Frankle" userId="0f2bf491-0617-4378-90b8-89af8fa381b9" providerId="ADAL" clId="{90877F19-00D2-4A00-8128-E78E36266C9A}" dt="2023-11-04T19:59:50.068" v="76019"/>
          <ac:spMkLst>
            <pc:docMk/>
            <pc:sldMk cId="708553223" sldId="317"/>
            <ac:spMk id="1030" creationId="{05A935CF-CDA2-C033-D5A9-54B7A6B6546D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76" v="76032"/>
          <ac:spMkLst>
            <pc:docMk/>
            <pc:sldMk cId="708553223" sldId="317"/>
            <ac:spMk id="1031" creationId="{918D2D99-994F-6114-CB2E-F33C4E5C11CB}"/>
          </ac:spMkLst>
        </pc:spChg>
        <pc:spChg chg="add del mod ord replST">
          <ac:chgData name="Muchahary, Frankle" userId="0f2bf491-0617-4378-90b8-89af8fa381b9" providerId="ADAL" clId="{90877F19-00D2-4A00-8128-E78E36266C9A}" dt="2023-11-04T19:59:50.085" v="76048"/>
          <ac:spMkLst>
            <pc:docMk/>
            <pc:sldMk cId="708553223" sldId="317"/>
            <ac:spMk id="1032" creationId="{0BFBDC2F-AC77-4B96-A3F8-467637488F69}"/>
          </ac:spMkLst>
        </pc:spChg>
        <pc:spChg chg="add del mod replST">
          <ac:chgData name="Muchahary, Frankle" userId="0f2bf491-0617-4378-90b8-89af8fa381b9" providerId="ADAL" clId="{90877F19-00D2-4A00-8128-E78E36266C9A}" dt="2023-11-04T19:59:50.093" v="76063"/>
          <ac:spMkLst>
            <pc:docMk/>
            <pc:sldMk cId="708553223" sldId="317"/>
            <ac:spMk id="1033" creationId="{E30C4035-7A03-3955-AACC-854F4053D929}"/>
          </ac:spMkLst>
        </pc:spChg>
        <pc:spChg chg="add del mod ord replST">
          <ac:chgData name="Muchahary, Frankle" userId="0f2bf491-0617-4378-90b8-89af8fa381b9" providerId="ADAL" clId="{90877F19-00D2-4A00-8128-E78E36266C9A}" dt="2023-11-04T19:59:50.100" v="76076"/>
          <ac:spMkLst>
            <pc:docMk/>
            <pc:sldMk cId="708553223" sldId="317"/>
            <ac:spMk id="1034" creationId="{8FD13ABD-27E0-D345-EFA6-122711E5AB52}"/>
          </ac:spMkLst>
        </pc:spChg>
        <pc:spChg chg="add del mod ord replST">
          <ac:chgData name="Muchahary, Frankle" userId="0f2bf491-0617-4378-90b8-89af8fa381b9" providerId="ADAL" clId="{90877F19-00D2-4A00-8128-E78E36266C9A}" dt="2023-11-04T19:59:50.111" v="76092"/>
          <ac:spMkLst>
            <pc:docMk/>
            <pc:sldMk cId="708553223" sldId="317"/>
            <ac:spMk id="1035" creationId="{55131533-F2C6-F085-A034-6609C9DE4F53}"/>
          </ac:spMkLst>
        </pc:spChg>
        <pc:spChg chg="add del mod replST">
          <ac:chgData name="Muchahary, Frankle" userId="0f2bf491-0617-4378-90b8-89af8fa381b9" providerId="ADAL" clId="{90877F19-00D2-4A00-8128-E78E36266C9A}" dt="2023-11-04T19:59:50.122" v="76107"/>
          <ac:spMkLst>
            <pc:docMk/>
            <pc:sldMk cId="708553223" sldId="317"/>
            <ac:spMk id="1036" creationId="{FFD0A2C8-6E5B-9B4A-946B-744E377F34D3}"/>
          </ac:spMkLst>
        </pc:spChg>
        <pc:spChg chg="add del mod modVis">
          <ac:chgData name="Muchahary, Frankle" userId="0f2bf491-0617-4378-90b8-89af8fa381b9" providerId="ADAL" clId="{90877F19-00D2-4A00-8128-E78E36266C9A}" dt="2023-11-04T19:59:42.697" v="75717"/>
          <ac:spMkLst>
            <pc:docMk/>
            <pc:sldMk cId="708553223" sldId="317"/>
            <ac:spMk id="1038" creationId="{036AF247-7714-501D-ED54-296DD795EE1F}"/>
          </ac:spMkLst>
        </pc:spChg>
        <pc:spChg chg="add del mod modVis">
          <ac:chgData name="Muchahary, Frankle" userId="0f2bf491-0617-4378-90b8-89af8fa381b9" providerId="ADAL" clId="{90877F19-00D2-4A00-8128-E78E36266C9A}" dt="2023-11-04T19:59:42.697" v="75717"/>
          <ac:spMkLst>
            <pc:docMk/>
            <pc:sldMk cId="708553223" sldId="317"/>
            <ac:spMk id="1040" creationId="{52DBE900-3D5F-9B45-A273-709D93227CD4}"/>
          </ac:spMkLst>
        </pc:spChg>
        <pc:spChg chg="add del mod modVis">
          <ac:chgData name="Muchahary, Frankle" userId="0f2bf491-0617-4378-90b8-89af8fa381b9" providerId="ADAL" clId="{90877F19-00D2-4A00-8128-E78E36266C9A}" dt="2023-11-04T19:59:50.618" v="76593"/>
          <ac:spMkLst>
            <pc:docMk/>
            <pc:sldMk cId="708553223" sldId="317"/>
            <ac:spMk id="1042" creationId="{C62ADFC5-10DE-216E-56B3-721305EEF02D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05" v="83192"/>
          <ac:spMkLst>
            <pc:docMk/>
            <pc:sldMk cId="708553223" sldId="317"/>
            <ac:spMk id="1043" creationId="{FF218E6C-606D-835F-B5FC-45A76C82458B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14" v="83208"/>
          <ac:spMkLst>
            <pc:docMk/>
            <pc:sldMk cId="708553223" sldId="317"/>
            <ac:spMk id="1044" creationId="{8BA75D6B-81E1-81CE-7A00-2B86A03BF997}"/>
          </ac:spMkLst>
        </pc:spChg>
        <pc:spChg chg="add del mod replST">
          <ac:chgData name="Muchahary, Frankle" userId="0f2bf491-0617-4378-90b8-89af8fa381b9" providerId="ADAL" clId="{90877F19-00D2-4A00-8128-E78E36266C9A}" dt="2023-11-04T20:04:57.522" v="83223"/>
          <ac:spMkLst>
            <pc:docMk/>
            <pc:sldMk cId="708553223" sldId="317"/>
            <ac:spMk id="1045" creationId="{A19F6254-C1EB-1790-E164-21B998BCB3A4}"/>
          </ac:spMkLst>
        </pc:spChg>
        <pc:spChg chg="add del mod ord replST">
          <ac:chgData name="Muchahary, Frankle" userId="0f2bf491-0617-4378-90b8-89af8fa381b9" providerId="ADAL" clId="{90877F19-00D2-4A00-8128-E78E36266C9A}" dt="2023-11-04T20:00:16.081" v="77312"/>
          <ac:spMkLst>
            <pc:docMk/>
            <pc:sldMk cId="708553223" sldId="317"/>
            <ac:spMk id="1046" creationId="{28D024A0-5051-494A-B03E-7ECC73D595BC}"/>
          </ac:spMkLst>
        </pc:spChg>
        <pc:spChg chg="add del mod ord replST">
          <ac:chgData name="Muchahary, Frankle" userId="0f2bf491-0617-4378-90b8-89af8fa381b9" providerId="ADAL" clId="{90877F19-00D2-4A00-8128-E78E36266C9A}" dt="2023-11-04T20:00:16.090" v="77328"/>
          <ac:spMkLst>
            <pc:docMk/>
            <pc:sldMk cId="708553223" sldId="317"/>
            <ac:spMk id="1047" creationId="{F2347458-D8C4-0CCA-AEC5-64E50DCEF552}"/>
          </ac:spMkLst>
        </pc:spChg>
        <pc:spChg chg="add del mod replST">
          <ac:chgData name="Muchahary, Frankle" userId="0f2bf491-0617-4378-90b8-89af8fa381b9" providerId="ADAL" clId="{90877F19-00D2-4A00-8128-E78E36266C9A}" dt="2023-11-04T20:00:16.098" v="77343"/>
          <ac:spMkLst>
            <pc:docMk/>
            <pc:sldMk cId="708553223" sldId="317"/>
            <ac:spMk id="1048" creationId="{4318DC82-B32E-6B8A-A6C4-80BEE6C074EE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05" v="77356"/>
          <ac:spMkLst>
            <pc:docMk/>
            <pc:sldMk cId="708553223" sldId="317"/>
            <ac:spMk id="1049" creationId="{0A09094D-BFBC-A96C-7C69-B0FEE9652771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13" v="77372"/>
          <ac:spMkLst>
            <pc:docMk/>
            <pc:sldMk cId="708553223" sldId="317"/>
            <ac:spMk id="1050" creationId="{1392BD28-D69F-9F98-CE0E-B2D4572D2CEB}"/>
          </ac:spMkLst>
        </pc:spChg>
        <pc:spChg chg="add del mod replST">
          <ac:chgData name="Muchahary, Frankle" userId="0f2bf491-0617-4378-90b8-89af8fa381b9" providerId="ADAL" clId="{90877F19-00D2-4A00-8128-E78E36266C9A}" dt="2023-11-04T20:00:16.121" v="77387"/>
          <ac:spMkLst>
            <pc:docMk/>
            <pc:sldMk cId="708553223" sldId="317"/>
            <ac:spMk id="1051" creationId="{A0DEE21A-BD2B-4899-E43C-053BBACEE731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28" v="77400"/>
          <ac:spMkLst>
            <pc:docMk/>
            <pc:sldMk cId="708553223" sldId="317"/>
            <ac:spMk id="1052" creationId="{DD99CAAE-B487-62ED-1A4B-9FE516DBAED6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37" v="77416"/>
          <ac:spMkLst>
            <pc:docMk/>
            <pc:sldMk cId="708553223" sldId="317"/>
            <ac:spMk id="1053" creationId="{0143210C-892C-98E6-6E1F-BF41D990961B}"/>
          </ac:spMkLst>
        </pc:spChg>
        <pc:spChg chg="add del mod replST">
          <ac:chgData name="Muchahary, Frankle" userId="0f2bf491-0617-4378-90b8-89af8fa381b9" providerId="ADAL" clId="{90877F19-00D2-4A00-8128-E78E36266C9A}" dt="2023-11-04T20:00:16.145" v="77431"/>
          <ac:spMkLst>
            <pc:docMk/>
            <pc:sldMk cId="708553223" sldId="317"/>
            <ac:spMk id="1054" creationId="{304C5F79-E7C1-2C7E-0D5C-DAC6928C95E6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02" v="83368"/>
          <ac:spMkLst>
            <pc:docMk/>
            <pc:sldMk cId="708553223" sldId="317"/>
            <ac:spMk id="1055" creationId="{2A0ED760-EFFF-B548-9D9F-80C745625FBB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12" v="83384"/>
          <ac:spMkLst>
            <pc:docMk/>
            <pc:sldMk cId="708553223" sldId="317"/>
            <ac:spMk id="1056" creationId="{73E80DDB-9839-2769-C414-9F0720B083E3}"/>
          </ac:spMkLst>
        </pc:spChg>
        <pc:spChg chg="add del mod replST">
          <ac:chgData name="Muchahary, Frankle" userId="0f2bf491-0617-4378-90b8-89af8fa381b9" providerId="ADAL" clId="{90877F19-00D2-4A00-8128-E78E36266C9A}" dt="2023-11-04T20:04:57.620" v="83399"/>
          <ac:spMkLst>
            <pc:docMk/>
            <pc:sldMk cId="708553223" sldId="317"/>
            <ac:spMk id="1057" creationId="{80CEDA8A-D1FE-2C51-D972-5F4FB452F534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56" v="77454"/>
          <ac:spMkLst>
            <pc:docMk/>
            <pc:sldMk cId="708553223" sldId="317"/>
            <ac:spMk id="1058" creationId="{389B8B1D-26C8-F269-5F8A-C0B6946FEE27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66" v="77470"/>
          <ac:spMkLst>
            <pc:docMk/>
            <pc:sldMk cId="708553223" sldId="317"/>
            <ac:spMk id="1059" creationId="{22D5E57C-C831-29F5-0A82-D0D2C8F72304}"/>
          </ac:spMkLst>
        </pc:spChg>
        <pc:spChg chg="add del mod replST">
          <ac:chgData name="Muchahary, Frankle" userId="0f2bf491-0617-4378-90b8-89af8fa381b9" providerId="ADAL" clId="{90877F19-00D2-4A00-8128-E78E36266C9A}" dt="2023-11-04T20:00:16.175" v="77485"/>
          <ac:spMkLst>
            <pc:docMk/>
            <pc:sldMk cId="708553223" sldId="317"/>
            <ac:spMk id="1060" creationId="{6CFD6C63-98C1-57C3-369A-7C030A97276E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81" v="77498"/>
          <ac:spMkLst>
            <pc:docMk/>
            <pc:sldMk cId="708553223" sldId="317"/>
            <ac:spMk id="1061" creationId="{1788C99C-09A4-A590-674B-3D33B45332FD}"/>
          </ac:spMkLst>
        </pc:spChg>
        <pc:spChg chg="add del mod ord replST">
          <ac:chgData name="Muchahary, Frankle" userId="0f2bf491-0617-4378-90b8-89af8fa381b9" providerId="ADAL" clId="{90877F19-00D2-4A00-8128-E78E36266C9A}" dt="2023-11-04T20:00:16.191" v="77514"/>
          <ac:spMkLst>
            <pc:docMk/>
            <pc:sldMk cId="708553223" sldId="317"/>
            <ac:spMk id="1062" creationId="{2D32AE63-C20B-9233-6C3F-30DB4C0BC5BA}"/>
          </ac:spMkLst>
        </pc:spChg>
        <pc:spChg chg="add del mod replST">
          <ac:chgData name="Muchahary, Frankle" userId="0f2bf491-0617-4378-90b8-89af8fa381b9" providerId="ADAL" clId="{90877F19-00D2-4A00-8128-E78E36266C9A}" dt="2023-11-04T20:00:16.199" v="77529"/>
          <ac:spMkLst>
            <pc:docMk/>
            <pc:sldMk cId="708553223" sldId="317"/>
            <ac:spMk id="1063" creationId="{8062717C-6455-2FF9-B42A-E33B42671390}"/>
          </ac:spMkLst>
        </pc:spChg>
        <pc:spChg chg="add del mod ord replST">
          <ac:chgData name="Muchahary, Frankle" userId="0f2bf491-0617-4378-90b8-89af8fa381b9" providerId="ADAL" clId="{90877F19-00D2-4A00-8128-E78E36266C9A}" dt="2023-11-04T20:00:16.205" v="77542"/>
          <ac:spMkLst>
            <pc:docMk/>
            <pc:sldMk cId="708553223" sldId="317"/>
            <ac:spMk id="1064" creationId="{372D0E05-A755-B9A3-0F91-3709F94DA4B3}"/>
          </ac:spMkLst>
        </pc:spChg>
        <pc:spChg chg="add del mod ord replST">
          <ac:chgData name="Muchahary, Frankle" userId="0f2bf491-0617-4378-90b8-89af8fa381b9" providerId="ADAL" clId="{90877F19-00D2-4A00-8128-E78E36266C9A}" dt="2023-11-04T20:00:16.213" v="77558"/>
          <ac:spMkLst>
            <pc:docMk/>
            <pc:sldMk cId="708553223" sldId="317"/>
            <ac:spMk id="1065" creationId="{A58F0043-34F6-76A1-1709-DFF9FD1A9EDD}"/>
          </ac:spMkLst>
        </pc:spChg>
        <pc:spChg chg="add del mod replST">
          <ac:chgData name="Muchahary, Frankle" userId="0f2bf491-0617-4378-90b8-89af8fa381b9" providerId="ADAL" clId="{90877F19-00D2-4A00-8128-E78E36266C9A}" dt="2023-11-04T20:00:16.222" v="77573"/>
          <ac:spMkLst>
            <pc:docMk/>
            <pc:sldMk cId="708553223" sldId="317"/>
            <ac:spMk id="1066" creationId="{38BF4108-05D4-594E-00C1-FC98026C4296}"/>
          </ac:spMkLst>
        </pc:spChg>
        <pc:spChg chg="add del mod modVis">
          <ac:chgData name="Muchahary, Frankle" userId="0f2bf491-0617-4378-90b8-89af8fa381b9" providerId="ADAL" clId="{90877F19-00D2-4A00-8128-E78E36266C9A}" dt="2023-11-04T20:00:07.251" v="76832"/>
          <ac:spMkLst>
            <pc:docMk/>
            <pc:sldMk cId="708553223" sldId="317"/>
            <ac:spMk id="1068" creationId="{F3B8D6C7-A342-9F7A-7C67-118D6ADF6360}"/>
          </ac:spMkLst>
        </pc:spChg>
        <pc:spChg chg="add del mod modVis">
          <ac:chgData name="Muchahary, Frankle" userId="0f2bf491-0617-4378-90b8-89af8fa381b9" providerId="ADAL" clId="{90877F19-00D2-4A00-8128-E78E36266C9A}" dt="2023-11-04T20:00:11.722" v="77256"/>
          <ac:spMkLst>
            <pc:docMk/>
            <pc:sldMk cId="708553223" sldId="317"/>
            <ac:spMk id="1070" creationId="{70C11B06-3C25-9371-2E22-9088D30BD67D}"/>
          </ac:spMkLst>
        </pc:spChg>
        <pc:spChg chg="add del mod modVis">
          <ac:chgData name="Muchahary, Frankle" userId="0f2bf491-0617-4378-90b8-89af8fa381b9" providerId="ADAL" clId="{90877F19-00D2-4A00-8128-E78E36266C9A}" dt="2023-11-04T20:00:16.435" v="77994"/>
          <ac:spMkLst>
            <pc:docMk/>
            <pc:sldMk cId="708553223" sldId="317"/>
            <ac:spMk id="1072" creationId="{D3F70EEF-F77C-56D1-B1B8-A56BD3550AE1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12" v="78050"/>
          <ac:spMkLst>
            <pc:docMk/>
            <pc:sldMk cId="708553223" sldId="317"/>
            <ac:spMk id="1073" creationId="{9F02CB83-35F0-9D14-9431-7924B106F4E6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21" v="78066"/>
          <ac:spMkLst>
            <pc:docMk/>
            <pc:sldMk cId="708553223" sldId="317"/>
            <ac:spMk id="1074" creationId="{3110C082-890A-D73A-9DE5-04DC50385567}"/>
          </ac:spMkLst>
        </pc:spChg>
        <pc:spChg chg="add del mod replST">
          <ac:chgData name="Muchahary, Frankle" userId="0f2bf491-0617-4378-90b8-89af8fa381b9" providerId="ADAL" clId="{90877F19-00D2-4A00-8128-E78E36266C9A}" dt="2023-11-04T20:00:18.029" v="78081"/>
          <ac:spMkLst>
            <pc:docMk/>
            <pc:sldMk cId="708553223" sldId="317"/>
            <ac:spMk id="1075" creationId="{33687605-976D-B5B9-A4DF-2A7710E52141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37" v="78094"/>
          <ac:spMkLst>
            <pc:docMk/>
            <pc:sldMk cId="708553223" sldId="317"/>
            <ac:spMk id="1076" creationId="{8099916F-886B-558B-2969-A8680504DB89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45" v="78110"/>
          <ac:spMkLst>
            <pc:docMk/>
            <pc:sldMk cId="708553223" sldId="317"/>
            <ac:spMk id="1077" creationId="{175DB332-9F1C-BA15-94D7-DD607F18CE7F}"/>
          </ac:spMkLst>
        </pc:spChg>
        <pc:spChg chg="add del mod replST">
          <ac:chgData name="Muchahary, Frankle" userId="0f2bf491-0617-4378-90b8-89af8fa381b9" providerId="ADAL" clId="{90877F19-00D2-4A00-8128-E78E36266C9A}" dt="2023-11-04T20:00:18.054" v="78125"/>
          <ac:spMkLst>
            <pc:docMk/>
            <pc:sldMk cId="708553223" sldId="317"/>
            <ac:spMk id="1078" creationId="{F98AA92D-751B-5F9A-F8B8-2E14CB258C49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61" v="78138"/>
          <ac:spMkLst>
            <pc:docMk/>
            <pc:sldMk cId="708553223" sldId="317"/>
            <ac:spMk id="1079" creationId="{676A0AF1-33F1-A3F2-4959-AA930AD73BF2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69" v="78154"/>
          <ac:spMkLst>
            <pc:docMk/>
            <pc:sldMk cId="708553223" sldId="317"/>
            <ac:spMk id="1080" creationId="{95415156-B472-845F-CDED-9AFBF35E36EF}"/>
          </ac:spMkLst>
        </pc:spChg>
        <pc:spChg chg="add del mod replST">
          <ac:chgData name="Muchahary, Frankle" userId="0f2bf491-0617-4378-90b8-89af8fa381b9" providerId="ADAL" clId="{90877F19-00D2-4A00-8128-E78E36266C9A}" dt="2023-11-04T20:00:18.077" v="78169"/>
          <ac:spMkLst>
            <pc:docMk/>
            <pc:sldMk cId="708553223" sldId="317"/>
            <ac:spMk id="1081" creationId="{5B420F23-B487-B54A-BC18-F5212769FB8A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88" v="78192"/>
          <ac:spMkLst>
            <pc:docMk/>
            <pc:sldMk cId="708553223" sldId="317"/>
            <ac:spMk id="1082" creationId="{D8759764-B769-956A-0E3B-A504C2B0BBB1}"/>
          </ac:spMkLst>
        </pc:spChg>
        <pc:spChg chg="add del mod ord replST">
          <ac:chgData name="Muchahary, Frankle" userId="0f2bf491-0617-4378-90b8-89af8fa381b9" providerId="ADAL" clId="{90877F19-00D2-4A00-8128-E78E36266C9A}" dt="2023-11-04T20:00:18.099" v="78208"/>
          <ac:spMkLst>
            <pc:docMk/>
            <pc:sldMk cId="708553223" sldId="317"/>
            <ac:spMk id="1083" creationId="{D1AC1D48-13CF-82AE-4D77-8CBFCA335C9E}"/>
          </ac:spMkLst>
        </pc:spChg>
        <pc:spChg chg="add del mod replST">
          <ac:chgData name="Muchahary, Frankle" userId="0f2bf491-0617-4378-90b8-89af8fa381b9" providerId="ADAL" clId="{90877F19-00D2-4A00-8128-E78E36266C9A}" dt="2023-11-04T20:00:18.109" v="78223"/>
          <ac:spMkLst>
            <pc:docMk/>
            <pc:sldMk cId="708553223" sldId="317"/>
            <ac:spMk id="1084" creationId="{45188E7C-00D8-0CC8-5185-0324D024F96E}"/>
          </ac:spMkLst>
        </pc:spChg>
        <pc:spChg chg="add del mod ord replST">
          <ac:chgData name="Muchahary, Frankle" userId="0f2bf491-0617-4378-90b8-89af8fa381b9" providerId="ADAL" clId="{90877F19-00D2-4A00-8128-E78E36266C9A}" dt="2023-11-04T20:00:18.117" v="78236"/>
          <ac:spMkLst>
            <pc:docMk/>
            <pc:sldMk cId="708553223" sldId="317"/>
            <ac:spMk id="1085" creationId="{EEE17D42-F2A7-62A2-7925-707ABC5A994B}"/>
          </ac:spMkLst>
        </pc:spChg>
        <pc:spChg chg="add del mod ord replST">
          <ac:chgData name="Muchahary, Frankle" userId="0f2bf491-0617-4378-90b8-89af8fa381b9" providerId="ADAL" clId="{90877F19-00D2-4A00-8128-E78E36266C9A}" dt="2023-11-04T20:00:18.127" v="78252"/>
          <ac:spMkLst>
            <pc:docMk/>
            <pc:sldMk cId="708553223" sldId="317"/>
            <ac:spMk id="1086" creationId="{26176869-48A5-A5F4-1394-17D1893D4498}"/>
          </ac:spMkLst>
        </pc:spChg>
        <pc:spChg chg="add del mod replST">
          <ac:chgData name="Muchahary, Frankle" userId="0f2bf491-0617-4378-90b8-89af8fa381b9" providerId="ADAL" clId="{90877F19-00D2-4A00-8128-E78E36266C9A}" dt="2023-11-04T20:00:18.138" v="78267"/>
          <ac:spMkLst>
            <pc:docMk/>
            <pc:sldMk cId="708553223" sldId="317"/>
            <ac:spMk id="1087" creationId="{C31F450B-752D-64DA-2BC9-9342CEF02502}"/>
          </ac:spMkLst>
        </pc:spChg>
        <pc:spChg chg="add del mod ord replST">
          <ac:chgData name="Muchahary, Frankle" userId="0f2bf491-0617-4378-90b8-89af8fa381b9" providerId="ADAL" clId="{90877F19-00D2-4A00-8128-E78E36266C9A}" dt="2023-11-04T20:00:18.148" v="78280"/>
          <ac:spMkLst>
            <pc:docMk/>
            <pc:sldMk cId="708553223" sldId="317"/>
            <ac:spMk id="1088" creationId="{0F58B5C8-8DB3-B3B7-EDF1-C628ED057E9B}"/>
          </ac:spMkLst>
        </pc:spChg>
        <pc:spChg chg="add del mod ord replST">
          <ac:chgData name="Muchahary, Frankle" userId="0f2bf491-0617-4378-90b8-89af8fa381b9" providerId="ADAL" clId="{90877F19-00D2-4A00-8128-E78E36266C9A}" dt="2023-11-04T20:00:18.157" v="78296"/>
          <ac:spMkLst>
            <pc:docMk/>
            <pc:sldMk cId="708553223" sldId="317"/>
            <ac:spMk id="1089" creationId="{3C6B802B-69E1-5629-3CA4-95B68CD77018}"/>
          </ac:spMkLst>
        </pc:spChg>
        <pc:spChg chg="add del mod replST">
          <ac:chgData name="Muchahary, Frankle" userId="0f2bf491-0617-4378-90b8-89af8fa381b9" providerId="ADAL" clId="{90877F19-00D2-4A00-8128-E78E36266C9A}" dt="2023-11-04T20:00:18.164" v="78311"/>
          <ac:spMkLst>
            <pc:docMk/>
            <pc:sldMk cId="708553223" sldId="317"/>
            <ac:spMk id="1090" creationId="{292F9D90-A14B-793D-816C-62B3F8FE5E04}"/>
          </ac:spMkLst>
        </pc:spChg>
        <pc:spChg chg="add del mod modVis">
          <ac:chgData name="Muchahary, Frankle" userId="0f2bf491-0617-4378-90b8-89af8fa381b9" providerId="ADAL" clId="{90877F19-00D2-4A00-8128-E78E36266C9A}" dt="2023-11-04T20:00:18.389" v="78714"/>
          <ac:spMkLst>
            <pc:docMk/>
            <pc:sldMk cId="708553223" sldId="317"/>
            <ac:spMk id="1092" creationId="{47331622-32A5-89DA-F51F-7C79528AE06E}"/>
          </ac:spMkLst>
        </pc:spChg>
        <pc:spChg chg="add del mod ord replST">
          <ac:chgData name="Muchahary, Frankle" userId="0f2bf491-0617-4378-90b8-89af8fa381b9" providerId="ADAL" clId="{90877F19-00D2-4A00-8128-E78E36266C9A}" dt="2023-11-04T20:02:31.984" v="80618"/>
          <ac:spMkLst>
            <pc:docMk/>
            <pc:sldMk cId="708553223" sldId="317"/>
            <ac:spMk id="1093" creationId="{B250505A-4EE4-0001-520B-8AF03F208285}"/>
          </ac:spMkLst>
        </pc:spChg>
        <pc:spChg chg="add del mod ord replST">
          <ac:chgData name="Muchahary, Frankle" userId="0f2bf491-0617-4378-90b8-89af8fa381b9" providerId="ADAL" clId="{90877F19-00D2-4A00-8128-E78E36266C9A}" dt="2023-11-04T20:02:31.992" v="80634"/>
          <ac:spMkLst>
            <pc:docMk/>
            <pc:sldMk cId="708553223" sldId="317"/>
            <ac:spMk id="1094" creationId="{B6272FE5-7B72-2D48-D741-BACFF58A7726}"/>
          </ac:spMkLst>
        </pc:spChg>
        <pc:spChg chg="add del mod replST">
          <ac:chgData name="Muchahary, Frankle" userId="0f2bf491-0617-4378-90b8-89af8fa381b9" providerId="ADAL" clId="{90877F19-00D2-4A00-8128-E78E36266C9A}" dt="2023-11-04T20:02:32" v="80649"/>
          <ac:spMkLst>
            <pc:docMk/>
            <pc:sldMk cId="708553223" sldId="317"/>
            <ac:spMk id="1095" creationId="{5A9DCDB9-0E94-B1D4-F245-1225C3F730D5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07" v="80662"/>
          <ac:spMkLst>
            <pc:docMk/>
            <pc:sldMk cId="708553223" sldId="317"/>
            <ac:spMk id="1096" creationId="{854ECB37-AB30-19F9-0547-841F48B7DEF4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15" v="80678"/>
          <ac:spMkLst>
            <pc:docMk/>
            <pc:sldMk cId="708553223" sldId="317"/>
            <ac:spMk id="1097" creationId="{6BBD7328-4A5F-EFE0-4096-C3AFC8412799}"/>
          </ac:spMkLst>
        </pc:spChg>
        <pc:spChg chg="add del mod replST">
          <ac:chgData name="Muchahary, Frankle" userId="0f2bf491-0617-4378-90b8-89af8fa381b9" providerId="ADAL" clId="{90877F19-00D2-4A00-8128-E78E36266C9A}" dt="2023-11-04T20:02:32.023" v="80693"/>
          <ac:spMkLst>
            <pc:docMk/>
            <pc:sldMk cId="708553223" sldId="317"/>
            <ac:spMk id="1098" creationId="{F8DF51CB-6A49-C718-9CA1-6D5668461A9B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29" v="80706"/>
          <ac:spMkLst>
            <pc:docMk/>
            <pc:sldMk cId="708553223" sldId="317"/>
            <ac:spMk id="1099" creationId="{F392D8E7-7A3D-2267-450A-D2853DA9C5B0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38" v="80722"/>
          <ac:spMkLst>
            <pc:docMk/>
            <pc:sldMk cId="708553223" sldId="317"/>
            <ac:spMk id="1100" creationId="{57ACF252-E94B-1367-6BB7-3AC647A4964D}"/>
          </ac:spMkLst>
        </pc:spChg>
        <pc:spChg chg="add del mod replST">
          <ac:chgData name="Muchahary, Frankle" userId="0f2bf491-0617-4378-90b8-89af8fa381b9" providerId="ADAL" clId="{90877F19-00D2-4A00-8128-E78E36266C9A}" dt="2023-11-04T20:02:32.046" v="80737"/>
          <ac:spMkLst>
            <pc:docMk/>
            <pc:sldMk cId="708553223" sldId="317"/>
            <ac:spMk id="1101" creationId="{A5F6138D-0915-0156-CC01-1E56BFBED053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56" v="80760"/>
          <ac:spMkLst>
            <pc:docMk/>
            <pc:sldMk cId="708553223" sldId="317"/>
            <ac:spMk id="1102" creationId="{4A453CE6-9454-D5A5-46D9-DEE1B95228F2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64" v="80776"/>
          <ac:spMkLst>
            <pc:docMk/>
            <pc:sldMk cId="708553223" sldId="317"/>
            <ac:spMk id="1103" creationId="{EDAA3113-EE4B-713D-4E8A-352E2B5DF139}"/>
          </ac:spMkLst>
        </pc:spChg>
        <pc:spChg chg="add del mod replST">
          <ac:chgData name="Muchahary, Frankle" userId="0f2bf491-0617-4378-90b8-89af8fa381b9" providerId="ADAL" clId="{90877F19-00D2-4A00-8128-E78E36266C9A}" dt="2023-11-04T20:02:32.072" v="80791"/>
          <ac:spMkLst>
            <pc:docMk/>
            <pc:sldMk cId="708553223" sldId="317"/>
            <ac:spMk id="1104" creationId="{973824AE-1F9D-71F4-0AE5-8D43C9F98C76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80" v="80804"/>
          <ac:spMkLst>
            <pc:docMk/>
            <pc:sldMk cId="708553223" sldId="317"/>
            <ac:spMk id="1105" creationId="{2FEFD432-040D-A5AE-0D5D-1148BD2CB5A8}"/>
          </ac:spMkLst>
        </pc:spChg>
        <pc:spChg chg="add del mod ord replST">
          <ac:chgData name="Muchahary, Frankle" userId="0f2bf491-0617-4378-90b8-89af8fa381b9" providerId="ADAL" clId="{90877F19-00D2-4A00-8128-E78E36266C9A}" dt="2023-11-04T20:02:32.088" v="80820"/>
          <ac:spMkLst>
            <pc:docMk/>
            <pc:sldMk cId="708553223" sldId="317"/>
            <ac:spMk id="1106" creationId="{B52A290A-CA66-D16E-01B9-750EBFE36ABB}"/>
          </ac:spMkLst>
        </pc:spChg>
        <pc:spChg chg="add del mod replST">
          <ac:chgData name="Muchahary, Frankle" userId="0f2bf491-0617-4378-90b8-89af8fa381b9" providerId="ADAL" clId="{90877F19-00D2-4A00-8128-E78E36266C9A}" dt="2023-11-04T20:02:32.097" v="80835"/>
          <ac:spMkLst>
            <pc:docMk/>
            <pc:sldMk cId="708553223" sldId="317"/>
            <ac:spMk id="1107" creationId="{A6F61E12-D820-C534-E587-CA5C7E2823CA}"/>
          </ac:spMkLst>
        </pc:spChg>
        <pc:spChg chg="add del mod ord replST">
          <ac:chgData name="Muchahary, Frankle" userId="0f2bf491-0617-4378-90b8-89af8fa381b9" providerId="ADAL" clId="{90877F19-00D2-4A00-8128-E78E36266C9A}" dt="2023-11-04T20:02:32.104" v="80848"/>
          <ac:spMkLst>
            <pc:docMk/>
            <pc:sldMk cId="708553223" sldId="317"/>
            <ac:spMk id="1108" creationId="{64E2B34B-D892-FCE5-CD7B-F44F3E7A73DC}"/>
          </ac:spMkLst>
        </pc:spChg>
        <pc:spChg chg="add del mod ord replST">
          <ac:chgData name="Muchahary, Frankle" userId="0f2bf491-0617-4378-90b8-89af8fa381b9" providerId="ADAL" clId="{90877F19-00D2-4A00-8128-E78E36266C9A}" dt="2023-11-04T20:02:32.113" v="80864"/>
          <ac:spMkLst>
            <pc:docMk/>
            <pc:sldMk cId="708553223" sldId="317"/>
            <ac:spMk id="1109" creationId="{F6D76C4E-0CDE-4E73-35F9-4EA10B56C4C5}"/>
          </ac:spMkLst>
        </pc:spChg>
        <pc:spChg chg="add del mod replST">
          <ac:chgData name="Muchahary, Frankle" userId="0f2bf491-0617-4378-90b8-89af8fa381b9" providerId="ADAL" clId="{90877F19-00D2-4A00-8128-E78E36266C9A}" dt="2023-11-04T20:02:32.122" v="80879"/>
          <ac:spMkLst>
            <pc:docMk/>
            <pc:sldMk cId="708553223" sldId="317"/>
            <ac:spMk id="1110" creationId="{922262A7-3013-BEEB-F817-E7B1F04B001C}"/>
          </ac:spMkLst>
        </pc:spChg>
        <pc:spChg chg="add del mod modVis">
          <ac:chgData name="Muchahary, Frankle" userId="0f2bf491-0617-4378-90b8-89af8fa381b9" providerId="ADAL" clId="{90877F19-00D2-4A00-8128-E78E36266C9A}" dt="2023-11-04T20:01:05.507" v="78951"/>
          <ac:spMkLst>
            <pc:docMk/>
            <pc:sldMk cId="708553223" sldId="317"/>
            <ac:spMk id="1112" creationId="{A317BC94-866E-16B3-A432-C88C0A882E60}"/>
          </ac:spMkLst>
        </pc:spChg>
        <pc:spChg chg="add del mod modVis">
          <ac:chgData name="Muchahary, Frankle" userId="0f2bf491-0617-4378-90b8-89af8fa381b9" providerId="ADAL" clId="{90877F19-00D2-4A00-8128-E78E36266C9A}" dt="2023-11-04T20:01:15.276" v="79186"/>
          <ac:spMkLst>
            <pc:docMk/>
            <pc:sldMk cId="708553223" sldId="317"/>
            <ac:spMk id="1114" creationId="{34A92796-798B-8FA3-3515-5ABC78B1EAF2}"/>
          </ac:spMkLst>
        </pc:spChg>
        <pc:spChg chg="add del mod modVis">
          <ac:chgData name="Muchahary, Frankle" userId="0f2bf491-0617-4378-90b8-89af8fa381b9" providerId="ADAL" clId="{90877F19-00D2-4A00-8128-E78E36266C9A}" dt="2023-11-04T20:02:07.303" v="79647"/>
          <ac:spMkLst>
            <pc:docMk/>
            <pc:sldMk cId="708553223" sldId="317"/>
            <ac:spMk id="1117" creationId="{1473E939-3ABD-50AF-8210-75FD877F59E1}"/>
          </ac:spMkLst>
        </pc:spChg>
        <pc:spChg chg="add del mod modVis">
          <ac:chgData name="Muchahary, Frankle" userId="0f2bf491-0617-4378-90b8-89af8fa381b9" providerId="ADAL" clId="{90877F19-00D2-4A00-8128-E78E36266C9A}" dt="2023-11-04T20:02:16.796" v="80018"/>
          <ac:spMkLst>
            <pc:docMk/>
            <pc:sldMk cId="708553223" sldId="317"/>
            <ac:spMk id="1119" creationId="{B3355DC5-8627-9486-DBBE-7FED76374E8B}"/>
          </ac:spMkLst>
        </pc:spChg>
        <pc:spChg chg="add del mod modVis">
          <ac:chgData name="Muchahary, Frankle" userId="0f2bf491-0617-4378-90b8-89af8fa381b9" providerId="ADAL" clId="{90877F19-00D2-4A00-8128-E78E36266C9A}" dt="2023-11-04T20:02:20.769" v="80562"/>
          <ac:spMkLst>
            <pc:docMk/>
            <pc:sldMk cId="708553223" sldId="317"/>
            <ac:spMk id="1121" creationId="{FD7F7534-6F45-26AC-21D6-EC221A610BE4}"/>
          </ac:spMkLst>
        </pc:spChg>
        <pc:spChg chg="add del mod replST">
          <ac:chgData name="Muchahary, Frankle" userId="0f2bf491-0617-4378-90b8-89af8fa381b9" providerId="ADAL" clId="{90877F19-00D2-4A00-8128-E78E36266C9A}" dt="2023-11-04T20:32:34.755" v="118225"/>
          <ac:spMkLst>
            <pc:docMk/>
            <pc:sldMk cId="708553223" sldId="317"/>
            <ac:spMk id="1122" creationId="{807C0792-4ABC-B5CA-E415-A4050268865C}"/>
          </ac:spMkLst>
        </pc:spChg>
        <pc:spChg chg="add del mod modVis">
          <ac:chgData name="Muchahary, Frankle" userId="0f2bf491-0617-4378-90b8-89af8fa381b9" providerId="ADAL" clId="{90877F19-00D2-4A00-8128-E78E36266C9A}" dt="2023-11-04T20:02:32.330" v="81275"/>
          <ac:spMkLst>
            <pc:docMk/>
            <pc:sldMk cId="708553223" sldId="317"/>
            <ac:spMk id="1125" creationId="{03A041C2-BAC1-EE49-4A09-14F3E0D3CE26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37" v="81331"/>
          <ac:spMkLst>
            <pc:docMk/>
            <pc:sldMk cId="708553223" sldId="317"/>
            <ac:spMk id="1126" creationId="{E18C3699-4D5E-3D56-96CE-E95517754034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46" v="81347"/>
          <ac:spMkLst>
            <pc:docMk/>
            <pc:sldMk cId="708553223" sldId="317"/>
            <ac:spMk id="1127" creationId="{2EC8CED8-68ED-1DCC-B66B-F8571305BB4F}"/>
          </ac:spMkLst>
        </pc:spChg>
        <pc:spChg chg="add del mod replST">
          <ac:chgData name="Muchahary, Frankle" userId="0f2bf491-0617-4378-90b8-89af8fa381b9" providerId="ADAL" clId="{90877F19-00D2-4A00-8128-E78E36266C9A}" dt="2023-11-04T20:02:34.954" v="81362"/>
          <ac:spMkLst>
            <pc:docMk/>
            <pc:sldMk cId="708553223" sldId="317"/>
            <ac:spMk id="1128" creationId="{FDFCDFEE-8DC4-FED2-E816-C0CBAEDF3343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61" v="81375"/>
          <ac:spMkLst>
            <pc:docMk/>
            <pc:sldMk cId="708553223" sldId="317"/>
            <ac:spMk id="1129" creationId="{7BC44250-2993-48E2-F8C8-D61C783CB0AE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69" v="81391"/>
          <ac:spMkLst>
            <pc:docMk/>
            <pc:sldMk cId="708553223" sldId="317"/>
            <ac:spMk id="1130" creationId="{2D8577DC-321B-15C7-A0B6-2193F0691DD0}"/>
          </ac:spMkLst>
        </pc:spChg>
        <pc:spChg chg="add del mod replST">
          <ac:chgData name="Muchahary, Frankle" userId="0f2bf491-0617-4378-90b8-89af8fa381b9" providerId="ADAL" clId="{90877F19-00D2-4A00-8128-E78E36266C9A}" dt="2023-11-04T20:02:34.978" v="81406"/>
          <ac:spMkLst>
            <pc:docMk/>
            <pc:sldMk cId="708553223" sldId="317"/>
            <ac:spMk id="1131" creationId="{7D4DBBA8-7857-A8CE-8E69-7BF56CFE81A4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84" v="81419"/>
          <ac:spMkLst>
            <pc:docMk/>
            <pc:sldMk cId="708553223" sldId="317"/>
            <ac:spMk id="1132" creationId="{0FDDE638-37C9-0B89-F3E6-662BDEB8E9DE}"/>
          </ac:spMkLst>
        </pc:spChg>
        <pc:spChg chg="add del mod ord replST">
          <ac:chgData name="Muchahary, Frankle" userId="0f2bf491-0617-4378-90b8-89af8fa381b9" providerId="ADAL" clId="{90877F19-00D2-4A00-8128-E78E36266C9A}" dt="2023-11-04T20:02:34.995" v="81435"/>
          <ac:spMkLst>
            <pc:docMk/>
            <pc:sldMk cId="708553223" sldId="317"/>
            <ac:spMk id="1133" creationId="{7F543D24-8FAD-FC85-165E-663333C66C6E}"/>
          </ac:spMkLst>
        </pc:spChg>
        <pc:spChg chg="add del mod replST">
          <ac:chgData name="Muchahary, Frankle" userId="0f2bf491-0617-4378-90b8-89af8fa381b9" providerId="ADAL" clId="{90877F19-00D2-4A00-8128-E78E36266C9A}" dt="2023-11-04T20:02:35.006" v="81450"/>
          <ac:spMkLst>
            <pc:docMk/>
            <pc:sldMk cId="708553223" sldId="317"/>
            <ac:spMk id="1134" creationId="{08CCB3F5-CC05-5EF4-6BE9-3D15CF8E10B5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15" v="81463"/>
          <ac:spMkLst>
            <pc:docMk/>
            <pc:sldMk cId="708553223" sldId="317"/>
            <ac:spMk id="1135" creationId="{947AAE52-4ED9-A6F7-B91C-7EA79916AB48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25" v="81479"/>
          <ac:spMkLst>
            <pc:docMk/>
            <pc:sldMk cId="708553223" sldId="317"/>
            <ac:spMk id="1136" creationId="{F1BFCC8A-4267-E307-B1E3-A1D8AD6BC249}"/>
          </ac:spMkLst>
        </pc:spChg>
        <pc:spChg chg="add del mod replST">
          <ac:chgData name="Muchahary, Frankle" userId="0f2bf491-0617-4378-90b8-89af8fa381b9" providerId="ADAL" clId="{90877F19-00D2-4A00-8128-E78E36266C9A}" dt="2023-11-04T20:02:35.036" v="81494"/>
          <ac:spMkLst>
            <pc:docMk/>
            <pc:sldMk cId="708553223" sldId="317"/>
            <ac:spMk id="1137" creationId="{F6A24850-7091-DBB2-0E82-80106E70F753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43" v="81507"/>
          <ac:spMkLst>
            <pc:docMk/>
            <pc:sldMk cId="708553223" sldId="317"/>
            <ac:spMk id="1138" creationId="{DF0FB130-A5BA-B27D-BF1D-7BBD68EDAFD9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52" v="81523"/>
          <ac:spMkLst>
            <pc:docMk/>
            <pc:sldMk cId="708553223" sldId="317"/>
            <ac:spMk id="1139" creationId="{2C9A1AF5-19AC-2844-3A60-421EA7D7BE84}"/>
          </ac:spMkLst>
        </pc:spChg>
        <pc:spChg chg="add del mod replST">
          <ac:chgData name="Muchahary, Frankle" userId="0f2bf491-0617-4378-90b8-89af8fa381b9" providerId="ADAL" clId="{90877F19-00D2-4A00-8128-E78E36266C9A}" dt="2023-11-04T20:02:35.061" v="81538"/>
          <ac:spMkLst>
            <pc:docMk/>
            <pc:sldMk cId="708553223" sldId="317"/>
            <ac:spMk id="1140" creationId="{BCA31F87-CB46-0143-FA87-86F56B9222F7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68" v="81551"/>
          <ac:spMkLst>
            <pc:docMk/>
            <pc:sldMk cId="708553223" sldId="317"/>
            <ac:spMk id="1141" creationId="{4CE370DF-8F08-2CFF-6B2A-2F74C97D9F43}"/>
          </ac:spMkLst>
        </pc:spChg>
        <pc:spChg chg="add del mod ord replST">
          <ac:chgData name="Muchahary, Frankle" userId="0f2bf491-0617-4378-90b8-89af8fa381b9" providerId="ADAL" clId="{90877F19-00D2-4A00-8128-E78E36266C9A}" dt="2023-11-04T20:02:35.076" v="81567"/>
          <ac:spMkLst>
            <pc:docMk/>
            <pc:sldMk cId="708553223" sldId="317"/>
            <ac:spMk id="1142" creationId="{E2FB670C-1D90-D77E-E854-80A8B251B1CB}"/>
          </ac:spMkLst>
        </pc:spChg>
        <pc:spChg chg="add del mod replST">
          <ac:chgData name="Muchahary, Frankle" userId="0f2bf491-0617-4378-90b8-89af8fa381b9" providerId="ADAL" clId="{90877F19-00D2-4A00-8128-E78E36266C9A}" dt="2023-11-04T20:02:35.084" v="81582"/>
          <ac:spMkLst>
            <pc:docMk/>
            <pc:sldMk cId="708553223" sldId="317"/>
            <ac:spMk id="1143" creationId="{BB392141-A2C5-CA68-FD2E-FFD4DABB36FB}"/>
          </ac:spMkLst>
        </pc:spChg>
        <pc:spChg chg="add del mod modVis">
          <ac:chgData name="Muchahary, Frankle" userId="0f2bf491-0617-4378-90b8-89af8fa381b9" providerId="ADAL" clId="{90877F19-00D2-4A00-8128-E78E36266C9A}" dt="2023-11-04T20:02:35.270" v="81924"/>
          <ac:spMkLst>
            <pc:docMk/>
            <pc:sldMk cId="708553223" sldId="317"/>
            <ac:spMk id="1145" creationId="{251F5C3D-0E56-72EB-0641-47F6BFBCEE44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28" v="83236"/>
          <ac:spMkLst>
            <pc:docMk/>
            <pc:sldMk cId="708553223" sldId="317"/>
            <ac:spMk id="1146" creationId="{03DD7CA0-5AAE-622F-8140-3B75F88DDBFC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37" v="83252"/>
          <ac:spMkLst>
            <pc:docMk/>
            <pc:sldMk cId="708553223" sldId="317"/>
            <ac:spMk id="1147" creationId="{7504A7F3-64FC-A74B-FD0D-F96CA6EF9A24}"/>
          </ac:spMkLst>
        </pc:spChg>
        <pc:spChg chg="add del mod replST">
          <ac:chgData name="Muchahary, Frankle" userId="0f2bf491-0617-4378-90b8-89af8fa381b9" providerId="ADAL" clId="{90877F19-00D2-4A00-8128-E78E36266C9A}" dt="2023-11-04T20:04:57.546" v="83267"/>
          <ac:spMkLst>
            <pc:docMk/>
            <pc:sldMk cId="708553223" sldId="317"/>
            <ac:spMk id="1148" creationId="{B553C733-F8EB-6EB1-937D-C2E6C4484047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52" v="83280"/>
          <ac:spMkLst>
            <pc:docMk/>
            <pc:sldMk cId="708553223" sldId="317"/>
            <ac:spMk id="1149" creationId="{46506C41-7E91-E39F-96BB-EFC4A39D8D84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62" v="83296"/>
          <ac:spMkLst>
            <pc:docMk/>
            <pc:sldMk cId="708553223" sldId="317"/>
            <ac:spMk id="1150" creationId="{1B2E1E12-7868-7D66-6C1A-C91FD480081C}"/>
          </ac:spMkLst>
        </pc:spChg>
        <pc:spChg chg="add del mod replST">
          <ac:chgData name="Muchahary, Frankle" userId="0f2bf491-0617-4378-90b8-89af8fa381b9" providerId="ADAL" clId="{90877F19-00D2-4A00-8128-E78E36266C9A}" dt="2023-11-04T20:04:57.570" v="83311"/>
          <ac:spMkLst>
            <pc:docMk/>
            <pc:sldMk cId="708553223" sldId="317"/>
            <ac:spMk id="1151" creationId="{70B4C7C5-23D8-70D1-FC7A-D14FAB1CF861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77" v="83324"/>
          <ac:spMkLst>
            <pc:docMk/>
            <pc:sldMk cId="708553223" sldId="317"/>
            <ac:spMk id="1152" creationId="{155D02A2-3632-6BE6-321D-4EC68017A6C4}"/>
          </ac:spMkLst>
        </pc:spChg>
        <pc:spChg chg="add del mod ord replST">
          <ac:chgData name="Muchahary, Frankle" userId="0f2bf491-0617-4378-90b8-89af8fa381b9" providerId="ADAL" clId="{90877F19-00D2-4A00-8128-E78E36266C9A}" dt="2023-11-04T20:04:57.585" v="83340"/>
          <ac:spMkLst>
            <pc:docMk/>
            <pc:sldMk cId="708553223" sldId="317"/>
            <ac:spMk id="1153" creationId="{CDDC37CA-4B70-4CF4-8EE1-FB9914F4C0D5}"/>
          </ac:spMkLst>
        </pc:spChg>
        <pc:spChg chg="add del mod replST">
          <ac:chgData name="Muchahary, Frankle" userId="0f2bf491-0617-4378-90b8-89af8fa381b9" providerId="ADAL" clId="{90877F19-00D2-4A00-8128-E78E36266C9A}" dt="2023-11-04T20:04:57.593" v="83355"/>
          <ac:spMkLst>
            <pc:docMk/>
            <pc:sldMk cId="708553223" sldId="317"/>
            <ac:spMk id="1154" creationId="{2D430800-5E17-CC64-8080-37261B751E3D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27" v="83412"/>
          <ac:spMkLst>
            <pc:docMk/>
            <pc:sldMk cId="708553223" sldId="317"/>
            <ac:spMk id="1155" creationId="{319029F2-60F9-AD9D-266E-E0CE032F1E43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35" v="83428"/>
          <ac:spMkLst>
            <pc:docMk/>
            <pc:sldMk cId="708553223" sldId="317"/>
            <ac:spMk id="1156" creationId="{274E62FC-B4F1-340A-3948-B8532BDAE722}"/>
          </ac:spMkLst>
        </pc:spChg>
        <pc:spChg chg="add del mod replST">
          <ac:chgData name="Muchahary, Frankle" userId="0f2bf491-0617-4378-90b8-89af8fa381b9" providerId="ADAL" clId="{90877F19-00D2-4A00-8128-E78E36266C9A}" dt="2023-11-04T20:04:57.644" v="83443"/>
          <ac:spMkLst>
            <pc:docMk/>
            <pc:sldMk cId="708553223" sldId="317"/>
            <ac:spMk id="1157" creationId="{40769614-ADFA-3182-1CBF-5DF91305333F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51" v="83456"/>
          <ac:spMkLst>
            <pc:docMk/>
            <pc:sldMk cId="708553223" sldId="317"/>
            <ac:spMk id="1158" creationId="{92FDAFE6-7F6E-776F-2E2A-9C2B24F8B8DC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61" v="83472"/>
          <ac:spMkLst>
            <pc:docMk/>
            <pc:sldMk cId="708553223" sldId="317"/>
            <ac:spMk id="1159" creationId="{619D0334-00BF-8CB6-7292-50ABA4DCDB3D}"/>
          </ac:spMkLst>
        </pc:spChg>
        <pc:spChg chg="add del mod replST">
          <ac:chgData name="Muchahary, Frankle" userId="0f2bf491-0617-4378-90b8-89af8fa381b9" providerId="ADAL" clId="{90877F19-00D2-4A00-8128-E78E36266C9A}" dt="2023-11-04T20:04:57.671" v="83487"/>
          <ac:spMkLst>
            <pc:docMk/>
            <pc:sldMk cId="708553223" sldId="317"/>
            <ac:spMk id="1160" creationId="{067495D6-889B-22AE-C6C1-98471A832681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80" v="83500"/>
          <ac:spMkLst>
            <pc:docMk/>
            <pc:sldMk cId="708553223" sldId="317"/>
            <ac:spMk id="1161" creationId="{C5A36736-F1A0-D2BA-7CBE-329A5EF4B6F8}"/>
          </ac:spMkLst>
        </pc:spChg>
        <pc:spChg chg="add del mod ord replST">
          <ac:chgData name="Muchahary, Frankle" userId="0f2bf491-0617-4378-90b8-89af8fa381b9" providerId="ADAL" clId="{90877F19-00D2-4A00-8128-E78E36266C9A}" dt="2023-11-04T20:04:57.691" v="83516"/>
          <ac:spMkLst>
            <pc:docMk/>
            <pc:sldMk cId="708553223" sldId="317"/>
            <ac:spMk id="1162" creationId="{3B357436-59FF-CC48-3CB9-8E3E6E62AE8C}"/>
          </ac:spMkLst>
        </pc:spChg>
        <pc:spChg chg="add del mod replST">
          <ac:chgData name="Muchahary, Frankle" userId="0f2bf491-0617-4378-90b8-89af8fa381b9" providerId="ADAL" clId="{90877F19-00D2-4A00-8128-E78E36266C9A}" dt="2023-11-04T20:04:57.701" v="83531"/>
          <ac:spMkLst>
            <pc:docMk/>
            <pc:sldMk cId="708553223" sldId="317"/>
            <ac:spMk id="1163" creationId="{DA408D0D-DF6D-AB2E-3A5B-0333634EFB5D}"/>
          </ac:spMkLst>
        </pc:spChg>
        <pc:spChg chg="add del mod modVis">
          <ac:chgData name="Muchahary, Frankle" userId="0f2bf491-0617-4378-90b8-89af8fa381b9" providerId="ADAL" clId="{90877F19-00D2-4A00-8128-E78E36266C9A}" dt="2023-11-04T20:03:17.341" v="82261"/>
          <ac:spMkLst>
            <pc:docMk/>
            <pc:sldMk cId="708553223" sldId="317"/>
            <ac:spMk id="1165" creationId="{4A86F8B8-381C-E98B-C526-6AFC290DC677}"/>
          </ac:spMkLst>
        </pc:spChg>
        <pc:spChg chg="add del mod modVis">
          <ac:chgData name="Muchahary, Frankle" userId="0f2bf491-0617-4378-90b8-89af8fa381b9" providerId="ADAL" clId="{90877F19-00D2-4A00-8128-E78E36266C9A}" dt="2023-11-04T20:03:48.055" v="82646"/>
          <ac:spMkLst>
            <pc:docMk/>
            <pc:sldMk cId="708553223" sldId="317"/>
            <ac:spMk id="1167" creationId="{ED1475EA-0F1E-CA73-24E3-CD12F88F1AAA}"/>
          </ac:spMkLst>
        </pc:spChg>
        <pc:spChg chg="add del mod modVis">
          <ac:chgData name="Muchahary, Frankle" userId="0f2bf491-0617-4378-90b8-89af8fa381b9" providerId="ADAL" clId="{90877F19-00D2-4A00-8128-E78E36266C9A}" dt="2023-11-04T20:04:10.719" v="82677"/>
          <ac:spMkLst>
            <pc:docMk/>
            <pc:sldMk cId="708553223" sldId="317"/>
            <ac:spMk id="1169" creationId="{A0293BE2-4EDC-01A6-0F98-6492614798FA}"/>
          </ac:spMkLst>
        </pc:spChg>
        <pc:spChg chg="add del mod modVis">
          <ac:chgData name="Muchahary, Frankle" userId="0f2bf491-0617-4378-90b8-89af8fa381b9" providerId="ADAL" clId="{90877F19-00D2-4A00-8128-E78E36266C9A}" dt="2023-11-04T20:04:11.935" v="82704"/>
          <ac:spMkLst>
            <pc:docMk/>
            <pc:sldMk cId="708553223" sldId="317"/>
            <ac:spMk id="1170" creationId="{A81FBF83-A16F-4532-2723-9058CD92AE45}"/>
          </ac:spMkLst>
        </pc:spChg>
        <pc:spChg chg="add del mod modVis">
          <ac:chgData name="Muchahary, Frankle" userId="0f2bf491-0617-4378-90b8-89af8fa381b9" providerId="ADAL" clId="{90877F19-00D2-4A00-8128-E78E36266C9A}" dt="2023-11-04T20:04:12.579" v="82731"/>
          <ac:spMkLst>
            <pc:docMk/>
            <pc:sldMk cId="708553223" sldId="317"/>
            <ac:spMk id="1171" creationId="{398A55DD-F21B-FF8D-AACD-6F6DFA8F81E2}"/>
          </ac:spMkLst>
        </pc:spChg>
        <pc:spChg chg="add del mod modVis">
          <ac:chgData name="Muchahary, Frankle" userId="0f2bf491-0617-4378-90b8-89af8fa381b9" providerId="ADAL" clId="{90877F19-00D2-4A00-8128-E78E36266C9A}" dt="2023-11-04T20:04:16.372" v="82764"/>
          <ac:spMkLst>
            <pc:docMk/>
            <pc:sldMk cId="708553223" sldId="317"/>
            <ac:spMk id="1172" creationId="{FC427E55-6666-8034-DC2C-10C7841B6508}"/>
          </ac:spMkLst>
        </pc:spChg>
        <pc:spChg chg="add del mod modVis">
          <ac:chgData name="Muchahary, Frankle" userId="0f2bf491-0617-4378-90b8-89af8fa381b9" providerId="ADAL" clId="{90877F19-00D2-4A00-8128-E78E36266C9A}" dt="2023-11-04T20:04:18.055" v="82796"/>
          <ac:spMkLst>
            <pc:docMk/>
            <pc:sldMk cId="708553223" sldId="317"/>
            <ac:spMk id="1173" creationId="{8654395F-A6E2-0ACB-693C-15666BCB0BA8}"/>
          </ac:spMkLst>
        </pc:spChg>
        <pc:spChg chg="add del mod modVis">
          <ac:chgData name="Muchahary, Frankle" userId="0f2bf491-0617-4378-90b8-89af8fa381b9" providerId="ADAL" clId="{90877F19-00D2-4A00-8128-E78E36266C9A}" dt="2023-11-04T20:04:23.448" v="82824"/>
          <ac:spMkLst>
            <pc:docMk/>
            <pc:sldMk cId="708553223" sldId="317"/>
            <ac:spMk id="1174" creationId="{4BA304F0-675A-05AA-1076-C9748076BB7B}"/>
          </ac:spMkLst>
        </pc:spChg>
        <pc:spChg chg="add del mod modVis">
          <ac:chgData name="Muchahary, Frankle" userId="0f2bf491-0617-4378-90b8-89af8fa381b9" providerId="ADAL" clId="{90877F19-00D2-4A00-8128-E78E36266C9A}" dt="2023-11-04T20:04:24.139" v="82851"/>
          <ac:spMkLst>
            <pc:docMk/>
            <pc:sldMk cId="708553223" sldId="317"/>
            <ac:spMk id="1175" creationId="{38CF6E0C-6450-A085-5A70-B01DE319A30A}"/>
          </ac:spMkLst>
        </pc:spChg>
        <pc:spChg chg="add del mod modVis">
          <ac:chgData name="Muchahary, Frankle" userId="0f2bf491-0617-4378-90b8-89af8fa381b9" providerId="ADAL" clId="{90877F19-00D2-4A00-8128-E78E36266C9A}" dt="2023-11-04T20:04:38.106" v="83124"/>
          <ac:spMkLst>
            <pc:docMk/>
            <pc:sldMk cId="708553223" sldId="317"/>
            <ac:spMk id="1176" creationId="{B87F2622-2F64-866A-7086-E28F87633E5B}"/>
          </ac:spMkLst>
        </pc:spChg>
        <pc:spChg chg="add del mod modVis">
          <ac:chgData name="Muchahary, Frankle" userId="0f2bf491-0617-4378-90b8-89af8fa381b9" providerId="ADAL" clId="{90877F19-00D2-4A00-8128-E78E36266C9A}" dt="2023-11-04T20:04:57.017" v="83149"/>
          <ac:spMkLst>
            <pc:docMk/>
            <pc:sldMk cId="708553223" sldId="317"/>
            <ac:spMk id="1178" creationId="{38A934AB-873E-CF8E-D956-446D8A5CD753}"/>
          </ac:spMkLst>
        </pc:spChg>
        <pc:spChg chg="add del mod modVis">
          <ac:chgData name="Muchahary, Frankle" userId="0f2bf491-0617-4378-90b8-89af8fa381b9" providerId="ADAL" clId="{90877F19-00D2-4A00-8128-E78E36266C9A}" dt="2023-11-04T20:04:58.242" v="84290"/>
          <ac:spMkLst>
            <pc:docMk/>
            <pc:sldMk cId="708553223" sldId="317"/>
            <ac:spMk id="1179" creationId="{9045FCD7-41FB-045D-0CE2-66272CBE01EA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03" v="87553"/>
          <ac:spMkLst>
            <pc:docMk/>
            <pc:sldMk cId="708553223" sldId="317"/>
            <ac:spMk id="1180" creationId="{08ADE8E2-5BA6-776A-DD39-6EA5FF6306F7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21" v="87569"/>
          <ac:spMkLst>
            <pc:docMk/>
            <pc:sldMk cId="708553223" sldId="317"/>
            <ac:spMk id="1181" creationId="{84FE8BC4-98F7-FB20-AB0A-0D1BCD242B34}"/>
          </ac:spMkLst>
        </pc:spChg>
        <pc:spChg chg="add del mod replST">
          <ac:chgData name="Muchahary, Frankle" userId="0f2bf491-0617-4378-90b8-89af8fa381b9" providerId="ADAL" clId="{90877F19-00D2-4A00-8128-E78E36266C9A}" dt="2023-11-04T20:05:51.631" v="87584"/>
          <ac:spMkLst>
            <pc:docMk/>
            <pc:sldMk cId="708553223" sldId="317"/>
            <ac:spMk id="1182" creationId="{25C9DC3A-9F3D-BF16-EB15-5F0EBA2C8440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39" v="87597"/>
          <ac:spMkLst>
            <pc:docMk/>
            <pc:sldMk cId="708553223" sldId="317"/>
            <ac:spMk id="1183" creationId="{FBE215AD-6765-5330-1028-D2C9FA2FC238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51" v="87613"/>
          <ac:spMkLst>
            <pc:docMk/>
            <pc:sldMk cId="708553223" sldId="317"/>
            <ac:spMk id="1184" creationId="{21502AF3-62DA-AB26-6060-8358FBADD89A}"/>
          </ac:spMkLst>
        </pc:spChg>
        <pc:spChg chg="add del mod replST">
          <ac:chgData name="Muchahary, Frankle" userId="0f2bf491-0617-4378-90b8-89af8fa381b9" providerId="ADAL" clId="{90877F19-00D2-4A00-8128-E78E36266C9A}" dt="2023-11-04T20:05:51.662" v="87628"/>
          <ac:spMkLst>
            <pc:docMk/>
            <pc:sldMk cId="708553223" sldId="317"/>
            <ac:spMk id="1185" creationId="{07B7B0F1-4E24-F25F-31B0-E8F17D5928EF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68" v="87641"/>
          <ac:spMkLst>
            <pc:docMk/>
            <pc:sldMk cId="708553223" sldId="317"/>
            <ac:spMk id="1186" creationId="{D4B1BA5A-1268-A6B2-2DD5-B5B090D11CC1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77" v="87657"/>
          <ac:spMkLst>
            <pc:docMk/>
            <pc:sldMk cId="708553223" sldId="317"/>
            <ac:spMk id="1187" creationId="{C682240C-EBD8-0EAE-8C57-47EFB4851C4E}"/>
          </ac:spMkLst>
        </pc:spChg>
        <pc:spChg chg="add del mod replST">
          <ac:chgData name="Muchahary, Frankle" userId="0f2bf491-0617-4378-90b8-89af8fa381b9" providerId="ADAL" clId="{90877F19-00D2-4A00-8128-E78E36266C9A}" dt="2023-11-04T20:05:51.686" v="87672"/>
          <ac:spMkLst>
            <pc:docMk/>
            <pc:sldMk cId="708553223" sldId="317"/>
            <ac:spMk id="1188" creationId="{56BDB101-BE83-397A-A569-F5179DED0F10}"/>
          </ac:spMkLst>
        </pc:spChg>
        <pc:spChg chg="add del mod ord replST">
          <ac:chgData name="Muchahary, Frankle" userId="0f2bf491-0617-4378-90b8-89af8fa381b9" providerId="ADAL" clId="{90877F19-00D2-4A00-8128-E78E36266C9A}" dt="2023-11-04T20:05:51.692" v="87685"/>
          <ac:spMkLst>
            <pc:docMk/>
            <pc:sldMk cId="708553223" sldId="317"/>
            <ac:spMk id="1189" creationId="{21B028E4-DF54-D441-6A2E-9278372441E4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01" v="87701"/>
          <ac:spMkLst>
            <pc:docMk/>
            <pc:sldMk cId="708553223" sldId="317"/>
            <ac:spMk id="1190" creationId="{CAD7B6D3-BEA5-365F-620A-3E9B950560F7}"/>
          </ac:spMkLst>
        </pc:spChg>
        <pc:spChg chg="add del mod replST">
          <ac:chgData name="Muchahary, Frankle" userId="0f2bf491-0617-4378-90b8-89af8fa381b9" providerId="ADAL" clId="{90877F19-00D2-4A00-8128-E78E36266C9A}" dt="2023-11-04T20:05:51.708" v="87716"/>
          <ac:spMkLst>
            <pc:docMk/>
            <pc:sldMk cId="708553223" sldId="317"/>
            <ac:spMk id="1191" creationId="{15C6BD81-10D9-3331-B7F3-73309AFF1744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15" v="87729"/>
          <ac:spMkLst>
            <pc:docMk/>
            <pc:sldMk cId="708553223" sldId="317"/>
            <ac:spMk id="1192" creationId="{86546500-4FA9-6610-6AC3-E678B4FE2B01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23" v="87745"/>
          <ac:spMkLst>
            <pc:docMk/>
            <pc:sldMk cId="708553223" sldId="317"/>
            <ac:spMk id="1193" creationId="{EA78424C-C1CA-2F4D-5515-A97551B8B4A3}"/>
          </ac:spMkLst>
        </pc:spChg>
        <pc:spChg chg="add del mod replST">
          <ac:chgData name="Muchahary, Frankle" userId="0f2bf491-0617-4378-90b8-89af8fa381b9" providerId="ADAL" clId="{90877F19-00D2-4A00-8128-E78E36266C9A}" dt="2023-11-04T20:05:51.731" v="87760"/>
          <ac:spMkLst>
            <pc:docMk/>
            <pc:sldMk cId="708553223" sldId="317"/>
            <ac:spMk id="1194" creationId="{193EFF12-A51C-1D1D-9E7E-EC130855EE52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37" v="87773"/>
          <ac:spMkLst>
            <pc:docMk/>
            <pc:sldMk cId="708553223" sldId="317"/>
            <ac:spMk id="1195" creationId="{3112CC2E-561D-1000-B821-9CB8BCEAE8F1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47" v="87789"/>
          <ac:spMkLst>
            <pc:docMk/>
            <pc:sldMk cId="708553223" sldId="317"/>
            <ac:spMk id="1196" creationId="{E5862F29-548A-E70E-0330-477836328392}"/>
          </ac:spMkLst>
        </pc:spChg>
        <pc:spChg chg="add del mod replST">
          <ac:chgData name="Muchahary, Frankle" userId="0f2bf491-0617-4378-90b8-89af8fa381b9" providerId="ADAL" clId="{90877F19-00D2-4A00-8128-E78E36266C9A}" dt="2023-11-04T20:05:51.755" v="87804"/>
          <ac:spMkLst>
            <pc:docMk/>
            <pc:sldMk cId="708553223" sldId="317"/>
            <ac:spMk id="1197" creationId="{1B642EC6-7055-E464-5AF4-977761DE6D41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62" v="87817"/>
          <ac:spMkLst>
            <pc:docMk/>
            <pc:sldMk cId="708553223" sldId="317"/>
            <ac:spMk id="1198" creationId="{1796C616-4E75-D89E-B3CD-077C7FCCD764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70" v="87833"/>
          <ac:spMkLst>
            <pc:docMk/>
            <pc:sldMk cId="708553223" sldId="317"/>
            <ac:spMk id="1199" creationId="{BF8ED85B-3733-0B5B-31FB-19F65F4B6D2A}"/>
          </ac:spMkLst>
        </pc:spChg>
        <pc:spChg chg="add del mod replST">
          <ac:chgData name="Muchahary, Frankle" userId="0f2bf491-0617-4378-90b8-89af8fa381b9" providerId="ADAL" clId="{90877F19-00D2-4A00-8128-E78E36266C9A}" dt="2023-11-04T20:05:51.779" v="87848"/>
          <ac:spMkLst>
            <pc:docMk/>
            <pc:sldMk cId="708553223" sldId="317"/>
            <ac:spMk id="1200" creationId="{2CF903D7-CDE8-4CD2-774F-2F3660538A2E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86" v="87861"/>
          <ac:spMkLst>
            <pc:docMk/>
            <pc:sldMk cId="708553223" sldId="317"/>
            <ac:spMk id="1201" creationId="{9292A69B-9273-EC60-A6A9-694F60A61B44}"/>
          </ac:spMkLst>
        </pc:spChg>
        <pc:spChg chg="add del mod ord replST">
          <ac:chgData name="Muchahary, Frankle" userId="0f2bf491-0617-4378-90b8-89af8fa381b9" providerId="ADAL" clId="{90877F19-00D2-4A00-8128-E78E36266C9A}" dt="2023-11-04T20:05:51.796" v="87877"/>
          <ac:spMkLst>
            <pc:docMk/>
            <pc:sldMk cId="708553223" sldId="317"/>
            <ac:spMk id="1202" creationId="{C6511951-6F68-A0D0-5693-5D83242ED2EB}"/>
          </ac:spMkLst>
        </pc:spChg>
        <pc:spChg chg="add del mod replST">
          <ac:chgData name="Muchahary, Frankle" userId="0f2bf491-0617-4378-90b8-89af8fa381b9" providerId="ADAL" clId="{90877F19-00D2-4A00-8128-E78E36266C9A}" dt="2023-11-04T20:05:51.804" v="87892"/>
          <ac:spMkLst>
            <pc:docMk/>
            <pc:sldMk cId="708553223" sldId="317"/>
            <ac:spMk id="1203" creationId="{D78D8B1C-0354-F587-B77F-AE2AFACEB7F7}"/>
          </ac:spMkLst>
        </pc:spChg>
        <pc:spChg chg="add del mod modVis">
          <ac:chgData name="Muchahary, Frankle" userId="0f2bf491-0617-4378-90b8-89af8fa381b9" providerId="ADAL" clId="{90877F19-00D2-4A00-8128-E78E36266C9A}" dt="2023-11-04T20:05:10.300" v="84643"/>
          <ac:spMkLst>
            <pc:docMk/>
            <pc:sldMk cId="708553223" sldId="317"/>
            <ac:spMk id="1205" creationId="{532D54BD-9C1B-56B0-5188-8025433343A7}"/>
          </ac:spMkLst>
        </pc:spChg>
        <pc:spChg chg="add del mod modVis">
          <ac:chgData name="Muchahary, Frankle" userId="0f2bf491-0617-4378-90b8-89af8fa381b9" providerId="ADAL" clId="{90877F19-00D2-4A00-8128-E78E36266C9A}" dt="2023-11-04T20:05:27.733" v="86067" actId="962"/>
          <ac:spMkLst>
            <pc:docMk/>
            <pc:sldMk cId="708553223" sldId="317"/>
            <ac:spMk id="1207" creationId="{73A555D5-94A6-2DAE-BC8F-6C97EC57AB76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706" v="86022" actId="208"/>
          <ac:spMkLst>
            <pc:docMk/>
            <pc:sldMk cId="708553223" sldId="317"/>
            <ac:spMk id="1208" creationId="{49D89FAB-43E2-6D24-3B60-641BC476E8AE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701" v="86012" actId="208"/>
          <ac:spMkLst>
            <pc:docMk/>
            <pc:sldMk cId="708553223" sldId="317"/>
            <ac:spMk id="1209" creationId="{37738D16-1502-D21E-F4B7-51FC258B6675}"/>
          </ac:spMkLst>
        </pc:spChg>
        <pc:spChg chg="add mod replST delST">
          <ac:chgData name="Muchahary, Frankle" userId="0f2bf491-0617-4378-90b8-89af8fa381b9" providerId="ADAL" clId="{90877F19-00D2-4A00-8128-E78E36266C9A}" dt="2023-11-04T20:05:27.698" v="86003" actId="207"/>
          <ac:spMkLst>
            <pc:docMk/>
            <pc:sldMk cId="708553223" sldId="317"/>
            <ac:spMk id="1210" creationId="{2E2C0050-EBD9-BE7D-C4B8-F5ADA6449C30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93" v="85996" actId="208"/>
          <ac:spMkLst>
            <pc:docMk/>
            <pc:sldMk cId="708553223" sldId="317"/>
            <ac:spMk id="1211" creationId="{0DB041EB-A693-5E14-5616-513DB720A7F2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88" v="85986" actId="208"/>
          <ac:spMkLst>
            <pc:docMk/>
            <pc:sldMk cId="708553223" sldId="317"/>
            <ac:spMk id="1212" creationId="{815FEDC1-E9A8-92D2-4C76-0B81DBF148D0}"/>
          </ac:spMkLst>
        </pc:spChg>
        <pc:spChg chg="add mod replST delST">
          <ac:chgData name="Muchahary, Frankle" userId="0f2bf491-0617-4378-90b8-89af8fa381b9" providerId="ADAL" clId="{90877F19-00D2-4A00-8128-E78E36266C9A}" dt="2023-11-04T20:05:27.685" v="85977" actId="207"/>
          <ac:spMkLst>
            <pc:docMk/>
            <pc:sldMk cId="708553223" sldId="317"/>
            <ac:spMk id="1213" creationId="{55559FC2-0E3D-52BA-C963-316083559FF1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80" v="85970" actId="208"/>
          <ac:spMkLst>
            <pc:docMk/>
            <pc:sldMk cId="708553223" sldId="317"/>
            <ac:spMk id="1214" creationId="{118953A9-596E-9E34-C8D6-91CB43BE4289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75" v="85960" actId="208"/>
          <ac:spMkLst>
            <pc:docMk/>
            <pc:sldMk cId="708553223" sldId="317"/>
            <ac:spMk id="1215" creationId="{E1940F8D-FD0D-2361-B49E-D807DDA9A6AD}"/>
          </ac:spMkLst>
        </pc:spChg>
        <pc:spChg chg="add mod replST delST">
          <ac:chgData name="Muchahary, Frankle" userId="0f2bf491-0617-4378-90b8-89af8fa381b9" providerId="ADAL" clId="{90877F19-00D2-4A00-8128-E78E36266C9A}" dt="2023-11-04T20:05:27.672" v="85951" actId="207"/>
          <ac:spMkLst>
            <pc:docMk/>
            <pc:sldMk cId="708553223" sldId="317"/>
            <ac:spMk id="1216" creationId="{FDC04D95-0B5F-8AF8-3697-6980023EA66C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67" v="85944" actId="208"/>
          <ac:spMkLst>
            <pc:docMk/>
            <pc:sldMk cId="708553223" sldId="317"/>
            <ac:spMk id="1217" creationId="{9CBE3D48-D559-34A6-AEC4-E5E76DE953CE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61" v="85934" actId="208"/>
          <ac:spMkLst>
            <pc:docMk/>
            <pc:sldMk cId="708553223" sldId="317"/>
            <ac:spMk id="1218" creationId="{C0EB7745-666D-964A-DA30-61ED6D99E367}"/>
          </ac:spMkLst>
        </pc:spChg>
        <pc:spChg chg="add mod replST delST">
          <ac:chgData name="Muchahary, Frankle" userId="0f2bf491-0617-4378-90b8-89af8fa381b9" providerId="ADAL" clId="{90877F19-00D2-4A00-8128-E78E36266C9A}" dt="2023-11-04T20:05:27.657" v="85925" actId="207"/>
          <ac:spMkLst>
            <pc:docMk/>
            <pc:sldMk cId="708553223" sldId="317"/>
            <ac:spMk id="1219" creationId="{5408C2CA-807C-3954-C79A-2C9F51837D09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53" v="85918" actId="208"/>
          <ac:spMkLst>
            <pc:docMk/>
            <pc:sldMk cId="708553223" sldId="317"/>
            <ac:spMk id="1220" creationId="{92B203B1-D948-470E-11D7-A34D98843FE8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47" v="85908" actId="208"/>
          <ac:spMkLst>
            <pc:docMk/>
            <pc:sldMk cId="708553223" sldId="317"/>
            <ac:spMk id="1221" creationId="{9EBD4D00-3D2A-D826-7223-63C76E3D8958}"/>
          </ac:spMkLst>
        </pc:spChg>
        <pc:spChg chg="add mod replST delST">
          <ac:chgData name="Muchahary, Frankle" userId="0f2bf491-0617-4378-90b8-89af8fa381b9" providerId="ADAL" clId="{90877F19-00D2-4A00-8128-E78E36266C9A}" dt="2023-11-04T20:05:27.643" v="85899" actId="207"/>
          <ac:spMkLst>
            <pc:docMk/>
            <pc:sldMk cId="708553223" sldId="317"/>
            <ac:spMk id="1222" creationId="{69402580-AA98-C916-D303-1B25CDED3DBC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38" v="85892" actId="208"/>
          <ac:spMkLst>
            <pc:docMk/>
            <pc:sldMk cId="708553223" sldId="317"/>
            <ac:spMk id="1223" creationId="{A69ED1CB-0186-2B8D-AD18-4CD36948AF32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33" v="85882" actId="208"/>
          <ac:spMkLst>
            <pc:docMk/>
            <pc:sldMk cId="708553223" sldId="317"/>
            <ac:spMk id="1224" creationId="{797FC6E8-E203-70B1-C8B2-F6B01215D801}"/>
          </ac:spMkLst>
        </pc:spChg>
        <pc:spChg chg="add mod replST delST">
          <ac:chgData name="Muchahary, Frankle" userId="0f2bf491-0617-4378-90b8-89af8fa381b9" providerId="ADAL" clId="{90877F19-00D2-4A00-8128-E78E36266C9A}" dt="2023-11-04T20:05:27.630" v="85873" actId="207"/>
          <ac:spMkLst>
            <pc:docMk/>
            <pc:sldMk cId="708553223" sldId="317"/>
            <ac:spMk id="1225" creationId="{22329230-D61D-AE8B-A788-BE2AE1EEE900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26" v="85866" actId="208"/>
          <ac:spMkLst>
            <pc:docMk/>
            <pc:sldMk cId="708553223" sldId="317"/>
            <ac:spMk id="1226" creationId="{C6CC12A3-8C13-7807-C240-D2AEFBD056C8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21" v="85856" actId="208"/>
          <ac:spMkLst>
            <pc:docMk/>
            <pc:sldMk cId="708553223" sldId="317"/>
            <ac:spMk id="1227" creationId="{29C5BBCF-FE5E-D4DE-45DD-ECF6260C988B}"/>
          </ac:spMkLst>
        </pc:spChg>
        <pc:spChg chg="add mod replST delST">
          <ac:chgData name="Muchahary, Frankle" userId="0f2bf491-0617-4378-90b8-89af8fa381b9" providerId="ADAL" clId="{90877F19-00D2-4A00-8128-E78E36266C9A}" dt="2023-11-04T20:05:27.618" v="85847" actId="207"/>
          <ac:spMkLst>
            <pc:docMk/>
            <pc:sldMk cId="708553223" sldId="317"/>
            <ac:spMk id="1228" creationId="{C52ACFA8-B0A5-9898-0CD5-467BE84BDAB4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13" v="85840" actId="208"/>
          <ac:spMkLst>
            <pc:docMk/>
            <pc:sldMk cId="708553223" sldId="317"/>
            <ac:spMk id="1229" creationId="{75464807-A2EC-1991-6BFC-EBBC0FDA34FD}"/>
          </ac:spMkLst>
        </pc:spChg>
        <pc:spChg chg="add mod ord replST delST">
          <ac:chgData name="Muchahary, Frankle" userId="0f2bf491-0617-4378-90b8-89af8fa381b9" providerId="ADAL" clId="{90877F19-00D2-4A00-8128-E78E36266C9A}" dt="2023-11-04T20:05:27.609" v="85830" actId="208"/>
          <ac:spMkLst>
            <pc:docMk/>
            <pc:sldMk cId="708553223" sldId="317"/>
            <ac:spMk id="1230" creationId="{969BBF61-D2B0-4389-B8E2-96032F3205A1}"/>
          </ac:spMkLst>
        </pc:spChg>
        <pc:spChg chg="add mod replST delST">
          <ac:chgData name="Muchahary, Frankle" userId="0f2bf491-0617-4378-90b8-89af8fa381b9" providerId="ADAL" clId="{90877F19-00D2-4A00-8128-E78E36266C9A}" dt="2023-11-04T20:05:27.606" v="85821" actId="207"/>
          <ac:spMkLst>
            <pc:docMk/>
            <pc:sldMk cId="708553223" sldId="317"/>
            <ac:spMk id="1231" creationId="{DAE09CCE-24DC-B7E7-123F-C05A00B9544F}"/>
          </ac:spMkLst>
        </pc:spChg>
        <pc:spChg chg="add del mod modVis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3" creationId="{6990109E-D5BA-C60D-23BC-CFAFDE74176E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4" creationId="{AC18BC9C-5961-A293-B19D-A3E117A71742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5" creationId="{39F12C35-B13B-E52E-A83D-D5E7FB538668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6" creationId="{2C352FCA-6AFE-9E78-0CF8-29B878852B3E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7" creationId="{31DC9FFB-98DE-FDA8-105B-4E5C46DED888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8" creationId="{03EB98C5-CA16-D166-AC56-E3A65F9BF9DA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39" creationId="{2E27CA77-28F4-A93A-0A5E-548E3201E346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0" creationId="{2471A0A5-1D13-8E59-D515-D8CAC520AE2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1" creationId="{7B701102-1464-F857-8B5F-D526516D1FBF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2" creationId="{1EB70E8C-23B6-DDE7-39AA-4E0D0C103FB3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3" creationId="{E083526D-91C6-539C-2469-3E39E83D8D8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4" creationId="{7135A937-7074-B588-9D67-0D86D34EE632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5" creationId="{CE958E6E-F356-4CC8-3E83-A37B0C7C0547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6" creationId="{3C067C4C-E46C-5DF0-3DC7-E3F46695C8D9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7" creationId="{ADC87770-EA2E-9792-D594-AF700DB90330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8" creationId="{E586E00F-7B6F-A045-0B8F-0A84D05FF120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49" creationId="{D3E97D84-5F54-CC40-1CF3-9BFEDAD67BEA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0" creationId="{DF66E358-9EAB-2A08-A1D2-9456E51873FB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1" creationId="{67F4D903-2383-B76D-D10F-4B0D097ADFF1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2" creationId="{1643C39B-7239-1E45-D632-A957326A3A3A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3" creationId="{6D884FBB-3472-AC42-AA32-243D5B694BEF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4" creationId="{3F7D5665-E90F-2FCD-CBDD-C3F788318FD9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5" creationId="{BB303E0B-1BEF-D4F8-BC88-BDD4F9CD1A9B}"/>
          </ac:spMkLst>
        </pc:spChg>
        <pc:spChg chg="add del mod or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6" creationId="{71682FA4-7A1A-8C06-C68C-D044E0A8DDD0}"/>
          </ac:spMkLst>
        </pc:spChg>
        <pc:spChg chg="add del mod replST delST">
          <ac:chgData name="Muchahary, Frankle" userId="0f2bf491-0617-4378-90b8-89af8fa381b9" providerId="ADAL" clId="{90877F19-00D2-4A00-8128-E78E36266C9A}" dt="2023-11-04T20:05:44.503" v="87500"/>
          <ac:spMkLst>
            <pc:docMk/>
            <pc:sldMk cId="708553223" sldId="317"/>
            <ac:spMk id="1257" creationId="{2CD56157-1D41-076B-D0F0-7D2A9F5D9353}"/>
          </ac:spMkLst>
        </pc:spChg>
        <pc:spChg chg="add del mod modVis">
          <ac:chgData name="Muchahary, Frankle" userId="0f2bf491-0617-4378-90b8-89af8fa381b9" providerId="ADAL" clId="{90877F19-00D2-4A00-8128-E78E36266C9A}" dt="2023-11-04T20:05:52.215" v="88369"/>
          <ac:spMkLst>
            <pc:docMk/>
            <pc:sldMk cId="708553223" sldId="317"/>
            <ac:spMk id="1259" creationId="{13F84FED-E74B-993B-7AB2-F8AFDC4D2614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19" v="101331"/>
          <ac:spMkLst>
            <pc:docMk/>
            <pc:sldMk cId="708553223" sldId="317"/>
            <ac:spMk id="1260" creationId="{D0715A32-4770-5CC5-19ED-A83A05D63B8A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28" v="101347"/>
          <ac:spMkLst>
            <pc:docMk/>
            <pc:sldMk cId="708553223" sldId="317"/>
            <ac:spMk id="1261" creationId="{39D3BAA3-50DE-D1EB-B69A-C4C751DA7BD7}"/>
          </ac:spMkLst>
        </pc:spChg>
        <pc:spChg chg="add del mod replST">
          <ac:chgData name="Muchahary, Frankle" userId="0f2bf491-0617-4378-90b8-89af8fa381b9" providerId="ADAL" clId="{90877F19-00D2-4A00-8128-E78E36266C9A}" dt="2023-11-04T20:13:22.836" v="101362"/>
          <ac:spMkLst>
            <pc:docMk/>
            <pc:sldMk cId="708553223" sldId="317"/>
            <ac:spMk id="1262" creationId="{3336ACF9-3A49-2E2A-FF86-16A263D6B88A}"/>
          </ac:spMkLst>
        </pc:spChg>
        <pc:spChg chg="add del mod ord replST">
          <ac:chgData name="Muchahary, Frankle" userId="0f2bf491-0617-4378-90b8-89af8fa381b9" providerId="ADAL" clId="{90877F19-00D2-4A00-8128-E78E36266C9A}" dt="2023-11-04T20:06:08.356" v="88650"/>
          <ac:spMkLst>
            <pc:docMk/>
            <pc:sldMk cId="708553223" sldId="317"/>
            <ac:spMk id="1263" creationId="{FE2206BB-BAD9-DCDD-15D4-5BD9A78117D9}"/>
          </ac:spMkLst>
        </pc:spChg>
        <pc:spChg chg="add del mod ord replST">
          <ac:chgData name="Muchahary, Frankle" userId="0f2bf491-0617-4378-90b8-89af8fa381b9" providerId="ADAL" clId="{90877F19-00D2-4A00-8128-E78E36266C9A}" dt="2023-11-04T20:06:08.365" v="88666"/>
          <ac:spMkLst>
            <pc:docMk/>
            <pc:sldMk cId="708553223" sldId="317"/>
            <ac:spMk id="1264" creationId="{651F463A-9FDB-481F-28F6-6BBB71EE09BF}"/>
          </ac:spMkLst>
        </pc:spChg>
        <pc:spChg chg="add del mod replST">
          <ac:chgData name="Muchahary, Frankle" userId="0f2bf491-0617-4378-90b8-89af8fa381b9" providerId="ADAL" clId="{90877F19-00D2-4A00-8128-E78E36266C9A}" dt="2023-11-04T20:06:08.373" v="88681"/>
          <ac:spMkLst>
            <pc:docMk/>
            <pc:sldMk cId="708553223" sldId="317"/>
            <ac:spMk id="1265" creationId="{BD66D8B5-45AA-BCC3-2B36-E5EB4FDBFC7D}"/>
          </ac:spMkLst>
        </pc:spChg>
        <pc:spChg chg="add del mod ord replST">
          <ac:chgData name="Muchahary, Frankle" userId="0f2bf491-0617-4378-90b8-89af8fa381b9" providerId="ADAL" clId="{90877F19-00D2-4A00-8128-E78E36266C9A}" dt="2023-11-04T20:06:08.381" v="88694"/>
          <ac:spMkLst>
            <pc:docMk/>
            <pc:sldMk cId="708553223" sldId="317"/>
            <ac:spMk id="1266" creationId="{04BB667C-BD67-05AF-5F1C-910A392FCB99}"/>
          </ac:spMkLst>
        </pc:spChg>
        <pc:spChg chg="add del mod ord replST">
          <ac:chgData name="Muchahary, Frankle" userId="0f2bf491-0617-4378-90b8-89af8fa381b9" providerId="ADAL" clId="{90877F19-00D2-4A00-8128-E78E36266C9A}" dt="2023-11-04T20:06:08.391" v="88710"/>
          <ac:spMkLst>
            <pc:docMk/>
            <pc:sldMk cId="708553223" sldId="317"/>
            <ac:spMk id="1267" creationId="{BBBD0773-07F9-912B-74DF-1CF55C55A1D1}"/>
          </ac:spMkLst>
        </pc:spChg>
        <pc:spChg chg="add del mod replST">
          <ac:chgData name="Muchahary, Frankle" userId="0f2bf491-0617-4378-90b8-89af8fa381b9" providerId="ADAL" clId="{90877F19-00D2-4A00-8128-E78E36266C9A}" dt="2023-11-04T20:06:08.402" v="88725"/>
          <ac:spMkLst>
            <pc:docMk/>
            <pc:sldMk cId="708553223" sldId="317"/>
            <ac:spMk id="1268" creationId="{85B4112C-EDC5-5BB0-A4EA-C535DF135730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10" v="88738"/>
          <ac:spMkLst>
            <pc:docMk/>
            <pc:sldMk cId="708553223" sldId="317"/>
            <ac:spMk id="1269" creationId="{9D3D4F37-7AEC-A05D-53FC-ACE05630E05E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20" v="88754"/>
          <ac:spMkLst>
            <pc:docMk/>
            <pc:sldMk cId="708553223" sldId="317"/>
            <ac:spMk id="1270" creationId="{F0A4C542-4EEA-D32C-5876-065D1179E07E}"/>
          </ac:spMkLst>
        </pc:spChg>
        <pc:spChg chg="add del mod replST">
          <ac:chgData name="Muchahary, Frankle" userId="0f2bf491-0617-4378-90b8-89af8fa381b9" providerId="ADAL" clId="{90877F19-00D2-4A00-8128-E78E36266C9A}" dt="2023-11-04T20:06:08.430" v="88769"/>
          <ac:spMkLst>
            <pc:docMk/>
            <pc:sldMk cId="708553223" sldId="317"/>
            <ac:spMk id="1271" creationId="{20CC4BA7-172B-FC85-5BAA-CBA12C1736F1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24" v="101507"/>
          <ac:spMkLst>
            <pc:docMk/>
            <pc:sldMk cId="708553223" sldId="317"/>
            <ac:spMk id="1272" creationId="{A3EF7C5A-BF46-057B-458F-FF9BFDBC926A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33" v="101523"/>
          <ac:spMkLst>
            <pc:docMk/>
            <pc:sldMk cId="708553223" sldId="317"/>
            <ac:spMk id="1273" creationId="{509895B3-1F10-4427-09AD-5CC7931CCDF2}"/>
          </ac:spMkLst>
        </pc:spChg>
        <pc:spChg chg="add del mod replST">
          <ac:chgData name="Muchahary, Frankle" userId="0f2bf491-0617-4378-90b8-89af8fa381b9" providerId="ADAL" clId="{90877F19-00D2-4A00-8128-E78E36266C9A}" dt="2023-11-04T20:13:22.940" v="101538"/>
          <ac:spMkLst>
            <pc:docMk/>
            <pc:sldMk cId="708553223" sldId="317"/>
            <ac:spMk id="1274" creationId="{393912B9-31CB-D9A4-6E88-4A4B90763D7B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46" v="88802"/>
          <ac:spMkLst>
            <pc:docMk/>
            <pc:sldMk cId="708553223" sldId="317"/>
            <ac:spMk id="1275" creationId="{7947B77C-D3F5-5BC8-D284-44381423EFB1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56" v="88818"/>
          <ac:spMkLst>
            <pc:docMk/>
            <pc:sldMk cId="708553223" sldId="317"/>
            <ac:spMk id="1276" creationId="{EF0733C2-B1B3-5F8A-A918-1AA8AF148E83}"/>
          </ac:spMkLst>
        </pc:spChg>
        <pc:spChg chg="add del mod replST">
          <ac:chgData name="Muchahary, Frankle" userId="0f2bf491-0617-4378-90b8-89af8fa381b9" providerId="ADAL" clId="{90877F19-00D2-4A00-8128-E78E36266C9A}" dt="2023-11-04T20:06:08.476" v="88833"/>
          <ac:spMkLst>
            <pc:docMk/>
            <pc:sldMk cId="708553223" sldId="317"/>
            <ac:spMk id="1277" creationId="{68C0A531-3181-048A-B198-4E84A4D6B294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84" v="88846"/>
          <ac:spMkLst>
            <pc:docMk/>
            <pc:sldMk cId="708553223" sldId="317"/>
            <ac:spMk id="1278" creationId="{33EC960A-0514-8A41-C5DC-BCD3D2F6231C}"/>
          </ac:spMkLst>
        </pc:spChg>
        <pc:spChg chg="add del mod ord replST">
          <ac:chgData name="Muchahary, Frankle" userId="0f2bf491-0617-4378-90b8-89af8fa381b9" providerId="ADAL" clId="{90877F19-00D2-4A00-8128-E78E36266C9A}" dt="2023-11-04T20:06:08.494" v="88862"/>
          <ac:spMkLst>
            <pc:docMk/>
            <pc:sldMk cId="708553223" sldId="317"/>
            <ac:spMk id="1279" creationId="{80AC6660-DAD3-03E6-9609-FA846F816D63}"/>
          </ac:spMkLst>
        </pc:spChg>
        <pc:spChg chg="add del mod replST">
          <ac:chgData name="Muchahary, Frankle" userId="0f2bf491-0617-4378-90b8-89af8fa381b9" providerId="ADAL" clId="{90877F19-00D2-4A00-8128-E78E36266C9A}" dt="2023-11-04T20:06:08.503" v="88877"/>
          <ac:spMkLst>
            <pc:docMk/>
            <pc:sldMk cId="708553223" sldId="317"/>
            <ac:spMk id="1280" creationId="{AF2E0190-03F5-A2CC-E75A-07B13F2315CB}"/>
          </ac:spMkLst>
        </pc:spChg>
        <pc:spChg chg="add del mod ord replST">
          <ac:chgData name="Muchahary, Frankle" userId="0f2bf491-0617-4378-90b8-89af8fa381b9" providerId="ADAL" clId="{90877F19-00D2-4A00-8128-E78E36266C9A}" dt="2023-11-04T20:06:08.509" v="88890"/>
          <ac:spMkLst>
            <pc:docMk/>
            <pc:sldMk cId="708553223" sldId="317"/>
            <ac:spMk id="1281" creationId="{30BA43BC-8095-1D7F-4248-2A0F0961A59D}"/>
          </ac:spMkLst>
        </pc:spChg>
        <pc:spChg chg="add del mod ord replST">
          <ac:chgData name="Muchahary, Frankle" userId="0f2bf491-0617-4378-90b8-89af8fa381b9" providerId="ADAL" clId="{90877F19-00D2-4A00-8128-E78E36266C9A}" dt="2023-11-04T20:06:08.519" v="88906"/>
          <ac:spMkLst>
            <pc:docMk/>
            <pc:sldMk cId="708553223" sldId="317"/>
            <ac:spMk id="1282" creationId="{9552198B-FC03-ABD3-132F-B414659712C0}"/>
          </ac:spMkLst>
        </pc:spChg>
        <pc:spChg chg="add del mod replST">
          <ac:chgData name="Muchahary, Frankle" userId="0f2bf491-0617-4378-90b8-89af8fa381b9" providerId="ADAL" clId="{90877F19-00D2-4A00-8128-E78E36266C9A}" dt="2023-11-04T20:06:08.528" v="88921"/>
          <ac:spMkLst>
            <pc:docMk/>
            <pc:sldMk cId="708553223" sldId="317"/>
            <ac:spMk id="1283" creationId="{5ABD8385-EA5B-6CBC-FDA8-64331B585DC6}"/>
          </ac:spMkLst>
        </pc:spChg>
        <pc:spChg chg="add del mod modVis">
          <ac:chgData name="Muchahary, Frankle" userId="0f2bf491-0617-4378-90b8-89af8fa381b9" providerId="ADAL" clId="{90877F19-00D2-4A00-8128-E78E36266C9A}" dt="2023-11-04T20:05:58.984" v="88584"/>
          <ac:spMkLst>
            <pc:docMk/>
            <pc:sldMk cId="708553223" sldId="317"/>
            <ac:spMk id="1285" creationId="{BE90B1C1-C801-4821-7E7A-70AA7BAB6A8B}"/>
          </ac:spMkLst>
        </pc:spChg>
        <pc:spChg chg="add del mod modVis">
          <ac:chgData name="Muchahary, Frankle" userId="0f2bf491-0617-4378-90b8-89af8fa381b9" providerId="ADAL" clId="{90877F19-00D2-4A00-8128-E78E36266C9A}" dt="2023-11-04T20:06:08.767" v="89393"/>
          <ac:spMkLst>
            <pc:docMk/>
            <pc:sldMk cId="708553223" sldId="317"/>
            <ac:spMk id="1287" creationId="{D667EDFD-0B40-00D2-4116-AEE4D0681A29}"/>
          </ac:spMkLst>
        </pc:spChg>
        <pc:spChg chg="add del mod ord replST">
          <ac:chgData name="Muchahary, Frankle" userId="0f2bf491-0617-4378-90b8-89af8fa381b9" providerId="ADAL" clId="{90877F19-00D2-4A00-8128-E78E36266C9A}" dt="2023-11-04T20:07:28.380" v="91066"/>
          <ac:spMkLst>
            <pc:docMk/>
            <pc:sldMk cId="708553223" sldId="317"/>
            <ac:spMk id="1288" creationId="{628E38F9-E042-12E4-88C8-9E63076437F3}"/>
          </ac:spMkLst>
        </pc:spChg>
        <pc:spChg chg="add del mod ord replST">
          <ac:chgData name="Muchahary, Frankle" userId="0f2bf491-0617-4378-90b8-89af8fa381b9" providerId="ADAL" clId="{90877F19-00D2-4A00-8128-E78E36266C9A}" dt="2023-11-04T20:07:28.390" v="91082"/>
          <ac:spMkLst>
            <pc:docMk/>
            <pc:sldMk cId="708553223" sldId="317"/>
            <ac:spMk id="1289" creationId="{B8B5E94C-444A-8396-B0D1-987342795935}"/>
          </ac:spMkLst>
        </pc:spChg>
        <pc:spChg chg="add del mod replST">
          <ac:chgData name="Muchahary, Frankle" userId="0f2bf491-0617-4378-90b8-89af8fa381b9" providerId="ADAL" clId="{90877F19-00D2-4A00-8128-E78E36266C9A}" dt="2023-11-04T20:07:28.399" v="91097"/>
          <ac:spMkLst>
            <pc:docMk/>
            <pc:sldMk cId="708553223" sldId="317"/>
            <ac:spMk id="1290" creationId="{31F28991-2400-3EB1-EA00-76DB263DB64E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07" v="91110"/>
          <ac:spMkLst>
            <pc:docMk/>
            <pc:sldMk cId="708553223" sldId="317"/>
            <ac:spMk id="1291" creationId="{8101C2A8-D8C4-9D3D-B4B4-C14F589FA25E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17" v="91126"/>
          <ac:spMkLst>
            <pc:docMk/>
            <pc:sldMk cId="708553223" sldId="317"/>
            <ac:spMk id="1292" creationId="{CF164D5F-E4CA-C3A0-FA2A-09DBD175814C}"/>
          </ac:spMkLst>
        </pc:spChg>
        <pc:spChg chg="add del mod replST">
          <ac:chgData name="Muchahary, Frankle" userId="0f2bf491-0617-4378-90b8-89af8fa381b9" providerId="ADAL" clId="{90877F19-00D2-4A00-8128-E78E36266C9A}" dt="2023-11-04T20:07:28.425" v="91141"/>
          <ac:spMkLst>
            <pc:docMk/>
            <pc:sldMk cId="708553223" sldId="317"/>
            <ac:spMk id="1293" creationId="{ED0B4FD0-D962-33AF-19EA-1C0F09CAF494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34" v="91154"/>
          <ac:spMkLst>
            <pc:docMk/>
            <pc:sldMk cId="708553223" sldId="317"/>
            <ac:spMk id="1294" creationId="{BA99D3B0-E973-4AD8-2D4B-779BF53F17C5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42" v="91170"/>
          <ac:spMkLst>
            <pc:docMk/>
            <pc:sldMk cId="708553223" sldId="317"/>
            <ac:spMk id="1295" creationId="{0E3E5CB6-0004-3D67-6FFE-662F6A9C7FA0}"/>
          </ac:spMkLst>
        </pc:spChg>
        <pc:spChg chg="add del mod replST">
          <ac:chgData name="Muchahary, Frankle" userId="0f2bf491-0617-4378-90b8-89af8fa381b9" providerId="ADAL" clId="{90877F19-00D2-4A00-8128-E78E36266C9A}" dt="2023-11-04T20:07:28.450" v="91185"/>
          <ac:spMkLst>
            <pc:docMk/>
            <pc:sldMk cId="708553223" sldId="317"/>
            <ac:spMk id="1296" creationId="{EF125A0B-24D4-72EB-8E62-7BFBFC917964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60" v="91208"/>
          <ac:spMkLst>
            <pc:docMk/>
            <pc:sldMk cId="708553223" sldId="317"/>
            <ac:spMk id="1297" creationId="{CC1B4373-CC3D-ACC4-DB65-85EE1B45ABFA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68" v="91224"/>
          <ac:spMkLst>
            <pc:docMk/>
            <pc:sldMk cId="708553223" sldId="317"/>
            <ac:spMk id="1298" creationId="{7D6FF41E-44E9-20EC-306F-DC3702F56E03}"/>
          </ac:spMkLst>
        </pc:spChg>
        <pc:spChg chg="add del mod replST">
          <ac:chgData name="Muchahary, Frankle" userId="0f2bf491-0617-4378-90b8-89af8fa381b9" providerId="ADAL" clId="{90877F19-00D2-4A00-8128-E78E36266C9A}" dt="2023-11-04T20:07:28.476" v="91239"/>
          <ac:spMkLst>
            <pc:docMk/>
            <pc:sldMk cId="708553223" sldId="317"/>
            <ac:spMk id="1299" creationId="{CA67B19D-5927-1F99-2392-F7B3336B202C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83" v="91252"/>
          <ac:spMkLst>
            <pc:docMk/>
            <pc:sldMk cId="708553223" sldId="317"/>
            <ac:spMk id="1300" creationId="{79B69979-59A4-1BF9-7A7D-0255D2CD2405}"/>
          </ac:spMkLst>
        </pc:spChg>
        <pc:spChg chg="add del mod ord replST">
          <ac:chgData name="Muchahary, Frankle" userId="0f2bf491-0617-4378-90b8-89af8fa381b9" providerId="ADAL" clId="{90877F19-00D2-4A00-8128-E78E36266C9A}" dt="2023-11-04T20:07:28.491" v="91268"/>
          <ac:spMkLst>
            <pc:docMk/>
            <pc:sldMk cId="708553223" sldId="317"/>
            <ac:spMk id="1301" creationId="{CF482326-E69A-6247-B129-3CFAB9AACCA0}"/>
          </ac:spMkLst>
        </pc:spChg>
        <pc:spChg chg="add del mod replST">
          <ac:chgData name="Muchahary, Frankle" userId="0f2bf491-0617-4378-90b8-89af8fa381b9" providerId="ADAL" clId="{90877F19-00D2-4A00-8128-E78E36266C9A}" dt="2023-11-04T20:07:28.499" v="91283"/>
          <ac:spMkLst>
            <pc:docMk/>
            <pc:sldMk cId="708553223" sldId="317"/>
            <ac:spMk id="1302" creationId="{65681CA7-26FC-93F0-03F3-C0CC5B70F728}"/>
          </ac:spMkLst>
        </pc:spChg>
        <pc:spChg chg="add del mod ord replST">
          <ac:chgData name="Muchahary, Frankle" userId="0f2bf491-0617-4378-90b8-89af8fa381b9" providerId="ADAL" clId="{90877F19-00D2-4A00-8128-E78E36266C9A}" dt="2023-11-04T20:07:28.507" v="91296"/>
          <ac:spMkLst>
            <pc:docMk/>
            <pc:sldMk cId="708553223" sldId="317"/>
            <ac:spMk id="1303" creationId="{DF202ED9-A500-4C38-05FD-EC1A4AA13686}"/>
          </ac:spMkLst>
        </pc:spChg>
        <pc:spChg chg="add del mod ord replST">
          <ac:chgData name="Muchahary, Frankle" userId="0f2bf491-0617-4378-90b8-89af8fa381b9" providerId="ADAL" clId="{90877F19-00D2-4A00-8128-E78E36266C9A}" dt="2023-11-04T20:07:28.516" v="91312"/>
          <ac:spMkLst>
            <pc:docMk/>
            <pc:sldMk cId="708553223" sldId="317"/>
            <ac:spMk id="1304" creationId="{FC991A6D-1EF5-B49B-63E5-09CCD8CC0083}"/>
          </ac:spMkLst>
        </pc:spChg>
        <pc:spChg chg="add del mod replST">
          <ac:chgData name="Muchahary, Frankle" userId="0f2bf491-0617-4378-90b8-89af8fa381b9" providerId="ADAL" clId="{90877F19-00D2-4A00-8128-E78E36266C9A}" dt="2023-11-04T20:07:28.524" v="91327"/>
          <ac:spMkLst>
            <pc:docMk/>
            <pc:sldMk cId="708553223" sldId="317"/>
            <ac:spMk id="1305" creationId="{74D6E400-E756-0F9E-6C24-F4B4C19283A0}"/>
          </ac:spMkLst>
        </pc:spChg>
        <pc:spChg chg="add del mod modVis">
          <ac:chgData name="Muchahary, Frankle" userId="0f2bf491-0617-4378-90b8-89af8fa381b9" providerId="ADAL" clId="{90877F19-00D2-4A00-8128-E78E36266C9A}" dt="2023-11-04T20:06:32.107" v="89621"/>
          <ac:spMkLst>
            <pc:docMk/>
            <pc:sldMk cId="708553223" sldId="317"/>
            <ac:spMk id="1307" creationId="{315A85B0-C206-6EE5-B680-3D43B0C7114B}"/>
          </ac:spMkLst>
        </pc:spChg>
        <pc:spChg chg="add del mod modVis">
          <ac:chgData name="Muchahary, Frankle" userId="0f2bf491-0617-4378-90b8-89af8fa381b9" providerId="ADAL" clId="{90877F19-00D2-4A00-8128-E78E36266C9A}" dt="2023-11-04T20:06:39.663" v="89851"/>
          <ac:spMkLst>
            <pc:docMk/>
            <pc:sldMk cId="708553223" sldId="317"/>
            <ac:spMk id="1309" creationId="{9734A61E-8D50-59F5-130E-E6245E2F3F62}"/>
          </ac:spMkLst>
        </pc:spChg>
        <pc:spChg chg="add del mod modVis">
          <ac:chgData name="Muchahary, Frankle" userId="0f2bf491-0617-4378-90b8-89af8fa381b9" providerId="ADAL" clId="{90877F19-00D2-4A00-8128-E78E36266C9A}" dt="2023-11-04T20:06:40.662" v="90079"/>
          <ac:spMkLst>
            <pc:docMk/>
            <pc:sldMk cId="708553223" sldId="317"/>
            <ac:spMk id="1311" creationId="{60C30139-9F2F-E417-8AB3-4960284DE595}"/>
          </ac:spMkLst>
        </pc:spChg>
        <pc:spChg chg="add del mod modVis">
          <ac:chgData name="Muchahary, Frankle" userId="0f2bf491-0617-4378-90b8-89af8fa381b9" providerId="ADAL" clId="{90877F19-00D2-4A00-8128-E78E36266C9A}" dt="2023-11-04T20:06:43.401" v="90320"/>
          <ac:spMkLst>
            <pc:docMk/>
            <pc:sldMk cId="708553223" sldId="317"/>
            <ac:spMk id="1313" creationId="{E3CEE78F-C500-8DCE-3122-D932192C809E}"/>
          </ac:spMkLst>
        </pc:spChg>
        <pc:spChg chg="add del mod modVis">
          <ac:chgData name="Muchahary, Frankle" userId="0f2bf491-0617-4378-90b8-89af8fa381b9" providerId="ADAL" clId="{90877F19-00D2-4A00-8128-E78E36266C9A}" dt="2023-11-04T20:06:47.044" v="90550"/>
          <ac:spMkLst>
            <pc:docMk/>
            <pc:sldMk cId="708553223" sldId="317"/>
            <ac:spMk id="1315" creationId="{0205111B-78DE-7DAC-FF37-5A6A6EC19FE2}"/>
          </ac:spMkLst>
        </pc:spChg>
        <pc:spChg chg="add del mod modVis">
          <ac:chgData name="Muchahary, Frankle" userId="0f2bf491-0617-4378-90b8-89af8fa381b9" providerId="ADAL" clId="{90877F19-00D2-4A00-8128-E78E36266C9A}" dt="2023-11-04T20:06:55.714" v="90780"/>
          <ac:spMkLst>
            <pc:docMk/>
            <pc:sldMk cId="708553223" sldId="317"/>
            <ac:spMk id="1317" creationId="{66F85AC6-5AFE-9B64-2BC7-6889A74476CF}"/>
          </ac:spMkLst>
        </pc:spChg>
        <pc:spChg chg="add del mod modVis">
          <ac:chgData name="Muchahary, Frankle" userId="0f2bf491-0617-4378-90b8-89af8fa381b9" providerId="ADAL" clId="{90877F19-00D2-4A00-8128-E78E36266C9A}" dt="2023-11-04T20:07:06.993" v="91010"/>
          <ac:spMkLst>
            <pc:docMk/>
            <pc:sldMk cId="708553223" sldId="317"/>
            <ac:spMk id="1319" creationId="{9943032A-7803-C71D-2ACB-721ABD64B9F6}"/>
          </ac:spMkLst>
        </pc:spChg>
        <pc:spChg chg="add del mod modVis">
          <ac:chgData name="Muchahary, Frankle" userId="0f2bf491-0617-4378-90b8-89af8fa381b9" providerId="ADAL" clId="{90877F19-00D2-4A00-8128-E78E36266C9A}" dt="2023-11-04T20:07:28.724" v="91701"/>
          <ac:spMkLst>
            <pc:docMk/>
            <pc:sldMk cId="708553223" sldId="317"/>
            <ac:spMk id="1321" creationId="{86775926-A2B2-02E5-759D-58ADB9E4C098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18" v="91747"/>
          <ac:spMkLst>
            <pc:docMk/>
            <pc:sldMk cId="708553223" sldId="317"/>
            <ac:spMk id="1322" creationId="{B60453EE-3B99-039C-A47E-F20E07A03D3F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29" v="91763"/>
          <ac:spMkLst>
            <pc:docMk/>
            <pc:sldMk cId="708553223" sldId="317"/>
            <ac:spMk id="1323" creationId="{114C1766-8B6D-A863-47DD-B5E1D52AA3C8}"/>
          </ac:spMkLst>
        </pc:spChg>
        <pc:spChg chg="add del mod replST">
          <ac:chgData name="Muchahary, Frankle" userId="0f2bf491-0617-4378-90b8-89af8fa381b9" providerId="ADAL" clId="{90877F19-00D2-4A00-8128-E78E36266C9A}" dt="2023-11-04T20:07:30.736" v="91778"/>
          <ac:spMkLst>
            <pc:docMk/>
            <pc:sldMk cId="708553223" sldId="317"/>
            <ac:spMk id="1324" creationId="{4B9700E1-CC96-9CD9-D1D8-AF7A023768B8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43" v="91791"/>
          <ac:spMkLst>
            <pc:docMk/>
            <pc:sldMk cId="708553223" sldId="317"/>
            <ac:spMk id="1325" creationId="{F6C09C3D-9921-C061-6107-DFD4A43946A5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51" v="91807"/>
          <ac:spMkLst>
            <pc:docMk/>
            <pc:sldMk cId="708553223" sldId="317"/>
            <ac:spMk id="1326" creationId="{229049A0-F80A-2AF8-665B-8D764DBD98AC}"/>
          </ac:spMkLst>
        </pc:spChg>
        <pc:spChg chg="add del mod replST">
          <ac:chgData name="Muchahary, Frankle" userId="0f2bf491-0617-4378-90b8-89af8fa381b9" providerId="ADAL" clId="{90877F19-00D2-4A00-8128-E78E36266C9A}" dt="2023-11-04T20:07:30.760" v="91822"/>
          <ac:spMkLst>
            <pc:docMk/>
            <pc:sldMk cId="708553223" sldId="317"/>
            <ac:spMk id="1327" creationId="{6F307B82-0EA0-66CE-3B43-A411E5F4EF9A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66" v="91835"/>
          <ac:spMkLst>
            <pc:docMk/>
            <pc:sldMk cId="708553223" sldId="317"/>
            <ac:spMk id="1328" creationId="{E8DC5C3F-CD60-CC92-9241-672E58241BA7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76" v="91851"/>
          <ac:spMkLst>
            <pc:docMk/>
            <pc:sldMk cId="708553223" sldId="317"/>
            <ac:spMk id="1329" creationId="{56085D62-6B7B-2791-9CAF-D8FF03D2CC7D}"/>
          </ac:spMkLst>
        </pc:spChg>
        <pc:spChg chg="add del mod replST">
          <ac:chgData name="Muchahary, Frankle" userId="0f2bf491-0617-4378-90b8-89af8fa381b9" providerId="ADAL" clId="{90877F19-00D2-4A00-8128-E78E36266C9A}" dt="2023-11-04T20:07:30.784" v="91866"/>
          <ac:spMkLst>
            <pc:docMk/>
            <pc:sldMk cId="708553223" sldId="317"/>
            <ac:spMk id="1330" creationId="{0D595A70-4F4E-9CDF-6862-7ABE2A9CE997}"/>
          </ac:spMkLst>
        </pc:spChg>
        <pc:spChg chg="add del mod ord replST">
          <ac:chgData name="Muchahary, Frankle" userId="0f2bf491-0617-4378-90b8-89af8fa381b9" providerId="ADAL" clId="{90877F19-00D2-4A00-8128-E78E36266C9A}" dt="2023-11-04T20:07:30.792" v="91879"/>
          <ac:spMkLst>
            <pc:docMk/>
            <pc:sldMk cId="708553223" sldId="317"/>
            <ac:spMk id="1331" creationId="{40BB776E-382C-B457-116B-98962F805F85}"/>
          </ac:spMkLst>
        </pc:spChg>
        <pc:spChg chg="add del mod ord replST">
          <ac:chgData name="Muchahary, Frankle" userId="0f2bf491-0617-4378-90b8-89af8fa381b9" providerId="ADAL" clId="{90877F19-00D2-4A00-8128-E78E36266C9A}" dt="2023-11-04T20:07:30.800" v="91895"/>
          <ac:spMkLst>
            <pc:docMk/>
            <pc:sldMk cId="708553223" sldId="317"/>
            <ac:spMk id="1332" creationId="{E57A3BA9-2CD6-C56E-0074-C796A417EC32}"/>
          </ac:spMkLst>
        </pc:spChg>
        <pc:spChg chg="add del mod replST">
          <ac:chgData name="Muchahary, Frankle" userId="0f2bf491-0617-4378-90b8-89af8fa381b9" providerId="ADAL" clId="{90877F19-00D2-4A00-8128-E78E36266C9A}" dt="2023-11-04T20:07:30.808" v="91910"/>
          <ac:spMkLst>
            <pc:docMk/>
            <pc:sldMk cId="708553223" sldId="317"/>
            <ac:spMk id="1333" creationId="{E17C0604-00F7-B83D-693E-453291E52F46}"/>
          </ac:spMkLst>
        </pc:spChg>
        <pc:spChg chg="add del mod ord replST">
          <ac:chgData name="Muchahary, Frankle" userId="0f2bf491-0617-4378-90b8-89af8fa381b9" providerId="ADAL" clId="{90877F19-00D2-4A00-8128-E78E36266C9A}" dt="2023-11-04T20:07:30.816" v="91923"/>
          <ac:spMkLst>
            <pc:docMk/>
            <pc:sldMk cId="708553223" sldId="317"/>
            <ac:spMk id="1334" creationId="{FB7995E7-0E76-6329-1FD7-F8F6EB263C89}"/>
          </ac:spMkLst>
        </pc:spChg>
        <pc:spChg chg="add del mod ord replST">
          <ac:chgData name="Muchahary, Frankle" userId="0f2bf491-0617-4378-90b8-89af8fa381b9" providerId="ADAL" clId="{90877F19-00D2-4A00-8128-E78E36266C9A}" dt="2023-11-04T20:07:30.825" v="91939"/>
          <ac:spMkLst>
            <pc:docMk/>
            <pc:sldMk cId="708553223" sldId="317"/>
            <ac:spMk id="1335" creationId="{362D08EF-6424-A46E-079B-158D1B1BFD7F}"/>
          </ac:spMkLst>
        </pc:spChg>
        <pc:spChg chg="add del mod replST">
          <ac:chgData name="Muchahary, Frankle" userId="0f2bf491-0617-4378-90b8-89af8fa381b9" providerId="ADAL" clId="{90877F19-00D2-4A00-8128-E78E36266C9A}" dt="2023-11-04T20:07:30.835" v="91954"/>
          <ac:spMkLst>
            <pc:docMk/>
            <pc:sldMk cId="708553223" sldId="317"/>
            <ac:spMk id="1336" creationId="{B16487C3-53F8-3EA0-F39C-4E72B520892D}"/>
          </ac:spMkLst>
        </pc:spChg>
        <pc:spChg chg="add del mod ord replST">
          <ac:chgData name="Muchahary, Frankle" userId="0f2bf491-0617-4378-90b8-89af8fa381b9" providerId="ADAL" clId="{90877F19-00D2-4A00-8128-E78E36266C9A}" dt="2023-11-04T20:07:30.844" v="91967"/>
          <ac:spMkLst>
            <pc:docMk/>
            <pc:sldMk cId="708553223" sldId="317"/>
            <ac:spMk id="1337" creationId="{BD7C8429-8EEB-1361-E2D7-9C8379A40C58}"/>
          </ac:spMkLst>
        </pc:spChg>
        <pc:spChg chg="add del mod ord replST">
          <ac:chgData name="Muchahary, Frankle" userId="0f2bf491-0617-4378-90b8-89af8fa381b9" providerId="ADAL" clId="{90877F19-00D2-4A00-8128-E78E36266C9A}" dt="2023-11-04T20:07:30.853" v="91983"/>
          <ac:spMkLst>
            <pc:docMk/>
            <pc:sldMk cId="708553223" sldId="317"/>
            <ac:spMk id="1338" creationId="{0860BF96-179D-6C3A-1813-C5CDB9E470C5}"/>
          </ac:spMkLst>
        </pc:spChg>
        <pc:spChg chg="add del mod replST">
          <ac:chgData name="Muchahary, Frankle" userId="0f2bf491-0617-4378-90b8-89af8fa381b9" providerId="ADAL" clId="{90877F19-00D2-4A00-8128-E78E36266C9A}" dt="2023-11-04T20:07:30.862" v="91998"/>
          <ac:spMkLst>
            <pc:docMk/>
            <pc:sldMk cId="708553223" sldId="317"/>
            <ac:spMk id="1339" creationId="{E5B3E38D-A0F9-93C7-5C07-AFE4BB9B7E52}"/>
          </ac:spMkLst>
        </pc:spChg>
        <pc:spChg chg="add del mod modVis">
          <ac:chgData name="Muchahary, Frankle" userId="0f2bf491-0617-4378-90b8-89af8fa381b9" providerId="ADAL" clId="{90877F19-00D2-4A00-8128-E78E36266C9A}" dt="2023-11-04T20:07:31.072" v="92336"/>
          <ac:spMkLst>
            <pc:docMk/>
            <pc:sldMk cId="708553223" sldId="317"/>
            <ac:spMk id="1341" creationId="{BF4D6072-1DFA-E02E-6430-E468924245C8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43" v="101375"/>
          <ac:spMkLst>
            <pc:docMk/>
            <pc:sldMk cId="708553223" sldId="317"/>
            <ac:spMk id="1342" creationId="{2582960D-1F2E-5C1D-968C-E8851226ABA3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51" v="101391"/>
          <ac:spMkLst>
            <pc:docMk/>
            <pc:sldMk cId="708553223" sldId="317"/>
            <ac:spMk id="1343" creationId="{EFE7F1EC-CE0D-3270-4099-68666A9190C8}"/>
          </ac:spMkLst>
        </pc:spChg>
        <pc:spChg chg="add del mod replST">
          <ac:chgData name="Muchahary, Frankle" userId="0f2bf491-0617-4378-90b8-89af8fa381b9" providerId="ADAL" clId="{90877F19-00D2-4A00-8128-E78E36266C9A}" dt="2023-11-04T20:13:22.859" v="101406"/>
          <ac:spMkLst>
            <pc:docMk/>
            <pc:sldMk cId="708553223" sldId="317"/>
            <ac:spMk id="1344" creationId="{52231F00-2184-1436-8DDE-3843970782B2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67" v="101419"/>
          <ac:spMkLst>
            <pc:docMk/>
            <pc:sldMk cId="708553223" sldId="317"/>
            <ac:spMk id="1345" creationId="{C7BA1B06-6471-1EC2-3E2A-F943854FEB82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78" v="101435"/>
          <ac:spMkLst>
            <pc:docMk/>
            <pc:sldMk cId="708553223" sldId="317"/>
            <ac:spMk id="1346" creationId="{84671569-A6C9-A9CF-C89E-BCC6AEF59502}"/>
          </ac:spMkLst>
        </pc:spChg>
        <pc:spChg chg="add del mod replST">
          <ac:chgData name="Muchahary, Frankle" userId="0f2bf491-0617-4378-90b8-89af8fa381b9" providerId="ADAL" clId="{90877F19-00D2-4A00-8128-E78E36266C9A}" dt="2023-11-04T20:13:22.888" v="101450"/>
          <ac:spMkLst>
            <pc:docMk/>
            <pc:sldMk cId="708553223" sldId="317"/>
            <ac:spMk id="1347" creationId="{0F0C28A1-6E71-26ED-CA5E-20A40FA2F761}"/>
          </ac:spMkLst>
        </pc:spChg>
        <pc:spChg chg="add del mod ord replST">
          <ac:chgData name="Muchahary, Frankle" userId="0f2bf491-0617-4378-90b8-89af8fa381b9" providerId="ADAL" clId="{90877F19-00D2-4A00-8128-E78E36266C9A}" dt="2023-11-04T20:13:22.897" v="101463"/>
          <ac:spMkLst>
            <pc:docMk/>
            <pc:sldMk cId="708553223" sldId="317"/>
            <ac:spMk id="1348" creationId="{6AD8B00A-3170-3A2D-0A9D-D843D7B405DB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09" v="101479"/>
          <ac:spMkLst>
            <pc:docMk/>
            <pc:sldMk cId="708553223" sldId="317"/>
            <ac:spMk id="1349" creationId="{22972E82-0C25-B1EA-0D53-4CE9BA2A9C78}"/>
          </ac:spMkLst>
        </pc:spChg>
        <pc:spChg chg="add del mod replST">
          <ac:chgData name="Muchahary, Frankle" userId="0f2bf491-0617-4378-90b8-89af8fa381b9" providerId="ADAL" clId="{90877F19-00D2-4A00-8128-E78E36266C9A}" dt="2023-11-04T20:13:22.918" v="101494"/>
          <ac:spMkLst>
            <pc:docMk/>
            <pc:sldMk cId="708553223" sldId="317"/>
            <ac:spMk id="1350" creationId="{0DD03B25-34F6-6243-4ECB-8137070E4273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46" v="101551"/>
          <ac:spMkLst>
            <pc:docMk/>
            <pc:sldMk cId="708553223" sldId="317"/>
            <ac:spMk id="1351" creationId="{F0FB5DA0-EF3A-D01D-5D5D-9C5896620266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57" v="101567"/>
          <ac:spMkLst>
            <pc:docMk/>
            <pc:sldMk cId="708553223" sldId="317"/>
            <ac:spMk id="1352" creationId="{1F278F87-A03E-E589-61A8-FB9D4B163B00}"/>
          </ac:spMkLst>
        </pc:spChg>
        <pc:spChg chg="add del mod replST">
          <ac:chgData name="Muchahary, Frankle" userId="0f2bf491-0617-4378-90b8-89af8fa381b9" providerId="ADAL" clId="{90877F19-00D2-4A00-8128-E78E36266C9A}" dt="2023-11-04T20:13:22.966" v="101582"/>
          <ac:spMkLst>
            <pc:docMk/>
            <pc:sldMk cId="708553223" sldId="317"/>
            <ac:spMk id="1353" creationId="{8DE1709A-B6E6-1340-C972-1D6861FA364E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75" v="101595"/>
          <ac:spMkLst>
            <pc:docMk/>
            <pc:sldMk cId="708553223" sldId="317"/>
            <ac:spMk id="1354" creationId="{9A763DEF-2B6B-94C7-240C-07A4F58E688E}"/>
          </ac:spMkLst>
        </pc:spChg>
        <pc:spChg chg="add del mod ord replST">
          <ac:chgData name="Muchahary, Frankle" userId="0f2bf491-0617-4378-90b8-89af8fa381b9" providerId="ADAL" clId="{90877F19-00D2-4A00-8128-E78E36266C9A}" dt="2023-11-04T20:13:22.987" v="101611"/>
          <ac:spMkLst>
            <pc:docMk/>
            <pc:sldMk cId="708553223" sldId="317"/>
            <ac:spMk id="1355" creationId="{0008B970-7954-2D79-B13C-6ED99FE7978C}"/>
          </ac:spMkLst>
        </pc:spChg>
        <pc:spChg chg="add del mod replST">
          <ac:chgData name="Muchahary, Frankle" userId="0f2bf491-0617-4378-90b8-89af8fa381b9" providerId="ADAL" clId="{90877F19-00D2-4A00-8128-E78E36266C9A}" dt="2023-11-04T20:13:22.997" v="101626"/>
          <ac:spMkLst>
            <pc:docMk/>
            <pc:sldMk cId="708553223" sldId="317"/>
            <ac:spMk id="1356" creationId="{8E16F0D9-563D-7F1E-A208-30EDA74B8F13}"/>
          </ac:spMkLst>
        </pc:spChg>
        <pc:spChg chg="add del mod ord replST">
          <ac:chgData name="Muchahary, Frankle" userId="0f2bf491-0617-4378-90b8-89af8fa381b9" providerId="ADAL" clId="{90877F19-00D2-4A00-8128-E78E36266C9A}" dt="2023-11-04T20:13:23.005" v="101639"/>
          <ac:spMkLst>
            <pc:docMk/>
            <pc:sldMk cId="708553223" sldId="317"/>
            <ac:spMk id="1357" creationId="{1A96C553-1D4F-DA94-95A6-C1A49FBDA463}"/>
          </ac:spMkLst>
        </pc:spChg>
        <pc:spChg chg="add del mod ord replST">
          <ac:chgData name="Muchahary, Frankle" userId="0f2bf491-0617-4378-90b8-89af8fa381b9" providerId="ADAL" clId="{90877F19-00D2-4A00-8128-E78E36266C9A}" dt="2023-11-04T20:13:23.013" v="101655"/>
          <ac:spMkLst>
            <pc:docMk/>
            <pc:sldMk cId="708553223" sldId="317"/>
            <ac:spMk id="1358" creationId="{31D3D9D7-1474-5001-E562-3DF58722C189}"/>
          </ac:spMkLst>
        </pc:spChg>
        <pc:spChg chg="add del mod replST">
          <ac:chgData name="Muchahary, Frankle" userId="0f2bf491-0617-4378-90b8-89af8fa381b9" providerId="ADAL" clId="{90877F19-00D2-4A00-8128-E78E36266C9A}" dt="2023-11-04T20:13:23.024" v="101670"/>
          <ac:spMkLst>
            <pc:docMk/>
            <pc:sldMk cId="708553223" sldId="317"/>
            <ac:spMk id="1359" creationId="{D8C69855-328E-B2A4-5CB0-19023FCE10B0}"/>
          </ac:spMkLst>
        </pc:spChg>
        <pc:spChg chg="add del mod modVis">
          <ac:chgData name="Muchahary, Frankle" userId="0f2bf491-0617-4378-90b8-89af8fa381b9" providerId="ADAL" clId="{90877F19-00D2-4A00-8128-E78E36266C9A}" dt="2023-11-04T20:08:02.538" v="92599"/>
          <ac:spMkLst>
            <pc:docMk/>
            <pc:sldMk cId="708553223" sldId="317"/>
            <ac:spMk id="1361" creationId="{149E6CE8-3CFF-9CED-816A-495FF9C69AB3}"/>
          </ac:spMkLst>
        </pc:spChg>
        <pc:spChg chg="add del mod modVis">
          <ac:chgData name="Muchahary, Frankle" userId="0f2bf491-0617-4378-90b8-89af8fa381b9" providerId="ADAL" clId="{90877F19-00D2-4A00-8128-E78E36266C9A}" dt="2023-11-04T20:08:11.228" v="92850"/>
          <ac:spMkLst>
            <pc:docMk/>
            <pc:sldMk cId="708553223" sldId="317"/>
            <ac:spMk id="1363" creationId="{0C5065C8-96AA-A14E-EF92-DD516CCACFA4}"/>
          </ac:spMkLst>
        </pc:spChg>
        <pc:spChg chg="add del mod modVis">
          <ac:chgData name="Muchahary, Frankle" userId="0f2bf491-0617-4378-90b8-89af8fa381b9" providerId="ADAL" clId="{90877F19-00D2-4A00-8128-E78E36266C9A}" dt="2023-11-04T20:08:15.829" v="93078"/>
          <ac:spMkLst>
            <pc:docMk/>
            <pc:sldMk cId="708553223" sldId="317"/>
            <ac:spMk id="1365" creationId="{DCF72E87-AFE2-9F22-C70F-48748FFEFD98}"/>
          </ac:spMkLst>
        </pc:spChg>
        <pc:spChg chg="add del mod modVis">
          <ac:chgData name="Muchahary, Frankle" userId="0f2bf491-0617-4378-90b8-89af8fa381b9" providerId="ADAL" clId="{90877F19-00D2-4A00-8128-E78E36266C9A}" dt="2023-11-04T20:08:17.472" v="93306"/>
          <ac:spMkLst>
            <pc:docMk/>
            <pc:sldMk cId="708553223" sldId="317"/>
            <ac:spMk id="1367" creationId="{E3376F45-2308-68E4-E076-D8F6F35DF614}"/>
          </ac:spMkLst>
        </pc:spChg>
        <pc:spChg chg="add del mod modVis">
          <ac:chgData name="Muchahary, Frankle" userId="0f2bf491-0617-4378-90b8-89af8fa381b9" providerId="ADAL" clId="{90877F19-00D2-4A00-8128-E78E36266C9A}" dt="2023-11-04T20:08:19.235" v="93534"/>
          <ac:spMkLst>
            <pc:docMk/>
            <pc:sldMk cId="708553223" sldId="317"/>
            <ac:spMk id="1369" creationId="{651723A6-41BF-982D-1562-DC4D3BA92552}"/>
          </ac:spMkLst>
        </pc:spChg>
        <pc:spChg chg="add del mod modVis">
          <ac:chgData name="Muchahary, Frankle" userId="0f2bf491-0617-4378-90b8-89af8fa381b9" providerId="ADAL" clId="{90877F19-00D2-4A00-8128-E78E36266C9A}" dt="2023-11-04T20:08:25.144" v="93762"/>
          <ac:spMkLst>
            <pc:docMk/>
            <pc:sldMk cId="708553223" sldId="317"/>
            <ac:spMk id="1371" creationId="{46F80910-A511-D139-859D-07254F999F90}"/>
          </ac:spMkLst>
        </pc:spChg>
        <pc:spChg chg="add del mod modVis">
          <ac:chgData name="Muchahary, Frankle" userId="0f2bf491-0617-4378-90b8-89af8fa381b9" providerId="ADAL" clId="{90877F19-00D2-4A00-8128-E78E36266C9A}" dt="2023-11-04T20:08:26.276" v="94244"/>
          <ac:spMkLst>
            <pc:docMk/>
            <pc:sldMk cId="708553223" sldId="317"/>
            <ac:spMk id="1373" creationId="{25F98434-5AB7-9C25-0B57-179026FDEC59}"/>
          </ac:spMkLst>
        </pc:spChg>
        <pc:spChg chg="add del mod modVis">
          <ac:chgData name="Muchahary, Frankle" userId="0f2bf491-0617-4378-90b8-89af8fa381b9" providerId="ADAL" clId="{90877F19-00D2-4A00-8128-E78E36266C9A}" dt="2023-11-04T20:08:32.278" v="94472"/>
          <ac:spMkLst>
            <pc:docMk/>
            <pc:sldMk cId="708553223" sldId="317"/>
            <ac:spMk id="1375" creationId="{0D66395A-7382-83AE-BFBB-9481558650EC}"/>
          </ac:spMkLst>
        </pc:spChg>
        <pc:spChg chg="add del mod modVis">
          <ac:chgData name="Muchahary, Frankle" userId="0f2bf491-0617-4378-90b8-89af8fa381b9" providerId="ADAL" clId="{90877F19-00D2-4A00-8128-E78E36266C9A}" dt="2023-11-04T20:09:18.512" v="94731"/>
          <ac:spMkLst>
            <pc:docMk/>
            <pc:sldMk cId="708553223" sldId="317"/>
            <ac:spMk id="1377" creationId="{E4AC75D6-3C64-B3E2-801C-F7E956712411}"/>
          </ac:spMkLst>
        </pc:spChg>
        <pc:spChg chg="add del mod modVis">
          <ac:chgData name="Muchahary, Frankle" userId="0f2bf491-0617-4378-90b8-89af8fa381b9" providerId="ADAL" clId="{90877F19-00D2-4A00-8128-E78E36266C9A}" dt="2023-11-04T20:09:32.474" v="94959"/>
          <ac:spMkLst>
            <pc:docMk/>
            <pc:sldMk cId="708553223" sldId="317"/>
            <ac:spMk id="1379" creationId="{DEC4F06C-5976-75C0-5E81-E77CE718C050}"/>
          </ac:spMkLst>
        </pc:spChg>
        <pc:spChg chg="add del mod modVis">
          <ac:chgData name="Muchahary, Frankle" userId="0f2bf491-0617-4378-90b8-89af8fa381b9" providerId="ADAL" clId="{90877F19-00D2-4A00-8128-E78E36266C9A}" dt="2023-11-04T20:09:39.061" v="95189"/>
          <ac:spMkLst>
            <pc:docMk/>
            <pc:sldMk cId="708553223" sldId="317"/>
            <ac:spMk id="1381" creationId="{5543DD79-0159-71F1-EF5B-63EE271EFBC9}"/>
          </ac:spMkLst>
        </pc:spChg>
        <pc:spChg chg="add del mod modVis">
          <ac:chgData name="Muchahary, Frankle" userId="0f2bf491-0617-4378-90b8-89af8fa381b9" providerId="ADAL" clId="{90877F19-00D2-4A00-8128-E78E36266C9A}" dt="2023-11-04T20:10:25.893" v="95420"/>
          <ac:spMkLst>
            <pc:docMk/>
            <pc:sldMk cId="708553223" sldId="317"/>
            <ac:spMk id="1383" creationId="{EBEF5CCA-41C3-2F67-DA0D-EC7294243FF4}"/>
          </ac:spMkLst>
        </pc:spChg>
        <pc:spChg chg="add del mod modVis">
          <ac:chgData name="Muchahary, Frankle" userId="0f2bf491-0617-4378-90b8-89af8fa381b9" providerId="ADAL" clId="{90877F19-00D2-4A00-8128-E78E36266C9A}" dt="2023-11-04T20:10:37.869" v="95648"/>
          <ac:spMkLst>
            <pc:docMk/>
            <pc:sldMk cId="708553223" sldId="317"/>
            <ac:spMk id="1385" creationId="{DB97501E-223D-3586-712B-68DF4209F8C4}"/>
          </ac:spMkLst>
        </pc:spChg>
        <pc:spChg chg="add del mod modVis">
          <ac:chgData name="Muchahary, Frankle" userId="0f2bf491-0617-4378-90b8-89af8fa381b9" providerId="ADAL" clId="{90877F19-00D2-4A00-8128-E78E36266C9A}" dt="2023-11-04T20:10:54.709" v="95878"/>
          <ac:spMkLst>
            <pc:docMk/>
            <pc:sldMk cId="708553223" sldId="317"/>
            <ac:spMk id="1387" creationId="{6CB60EBC-08E7-4C7D-6F9D-B0FC085CE1EA}"/>
          </ac:spMkLst>
        </pc:spChg>
        <pc:spChg chg="add del mod modVis">
          <ac:chgData name="Muchahary, Frankle" userId="0f2bf491-0617-4378-90b8-89af8fa381b9" providerId="ADAL" clId="{90877F19-00D2-4A00-8128-E78E36266C9A}" dt="2023-11-04T20:13:16.205" v="101264"/>
          <ac:spMkLst>
            <pc:docMk/>
            <pc:sldMk cId="708553223" sldId="317"/>
            <ac:spMk id="1389" creationId="{7ABC871B-19C7-12FE-0EBE-6CF4892D31F0}"/>
          </ac:spMkLst>
        </pc:spChg>
        <pc:spChg chg="add del mod modVis">
          <ac:chgData name="Muchahary, Frankle" userId="0f2bf491-0617-4378-90b8-89af8fa381b9" providerId="ADAL" clId="{90877F19-00D2-4A00-8128-E78E36266C9A}" dt="2023-11-04T20:13:13.351" v="101148" actId="14100"/>
          <ac:spMkLst>
            <pc:docMk/>
            <pc:sldMk cId="708553223" sldId="317"/>
            <ac:spMk id="1391" creationId="{42632188-6D53-CB5C-07E5-E174F6744F96}"/>
          </ac:spMkLst>
        </pc:spChg>
        <pc:spChg chg="add del mod modVis">
          <ac:chgData name="Muchahary, Frankle" userId="0f2bf491-0617-4378-90b8-89af8fa381b9" providerId="ADAL" clId="{90877F19-00D2-4A00-8128-E78E36266C9A}" dt="2023-11-04T20:13:12.414" v="101032" actId="14100"/>
          <ac:spMkLst>
            <pc:docMk/>
            <pc:sldMk cId="708553223" sldId="317"/>
            <ac:spMk id="1393" creationId="{4437517A-BDD1-E17D-5FAD-D09F83005D08}"/>
          </ac:spMkLst>
        </pc:spChg>
        <pc:spChg chg="add del mod modVis">
          <ac:chgData name="Muchahary, Frankle" userId="0f2bf491-0617-4378-90b8-89af8fa381b9" providerId="ADAL" clId="{90877F19-00D2-4A00-8128-E78E36266C9A}" dt="2023-11-04T20:13:11.600" v="100914" actId="962"/>
          <ac:spMkLst>
            <pc:docMk/>
            <pc:sldMk cId="708553223" sldId="317"/>
            <ac:spMk id="1395" creationId="{987533EE-2371-46B7-480E-87CEC5DA51EA}"/>
          </ac:spMkLst>
        </pc:spChg>
        <pc:spChg chg="add del mod modVis">
          <ac:chgData name="Muchahary, Frankle" userId="0f2bf491-0617-4378-90b8-89af8fa381b9" providerId="ADAL" clId="{90877F19-00D2-4A00-8128-E78E36266C9A}" dt="2023-11-04T20:13:11.012" v="100811" actId="962"/>
          <ac:spMkLst>
            <pc:docMk/>
            <pc:sldMk cId="708553223" sldId="317"/>
            <ac:spMk id="1397" creationId="{ADD660B8-02F8-1D26-22D1-BCD41E2DDDA8}"/>
          </ac:spMkLst>
        </pc:spChg>
        <pc:spChg chg="add del mod modVis">
          <ac:chgData name="Muchahary, Frankle" userId="0f2bf491-0617-4378-90b8-89af8fa381b9" providerId="ADAL" clId="{90877F19-00D2-4A00-8128-E78E36266C9A}" dt="2023-11-04T20:13:10.438" v="100701" actId="962"/>
          <ac:spMkLst>
            <pc:docMk/>
            <pc:sldMk cId="708553223" sldId="317"/>
            <ac:spMk id="1399" creationId="{6485871E-B4DD-A57A-A514-F26425133634}"/>
          </ac:spMkLst>
        </pc:spChg>
        <pc:spChg chg="add del mod modVis">
          <ac:chgData name="Muchahary, Frankle" userId="0f2bf491-0617-4378-90b8-89af8fa381b9" providerId="ADAL" clId="{90877F19-00D2-4A00-8128-E78E36266C9A}" dt="2023-11-04T20:13:10.107" v="100591" actId="962"/>
          <ac:spMkLst>
            <pc:docMk/>
            <pc:sldMk cId="708553223" sldId="317"/>
            <ac:spMk id="1401" creationId="{438D5989-54AD-C619-F7C6-E3C9C4CFD584}"/>
          </ac:spMkLst>
        </pc:spChg>
        <pc:spChg chg="add del mod modVis">
          <ac:chgData name="Muchahary, Frankle" userId="0f2bf491-0617-4378-90b8-89af8fa381b9" providerId="ADAL" clId="{90877F19-00D2-4A00-8128-E78E36266C9A}" dt="2023-11-04T20:13:09.786" v="100481" actId="962"/>
          <ac:spMkLst>
            <pc:docMk/>
            <pc:sldMk cId="708553223" sldId="317"/>
            <ac:spMk id="1403" creationId="{5EFB1CBB-C11D-B1F4-4598-E21465D7839C}"/>
          </ac:spMkLst>
        </pc:spChg>
        <pc:spChg chg="add del mod modVis">
          <ac:chgData name="Muchahary, Frankle" userId="0f2bf491-0617-4378-90b8-89af8fa381b9" providerId="ADAL" clId="{90877F19-00D2-4A00-8128-E78E36266C9A}" dt="2023-11-04T20:13:09.428" v="100378" actId="962"/>
          <ac:spMkLst>
            <pc:docMk/>
            <pc:sldMk cId="708553223" sldId="317"/>
            <ac:spMk id="1405" creationId="{F23A789C-84E2-F7B4-3540-BEB0AD066316}"/>
          </ac:spMkLst>
        </pc:spChg>
        <pc:spChg chg="add del mod modVis">
          <ac:chgData name="Muchahary, Frankle" userId="0f2bf491-0617-4378-90b8-89af8fa381b9" providerId="ADAL" clId="{90877F19-00D2-4A00-8128-E78E36266C9A}" dt="2023-11-04T20:13:08.639" v="100275" actId="962"/>
          <ac:spMkLst>
            <pc:docMk/>
            <pc:sldMk cId="708553223" sldId="317"/>
            <ac:spMk id="1407" creationId="{B44C7968-4440-10CF-3B78-0EE34B259E3B}"/>
          </ac:spMkLst>
        </pc:spChg>
        <pc:spChg chg="add del mod modVis">
          <ac:chgData name="Muchahary, Frankle" userId="0f2bf491-0617-4378-90b8-89af8fa381b9" providerId="ADAL" clId="{90877F19-00D2-4A00-8128-E78E36266C9A}" dt="2023-11-04T20:13:06.303" v="100172" actId="962"/>
          <ac:spMkLst>
            <pc:docMk/>
            <pc:sldMk cId="708553223" sldId="317"/>
            <ac:spMk id="1409" creationId="{4A2CF9F1-2BF3-5840-6E90-FAA0B6B250E0}"/>
          </ac:spMkLst>
        </pc:spChg>
        <pc:spChg chg="add del mod modVis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1" creationId="{50C03D26-63E5-847B-30D3-6D11D8FF4EF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2" creationId="{ACBFFC7C-0676-F1B8-363A-EFD8C89D1142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3" creationId="{A2C980E6-A3C0-A79A-3F6A-FC15196CD831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4" creationId="{186132E6-9E07-E446-2AC2-515ADC6F8BE1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5" creationId="{6F045BAC-3C78-2889-DF91-4EC14150B36E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6" creationId="{E6027FC9-B681-9ACF-E4F9-57E5F319A09F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7" creationId="{EAEAC388-4DE6-103F-F17C-B36C82081A6A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8" creationId="{862831B1-444B-E285-9F4F-AE1AA428DC76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19" creationId="{00028468-90E0-2B73-0741-045B6AFBCADD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0" creationId="{91E1366B-EA04-C75F-E9A8-E7E197362736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1" creationId="{0ABD69AA-2FF9-51B5-599D-32E928BDB227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2" creationId="{C8C8A4B0-7F3F-A64A-0ED6-546B19457D1B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3" creationId="{4F827E5D-6C0F-CEA7-C991-A1F3CB85E4D9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4" creationId="{4769F1D0-0618-D134-FA76-DDB5E1222F27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5" creationId="{04410704-AE99-AE86-9310-8A009BE1E30A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6" creationId="{A7AA0294-68F2-3972-F16E-36F4638F472C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7" creationId="{BC6A7E1F-E6FE-FE83-6CD9-15BBEE4A885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8" creationId="{E8E4D1A0-395A-3245-9307-A1A75EE0CC8A}"/>
          </ac:spMkLst>
        </pc:spChg>
        <pc:spChg chg="add del mod replST delST">
          <ac:chgData name="Muchahary, Frankle" userId="0f2bf491-0617-4378-90b8-89af8fa381b9" providerId="ADAL" clId="{90877F19-00D2-4A00-8128-E78E36266C9A}" dt="2023-11-04T20:13:03.145" v="100069"/>
          <ac:spMkLst>
            <pc:docMk/>
            <pc:sldMk cId="708553223" sldId="317"/>
            <ac:spMk id="1429" creationId="{04136B6C-A969-4BC1-C79C-A5DC82EF24EF}"/>
          </ac:spMkLst>
        </pc:spChg>
        <pc:spChg chg="add del mod modVis">
          <ac:chgData name="Muchahary, Frankle" userId="0f2bf491-0617-4378-90b8-89af8fa381b9" providerId="ADAL" clId="{90877F19-00D2-4A00-8128-E78E36266C9A}" dt="2023-11-04T20:13:01.065" v="99709"/>
          <ac:spMkLst>
            <pc:docMk/>
            <pc:sldMk cId="708553223" sldId="317"/>
            <ac:spMk id="1431" creationId="{7CACBF58-8769-2A29-DB4D-8678541DC72C}"/>
          </ac:spMkLst>
        </pc:spChg>
        <pc:spChg chg="add del mod modVis">
          <ac:chgData name="Muchahary, Frankle" userId="0f2bf491-0617-4378-90b8-89af8fa381b9" providerId="ADAL" clId="{90877F19-00D2-4A00-8128-E78E36266C9A}" dt="2023-11-04T20:13:21.937" v="101288"/>
          <ac:spMkLst>
            <pc:docMk/>
            <pc:sldMk cId="708553223" sldId="317"/>
            <ac:spMk id="1433" creationId="{375C948D-D258-17F6-1B9D-88D317E3CFEE}"/>
          </ac:spMkLst>
        </pc:spChg>
        <pc:spChg chg="add del mod modVis">
          <ac:chgData name="Muchahary, Frankle" userId="0f2bf491-0617-4378-90b8-89af8fa381b9" providerId="ADAL" clId="{90877F19-00D2-4A00-8128-E78E36266C9A}" dt="2023-11-04T20:13:23.528" v="102414"/>
          <ac:spMkLst>
            <pc:docMk/>
            <pc:sldMk cId="708553223" sldId="317"/>
            <ac:spMk id="1434" creationId="{91F1A74E-3137-A6E9-B959-EDF29F68C581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15" v="102823"/>
          <ac:spMkLst>
            <pc:docMk/>
            <pc:sldMk cId="708553223" sldId="317"/>
            <ac:spMk id="1435" creationId="{23692B7F-7A81-7B26-744B-796CFA985E25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26" v="102839"/>
          <ac:spMkLst>
            <pc:docMk/>
            <pc:sldMk cId="708553223" sldId="317"/>
            <ac:spMk id="1436" creationId="{3F882728-FEC8-E247-6944-3B4CDF380B18}"/>
          </ac:spMkLst>
        </pc:spChg>
        <pc:spChg chg="add del mod replST">
          <ac:chgData name="Muchahary, Frankle" userId="0f2bf491-0617-4378-90b8-89af8fa381b9" providerId="ADAL" clId="{90877F19-00D2-4A00-8128-E78E36266C9A}" dt="2023-11-04T20:13:39.037" v="102854"/>
          <ac:spMkLst>
            <pc:docMk/>
            <pc:sldMk cId="708553223" sldId="317"/>
            <ac:spMk id="1437" creationId="{F6FD7712-5767-4FC6-8DC2-C76B58F15CDB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44" v="102867"/>
          <ac:spMkLst>
            <pc:docMk/>
            <pc:sldMk cId="708553223" sldId="317"/>
            <ac:spMk id="1438" creationId="{77290A65-5AE4-4A67-26D0-477DD3DAEE8E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53" v="102883"/>
          <ac:spMkLst>
            <pc:docMk/>
            <pc:sldMk cId="708553223" sldId="317"/>
            <ac:spMk id="1439" creationId="{E385A6EA-6450-9C7E-AAAA-8318709EB5CD}"/>
          </ac:spMkLst>
        </pc:spChg>
        <pc:spChg chg="add del mod replST">
          <ac:chgData name="Muchahary, Frankle" userId="0f2bf491-0617-4378-90b8-89af8fa381b9" providerId="ADAL" clId="{90877F19-00D2-4A00-8128-E78E36266C9A}" dt="2023-11-04T20:13:39.062" v="102898"/>
          <ac:spMkLst>
            <pc:docMk/>
            <pc:sldMk cId="708553223" sldId="317"/>
            <ac:spMk id="1440" creationId="{DB1AB0DA-883D-A46B-6868-B219D2B0D564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70" v="102911"/>
          <ac:spMkLst>
            <pc:docMk/>
            <pc:sldMk cId="708553223" sldId="317"/>
            <ac:spMk id="1441" creationId="{B7E13EB9-1553-DA47-54DE-8D87EF6DB273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80" v="102927"/>
          <ac:spMkLst>
            <pc:docMk/>
            <pc:sldMk cId="708553223" sldId="317"/>
            <ac:spMk id="1442" creationId="{6373D797-90B6-5140-ADBF-1C36455D862B}"/>
          </ac:spMkLst>
        </pc:spChg>
        <pc:spChg chg="add del mod replST">
          <ac:chgData name="Muchahary, Frankle" userId="0f2bf491-0617-4378-90b8-89af8fa381b9" providerId="ADAL" clId="{90877F19-00D2-4A00-8128-E78E36266C9A}" dt="2023-11-04T20:13:39.088" v="102942"/>
          <ac:spMkLst>
            <pc:docMk/>
            <pc:sldMk cId="708553223" sldId="317"/>
            <ac:spMk id="1443" creationId="{DF055BC4-E11B-1DBF-5222-A6236C2290EE}"/>
          </ac:spMkLst>
        </pc:spChg>
        <pc:spChg chg="add del mod ord replST">
          <ac:chgData name="Muchahary, Frankle" userId="0f2bf491-0617-4378-90b8-89af8fa381b9" providerId="ADAL" clId="{90877F19-00D2-4A00-8128-E78E36266C9A}" dt="2023-11-04T20:13:39.096" v="102955"/>
          <ac:spMkLst>
            <pc:docMk/>
            <pc:sldMk cId="708553223" sldId="317"/>
            <ac:spMk id="1444" creationId="{723A540F-F6E5-B131-C82E-09F565FFFC4A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06" v="102971"/>
          <ac:spMkLst>
            <pc:docMk/>
            <pc:sldMk cId="708553223" sldId="317"/>
            <ac:spMk id="1445" creationId="{BB77A5E7-7AB4-5A0B-63D0-26EC37CBFA61}"/>
          </ac:spMkLst>
        </pc:spChg>
        <pc:spChg chg="add del mod replST">
          <ac:chgData name="Muchahary, Frankle" userId="0f2bf491-0617-4378-90b8-89af8fa381b9" providerId="ADAL" clId="{90877F19-00D2-4A00-8128-E78E36266C9A}" dt="2023-11-04T20:13:39.113" v="102986"/>
          <ac:spMkLst>
            <pc:docMk/>
            <pc:sldMk cId="708553223" sldId="317"/>
            <ac:spMk id="1446" creationId="{636D3944-73C1-9AEA-873B-58A5D7C051FE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21" v="102999"/>
          <ac:spMkLst>
            <pc:docMk/>
            <pc:sldMk cId="708553223" sldId="317"/>
            <ac:spMk id="1447" creationId="{E400FE86-212A-7DEA-518B-78258D224DD8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29" v="103015"/>
          <ac:spMkLst>
            <pc:docMk/>
            <pc:sldMk cId="708553223" sldId="317"/>
            <ac:spMk id="1448" creationId="{46812AE5-D2AE-098E-DC46-92F32CBB6F5E}"/>
          </ac:spMkLst>
        </pc:spChg>
        <pc:spChg chg="add del mod replST">
          <ac:chgData name="Muchahary, Frankle" userId="0f2bf491-0617-4378-90b8-89af8fa381b9" providerId="ADAL" clId="{90877F19-00D2-4A00-8128-E78E36266C9A}" dt="2023-11-04T20:13:39.137" v="103030"/>
          <ac:spMkLst>
            <pc:docMk/>
            <pc:sldMk cId="708553223" sldId="317"/>
            <ac:spMk id="1449" creationId="{FAE72DB5-2A5E-F1C0-81AE-81C6C5F698E2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44" v="103043"/>
          <ac:spMkLst>
            <pc:docMk/>
            <pc:sldMk cId="708553223" sldId="317"/>
            <ac:spMk id="1450" creationId="{3AD658D9-5B39-55A4-98F4-8174D59663F5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54" v="103059"/>
          <ac:spMkLst>
            <pc:docMk/>
            <pc:sldMk cId="708553223" sldId="317"/>
            <ac:spMk id="1451" creationId="{1F1F4656-69DD-39B4-9B23-12465336B612}"/>
          </ac:spMkLst>
        </pc:spChg>
        <pc:spChg chg="add del mod replST">
          <ac:chgData name="Muchahary, Frankle" userId="0f2bf491-0617-4378-90b8-89af8fa381b9" providerId="ADAL" clId="{90877F19-00D2-4A00-8128-E78E36266C9A}" dt="2023-11-04T20:13:39.165" v="103074"/>
          <ac:spMkLst>
            <pc:docMk/>
            <pc:sldMk cId="708553223" sldId="317"/>
            <ac:spMk id="1452" creationId="{BCF11F08-9E81-F153-AA21-AE2ED2DE6F15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74" v="103087"/>
          <ac:spMkLst>
            <pc:docMk/>
            <pc:sldMk cId="708553223" sldId="317"/>
            <ac:spMk id="1453" creationId="{928E691C-3E8E-73F0-2E8C-F2356E4737F3}"/>
          </ac:spMkLst>
        </pc:spChg>
        <pc:spChg chg="add del mod ord replST">
          <ac:chgData name="Muchahary, Frankle" userId="0f2bf491-0617-4378-90b8-89af8fa381b9" providerId="ADAL" clId="{90877F19-00D2-4A00-8128-E78E36266C9A}" dt="2023-11-04T20:13:39.186" v="103103"/>
          <ac:spMkLst>
            <pc:docMk/>
            <pc:sldMk cId="708553223" sldId="317"/>
            <ac:spMk id="1454" creationId="{4D3558A6-C605-8CF4-10F3-86E417EE9692}"/>
          </ac:spMkLst>
        </pc:spChg>
        <pc:spChg chg="add del mod replST">
          <ac:chgData name="Muchahary, Frankle" userId="0f2bf491-0617-4378-90b8-89af8fa381b9" providerId="ADAL" clId="{90877F19-00D2-4A00-8128-E78E36266C9A}" dt="2023-11-04T20:13:39.195" v="103118"/>
          <ac:spMkLst>
            <pc:docMk/>
            <pc:sldMk cId="708553223" sldId="317"/>
            <ac:spMk id="1455" creationId="{48079C1F-6A24-65CB-2DFA-707CE7F10DFC}"/>
          </ac:spMkLst>
        </pc:spChg>
        <pc:spChg chg="add del mod ord replST">
          <ac:chgData name="Muchahary, Frankle" userId="0f2bf491-0617-4378-90b8-89af8fa381b9" providerId="ADAL" clId="{90877F19-00D2-4A00-8128-E78E36266C9A}" dt="2023-11-04T20:13:39.204" v="103131"/>
          <ac:spMkLst>
            <pc:docMk/>
            <pc:sldMk cId="708553223" sldId="317"/>
            <ac:spMk id="1456" creationId="{D5EB7688-19C3-6DD6-507C-327B8301DC4C}"/>
          </ac:spMkLst>
        </pc:spChg>
        <pc:spChg chg="add del mod ord replST">
          <ac:chgData name="Muchahary, Frankle" userId="0f2bf491-0617-4378-90b8-89af8fa381b9" providerId="ADAL" clId="{90877F19-00D2-4A00-8128-E78E36266C9A}" dt="2023-11-04T20:13:39.215" v="103147"/>
          <ac:spMkLst>
            <pc:docMk/>
            <pc:sldMk cId="708553223" sldId="317"/>
            <ac:spMk id="1457" creationId="{2B3CCB1B-CE2B-7159-EFB7-A3AEFE5C1642}"/>
          </ac:spMkLst>
        </pc:spChg>
        <pc:spChg chg="add del mod replST">
          <ac:chgData name="Muchahary, Frankle" userId="0f2bf491-0617-4378-90b8-89af8fa381b9" providerId="ADAL" clId="{90877F19-00D2-4A00-8128-E78E36266C9A}" dt="2023-11-04T20:13:39.226" v="103162"/>
          <ac:spMkLst>
            <pc:docMk/>
            <pc:sldMk cId="708553223" sldId="317"/>
            <ac:spMk id="1458" creationId="{DAFB9213-6AD2-CAF1-0071-A1AD9D02965D}"/>
          </ac:spMkLst>
        </pc:spChg>
        <pc:spChg chg="add del mod modVis">
          <ac:chgData name="Muchahary, Frankle" userId="0f2bf491-0617-4378-90b8-89af8fa381b9" providerId="ADAL" clId="{90877F19-00D2-4A00-8128-E78E36266C9A}" dt="2023-11-04T20:13:34.701" v="102771"/>
          <ac:spMkLst>
            <pc:docMk/>
            <pc:sldMk cId="708553223" sldId="317"/>
            <ac:spMk id="1460" creationId="{5E9D5855-D4A2-3C5C-1598-07EE00165A1A}"/>
          </ac:spMkLst>
        </pc:spChg>
        <pc:spChg chg="add del mod modVis">
          <ac:chgData name="Muchahary, Frankle" userId="0f2bf491-0617-4378-90b8-89af8fa381b9" providerId="ADAL" clId="{90877F19-00D2-4A00-8128-E78E36266C9A}" dt="2023-11-04T20:13:39.661" v="103657"/>
          <ac:spMkLst>
            <pc:docMk/>
            <pc:sldMk cId="708553223" sldId="317"/>
            <ac:spMk id="1462" creationId="{65C509DF-54C7-CF93-232B-CFC4A64CDC8F}"/>
          </ac:spMkLst>
        </pc:spChg>
        <pc:spChg chg="add del mod ord replST">
          <ac:chgData name="Muchahary, Frankle" userId="0f2bf491-0617-4378-90b8-89af8fa381b9" providerId="ADAL" clId="{90877F19-00D2-4A00-8128-E78E36266C9A}" dt="2023-11-04T20:15:57.342" v="108112"/>
          <ac:spMkLst>
            <pc:docMk/>
            <pc:sldMk cId="708553223" sldId="317"/>
            <ac:spMk id="1463" creationId="{E5CCE2A2-C705-B50C-0039-D88EBF66D44E}"/>
          </ac:spMkLst>
        </pc:spChg>
        <pc:spChg chg="add del mod ord replST">
          <ac:chgData name="Muchahary, Frankle" userId="0f2bf491-0617-4378-90b8-89af8fa381b9" providerId="ADAL" clId="{90877F19-00D2-4A00-8128-E78E36266C9A}" dt="2023-11-04T20:15:57.351" v="108128"/>
          <ac:spMkLst>
            <pc:docMk/>
            <pc:sldMk cId="708553223" sldId="317"/>
            <ac:spMk id="1464" creationId="{2A157C98-D98E-2855-05FE-37961AF70009}"/>
          </ac:spMkLst>
        </pc:spChg>
        <pc:spChg chg="add del mod replST">
          <ac:chgData name="Muchahary, Frankle" userId="0f2bf491-0617-4378-90b8-89af8fa381b9" providerId="ADAL" clId="{90877F19-00D2-4A00-8128-E78E36266C9A}" dt="2023-11-04T20:15:57.360" v="108143"/>
          <ac:spMkLst>
            <pc:docMk/>
            <pc:sldMk cId="708553223" sldId="317"/>
            <ac:spMk id="1465" creationId="{C3541296-AABF-1B9C-3794-E696C9A65286}"/>
          </ac:spMkLst>
        </pc:spChg>
        <pc:spChg chg="add del mod ord replST">
          <ac:chgData name="Muchahary, Frankle" userId="0f2bf491-0617-4378-90b8-89af8fa381b9" providerId="ADAL" clId="{90877F19-00D2-4A00-8128-E78E36266C9A}" dt="2023-11-04T20:15:57.368" v="108156"/>
          <ac:spMkLst>
            <pc:docMk/>
            <pc:sldMk cId="708553223" sldId="317"/>
            <ac:spMk id="1466" creationId="{2F97AD23-A4E2-21FD-32BC-043F2779B531}"/>
          </ac:spMkLst>
        </pc:spChg>
        <pc:spChg chg="add del mod ord replST">
          <ac:chgData name="Muchahary, Frankle" userId="0f2bf491-0617-4378-90b8-89af8fa381b9" providerId="ADAL" clId="{90877F19-00D2-4A00-8128-E78E36266C9A}" dt="2023-11-04T20:15:57.378" v="108172"/>
          <ac:spMkLst>
            <pc:docMk/>
            <pc:sldMk cId="708553223" sldId="317"/>
            <ac:spMk id="1467" creationId="{1B025868-7AF6-5613-5BE5-11034541644F}"/>
          </ac:spMkLst>
        </pc:spChg>
        <pc:spChg chg="add del mod replST">
          <ac:chgData name="Muchahary, Frankle" userId="0f2bf491-0617-4378-90b8-89af8fa381b9" providerId="ADAL" clId="{90877F19-00D2-4A00-8128-E78E36266C9A}" dt="2023-11-04T20:15:57.388" v="108187"/>
          <ac:spMkLst>
            <pc:docMk/>
            <pc:sldMk cId="708553223" sldId="317"/>
            <ac:spMk id="1468" creationId="{EAF29D7F-991B-0590-259B-62610ABD96B6}"/>
          </ac:spMkLst>
        </pc:spChg>
        <pc:spChg chg="add del mod ord replST">
          <ac:chgData name="Muchahary, Frankle" userId="0f2bf491-0617-4378-90b8-89af8fa381b9" providerId="ADAL" clId="{90877F19-00D2-4A00-8128-E78E36266C9A}" dt="2023-11-04T20:15:57.396" v="108200"/>
          <ac:spMkLst>
            <pc:docMk/>
            <pc:sldMk cId="708553223" sldId="317"/>
            <ac:spMk id="1469" creationId="{C013907E-52B8-C82D-46F1-765ED68B9275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03" v="108216"/>
          <ac:spMkLst>
            <pc:docMk/>
            <pc:sldMk cId="708553223" sldId="317"/>
            <ac:spMk id="1470" creationId="{1570BC63-6AE5-CB7A-DB1E-CBAC3C213D5B}"/>
          </ac:spMkLst>
        </pc:spChg>
        <pc:spChg chg="add del mod replST">
          <ac:chgData name="Muchahary, Frankle" userId="0f2bf491-0617-4378-90b8-89af8fa381b9" providerId="ADAL" clId="{90877F19-00D2-4A00-8128-E78E36266C9A}" dt="2023-11-04T20:15:57.412" v="108231"/>
          <ac:spMkLst>
            <pc:docMk/>
            <pc:sldMk cId="708553223" sldId="317"/>
            <ac:spMk id="1471" creationId="{41BFC7FF-D7EF-50FF-B957-FBD98ADA2F0E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18" v="108244"/>
          <ac:spMkLst>
            <pc:docMk/>
            <pc:sldMk cId="708553223" sldId="317"/>
            <ac:spMk id="1472" creationId="{2CAA4E21-A266-9BFE-1E31-FA2142DF233F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27" v="108260"/>
          <ac:spMkLst>
            <pc:docMk/>
            <pc:sldMk cId="708553223" sldId="317"/>
            <ac:spMk id="1473" creationId="{6E92C9A1-5D7C-E2A2-404C-15A75FC86D32}"/>
          </ac:spMkLst>
        </pc:spChg>
        <pc:spChg chg="add del mod replST">
          <ac:chgData name="Muchahary, Frankle" userId="0f2bf491-0617-4378-90b8-89af8fa381b9" providerId="ADAL" clId="{90877F19-00D2-4A00-8128-E78E36266C9A}" dt="2023-11-04T20:15:57.435" v="108275"/>
          <ac:spMkLst>
            <pc:docMk/>
            <pc:sldMk cId="708553223" sldId="317"/>
            <ac:spMk id="1474" creationId="{9802776E-1F4A-3DCA-ECCF-7CDBB9339A45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43" v="108288"/>
          <ac:spMkLst>
            <pc:docMk/>
            <pc:sldMk cId="708553223" sldId="317"/>
            <ac:spMk id="1475" creationId="{8470D488-2957-4289-7D0F-18B6757BCE93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51" v="108304"/>
          <ac:spMkLst>
            <pc:docMk/>
            <pc:sldMk cId="708553223" sldId="317"/>
            <ac:spMk id="1476" creationId="{447E3335-6723-2AAE-AB39-7A22564B3E29}"/>
          </ac:spMkLst>
        </pc:spChg>
        <pc:spChg chg="add del mod replST">
          <ac:chgData name="Muchahary, Frankle" userId="0f2bf491-0617-4378-90b8-89af8fa381b9" providerId="ADAL" clId="{90877F19-00D2-4A00-8128-E78E36266C9A}" dt="2023-11-04T20:15:57.459" v="108319"/>
          <ac:spMkLst>
            <pc:docMk/>
            <pc:sldMk cId="708553223" sldId="317"/>
            <ac:spMk id="1477" creationId="{AA241F27-07E2-CA65-EA5F-EBC274788593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66" v="108332"/>
          <ac:spMkLst>
            <pc:docMk/>
            <pc:sldMk cId="708553223" sldId="317"/>
            <ac:spMk id="1478" creationId="{4F0DE7BB-19A0-78B4-0375-07AEB69849A3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74" v="108348"/>
          <ac:spMkLst>
            <pc:docMk/>
            <pc:sldMk cId="708553223" sldId="317"/>
            <ac:spMk id="1479" creationId="{A77719CC-4BC3-0153-2DA5-1869CF1F9EE8}"/>
          </ac:spMkLst>
        </pc:spChg>
        <pc:spChg chg="add del mod replST">
          <ac:chgData name="Muchahary, Frankle" userId="0f2bf491-0617-4378-90b8-89af8fa381b9" providerId="ADAL" clId="{90877F19-00D2-4A00-8128-E78E36266C9A}" dt="2023-11-04T20:15:57.482" v="108363"/>
          <ac:spMkLst>
            <pc:docMk/>
            <pc:sldMk cId="708553223" sldId="317"/>
            <ac:spMk id="1480" creationId="{22C1DE66-EF39-733F-7094-AD2EF468E49D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87" v="108376"/>
          <ac:spMkLst>
            <pc:docMk/>
            <pc:sldMk cId="708553223" sldId="317"/>
            <ac:spMk id="1481" creationId="{9939285E-4E0B-AEE0-766C-38FA7F6B1203}"/>
          </ac:spMkLst>
        </pc:spChg>
        <pc:spChg chg="add del mod ord replST">
          <ac:chgData name="Muchahary, Frankle" userId="0f2bf491-0617-4378-90b8-89af8fa381b9" providerId="ADAL" clId="{90877F19-00D2-4A00-8128-E78E36266C9A}" dt="2023-11-04T20:15:57.497" v="108392"/>
          <ac:spMkLst>
            <pc:docMk/>
            <pc:sldMk cId="708553223" sldId="317"/>
            <ac:spMk id="1482" creationId="{C877A812-821B-04DF-F51C-006CC1A3DBEB}"/>
          </ac:spMkLst>
        </pc:spChg>
        <pc:spChg chg="add del mod replST">
          <ac:chgData name="Muchahary, Frankle" userId="0f2bf491-0617-4378-90b8-89af8fa381b9" providerId="ADAL" clId="{90877F19-00D2-4A00-8128-E78E36266C9A}" dt="2023-11-04T20:15:57.505" v="108407"/>
          <ac:spMkLst>
            <pc:docMk/>
            <pc:sldMk cId="708553223" sldId="317"/>
            <ac:spMk id="1483" creationId="{AA44FEAE-1DDF-B904-98CD-CD5C01B0DC1C}"/>
          </ac:spMkLst>
        </pc:spChg>
        <pc:spChg chg="add del mod ord replST">
          <ac:chgData name="Muchahary, Frankle" userId="0f2bf491-0617-4378-90b8-89af8fa381b9" providerId="ADAL" clId="{90877F19-00D2-4A00-8128-E78E36266C9A}" dt="2023-11-04T20:15:57.512" v="108420"/>
          <ac:spMkLst>
            <pc:docMk/>
            <pc:sldMk cId="708553223" sldId="317"/>
            <ac:spMk id="1484" creationId="{286D0EAB-B938-42BE-E489-5CCBE704DE63}"/>
          </ac:spMkLst>
        </pc:spChg>
        <pc:spChg chg="add del mod ord replST">
          <ac:chgData name="Muchahary, Frankle" userId="0f2bf491-0617-4378-90b8-89af8fa381b9" providerId="ADAL" clId="{90877F19-00D2-4A00-8128-E78E36266C9A}" dt="2023-11-04T20:15:57.520" v="108436"/>
          <ac:spMkLst>
            <pc:docMk/>
            <pc:sldMk cId="708553223" sldId="317"/>
            <ac:spMk id="1485" creationId="{B064B59A-9B44-5A08-252F-72A9AF8CB563}"/>
          </ac:spMkLst>
        </pc:spChg>
        <pc:spChg chg="add del mod replST">
          <ac:chgData name="Muchahary, Frankle" userId="0f2bf491-0617-4378-90b8-89af8fa381b9" providerId="ADAL" clId="{90877F19-00D2-4A00-8128-E78E36266C9A}" dt="2023-11-04T20:15:57.529" v="108451"/>
          <ac:spMkLst>
            <pc:docMk/>
            <pc:sldMk cId="708553223" sldId="317"/>
            <ac:spMk id="1486" creationId="{85E8A176-578E-5C03-AC92-BD7E4A62FE86}"/>
          </ac:spMkLst>
        </pc:spChg>
        <pc:spChg chg="add del mod modVis">
          <ac:chgData name="Muchahary, Frankle" userId="0f2bf491-0617-4378-90b8-89af8fa381b9" providerId="ADAL" clId="{90877F19-00D2-4A00-8128-E78E36266C9A}" dt="2023-11-04T20:13:40.449" v="103901"/>
          <ac:spMkLst>
            <pc:docMk/>
            <pc:sldMk cId="708553223" sldId="317"/>
            <ac:spMk id="1488" creationId="{DB00D0D4-2FE9-91BA-B58D-73A967251EEE}"/>
          </ac:spMkLst>
        </pc:spChg>
        <pc:spChg chg="add del mod modVis">
          <ac:chgData name="Muchahary, Frankle" userId="0f2bf491-0617-4378-90b8-89af8fa381b9" providerId="ADAL" clId="{90877F19-00D2-4A00-8128-E78E36266C9A}" dt="2023-11-04T20:13:42.037" v="104145"/>
          <ac:spMkLst>
            <pc:docMk/>
            <pc:sldMk cId="708553223" sldId="317"/>
            <ac:spMk id="1490" creationId="{4964FF0F-9BF6-5116-0997-04A1D23B3120}"/>
          </ac:spMkLst>
        </pc:spChg>
        <pc:spChg chg="add del mod modVis">
          <ac:chgData name="Muchahary, Frankle" userId="0f2bf491-0617-4378-90b8-89af8fa381b9" providerId="ADAL" clId="{90877F19-00D2-4A00-8128-E78E36266C9A}" dt="2023-11-04T20:14:05.814" v="104466"/>
          <ac:spMkLst>
            <pc:docMk/>
            <pc:sldMk cId="708553223" sldId="317"/>
            <ac:spMk id="1492" creationId="{0E33FFA1-AC6E-AB30-CC38-61F6EA55C0DB}"/>
          </ac:spMkLst>
        </pc:spChg>
        <pc:spChg chg="add del mod modVis">
          <ac:chgData name="Muchahary, Frankle" userId="0f2bf491-0617-4378-90b8-89af8fa381b9" providerId="ADAL" clId="{90877F19-00D2-4A00-8128-E78E36266C9A}" dt="2023-11-04T20:14:28.279" v="104726"/>
          <ac:spMkLst>
            <pc:docMk/>
            <pc:sldMk cId="708553223" sldId="317"/>
            <ac:spMk id="1494" creationId="{E001C0E2-73AA-66AE-3B06-564857404EDD}"/>
          </ac:spMkLst>
        </pc:spChg>
        <pc:spChg chg="add del mod modVis">
          <ac:chgData name="Muchahary, Frankle" userId="0f2bf491-0617-4378-90b8-89af8fa381b9" providerId="ADAL" clId="{90877F19-00D2-4A00-8128-E78E36266C9A}" dt="2023-11-04T20:14:59.875" v="105021"/>
          <ac:spMkLst>
            <pc:docMk/>
            <pc:sldMk cId="708553223" sldId="317"/>
            <ac:spMk id="1496" creationId="{D65E0912-8D0A-76FB-3F65-32811F4E48E8}"/>
          </ac:spMkLst>
        </pc:spChg>
        <pc:spChg chg="add del mod replST">
          <ac:chgData name="Muchahary, Frankle" userId="0f2bf491-0617-4378-90b8-89af8fa381b9" providerId="ADAL" clId="{90877F19-00D2-4A00-8128-E78E36266C9A}" dt="2023-11-04T20:15:00.526" v="105097"/>
          <ac:spMkLst>
            <pc:docMk/>
            <pc:sldMk cId="708553223" sldId="317"/>
            <ac:spMk id="1497" creationId="{D530E115-F7AF-4402-BE6F-1242736AC19E}"/>
          </ac:spMkLst>
        </pc:spChg>
        <pc:spChg chg="add del mod modVis">
          <ac:chgData name="Muchahary, Frankle" userId="0f2bf491-0617-4378-90b8-89af8fa381b9" providerId="ADAL" clId="{90877F19-00D2-4A00-8128-E78E36266C9A}" dt="2023-11-04T20:15:00.622" v="105251"/>
          <ac:spMkLst>
            <pc:docMk/>
            <pc:sldMk cId="708553223" sldId="317"/>
            <ac:spMk id="1499" creationId="{7139F087-EA3C-4F1C-C2C2-4A58C12A4F2E}"/>
          </ac:spMkLst>
        </pc:spChg>
        <pc:spChg chg="add del mod modVis">
          <ac:chgData name="Muchahary, Frankle" userId="0f2bf491-0617-4378-90b8-89af8fa381b9" providerId="ADAL" clId="{90877F19-00D2-4A00-8128-E78E36266C9A}" dt="2023-11-04T20:15:09.944" v="105686"/>
          <ac:spMkLst>
            <pc:docMk/>
            <pc:sldMk cId="708553223" sldId="317"/>
            <ac:spMk id="1501" creationId="{5E15BC63-155E-02BB-7222-1F023A2141BC}"/>
          </ac:spMkLst>
        </pc:spChg>
        <pc:spChg chg="add mod replST delST">
          <ac:chgData name="Muchahary, Frankle" userId="0f2bf491-0617-4378-90b8-89af8fa381b9" providerId="ADAL" clId="{90877F19-00D2-4A00-8128-E78E36266C9A}" dt="2023-11-04T20:15:09.944" v="105686"/>
          <ac:spMkLst>
            <pc:docMk/>
            <pc:sldMk cId="708553223" sldId="317"/>
            <ac:spMk id="1502" creationId="{7F4B2C88-A35D-AC06-5D6C-4E9C6D490B77}"/>
          </ac:spMkLst>
        </pc:spChg>
        <pc:spChg chg="add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4" creationId="{62A660C8-430F-3BF9-122D-F5E25EF9A8BC}"/>
          </ac:spMkLst>
        </pc:spChg>
        <pc:spChg chg="add del mod modVis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5" creationId="{FC6BC2E6-E91B-0A15-8AB4-2AB1520FB30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6" creationId="{66D68B1A-5362-F92F-947A-FDE9F62FEDEC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7" creationId="{F7E29193-F063-F027-3034-74FD8D7C8766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8" creationId="{F81C6AF2-D8E3-51C9-2F4A-ADA0015C7736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09" creationId="{463882FA-0D2A-C060-0E87-37D1CDF20BF9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0" creationId="{6B47A7E9-562A-F317-EDEF-2DFCE2B2E75C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1" creationId="{3D2AF7B5-5469-6409-C5F5-C99E976FEB83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2" creationId="{20A4563D-410A-2506-4596-CA4BA39FB38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3" creationId="{8E4B735C-BC82-C777-7434-16FE968132C6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4" creationId="{AC507076-E78B-1FF4-FF71-2AC0E060712A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5" creationId="{25583991-27CD-5B00-749B-A95D5A9E27C8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6" creationId="{BE904CF2-23E7-00CE-8C2F-E2A15E037DFE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7" creationId="{D6B41E0A-9224-B752-1F4C-A77D1060A044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8" creationId="{FDFB7E3C-E1F2-6839-CB04-D7FB39AD4368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19" creationId="{FDCF8349-BEC4-5E2F-2F5D-5C93C84A24D1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0" creationId="{EC5E93B5-23D4-8DAF-164D-01586AD74A89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1" creationId="{0CE0E012-0625-AA44-1303-DE6BEF7AC735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2" creationId="{15CB2E65-6630-05B6-536A-0950F4B8CE4B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3" creationId="{3422C70E-19B6-354E-497C-B9E487D3C0AB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4" creationId="{409AFE0A-6B13-3E3D-0014-B2370547A8D3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5" creationId="{2771B2C7-2CF1-B375-D82F-EA09985C39D2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6" creationId="{6541B3CE-9154-F005-8D39-1A4690513723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7" creationId="{B371749E-ACA7-A4A1-629C-AD70736B2DB0}"/>
          </ac:spMkLst>
        </pc:spChg>
        <pc:spChg chg="add del mod or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8" creationId="{49B9F18F-D12C-868A-CAEF-960EB25A9429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29" creationId="{616EC048-4182-1CC1-DCBB-44847086EA37}"/>
          </ac:spMkLst>
        </pc:spChg>
        <pc:spChg chg="add del mod replST delST">
          <ac:chgData name="Muchahary, Frankle" userId="0f2bf491-0617-4378-90b8-89af8fa381b9" providerId="ADAL" clId="{90877F19-00D2-4A00-8128-E78E36266C9A}" dt="2023-11-04T20:15:23.193" v="107305"/>
          <ac:spMkLst>
            <pc:docMk/>
            <pc:sldMk cId="708553223" sldId="317"/>
            <ac:spMk id="1531" creationId="{52F8BD3A-1A2C-5D8B-2923-B5C7A9C868E0}"/>
          </ac:spMkLst>
        </pc:spChg>
        <pc:spChg chg="add del mod modVis">
          <ac:chgData name="Muchahary, Frankle" userId="0f2bf491-0617-4378-90b8-89af8fa381b9" providerId="ADAL" clId="{90877F19-00D2-4A00-8128-E78E36266C9A}" dt="2023-11-04T20:15:35.440" v="107329"/>
          <ac:spMkLst>
            <pc:docMk/>
            <pc:sldMk cId="708553223" sldId="317"/>
            <ac:spMk id="1532" creationId="{6036DF4B-1A0A-252D-72C1-895E82A357C1}"/>
          </ac:spMkLst>
        </pc:spChg>
        <pc:spChg chg="add del mod modVis">
          <ac:chgData name="Muchahary, Frankle" userId="0f2bf491-0617-4378-90b8-89af8fa381b9" providerId="ADAL" clId="{90877F19-00D2-4A00-8128-E78E36266C9A}" dt="2023-11-04T20:15:36.308" v="107550"/>
          <ac:spMkLst>
            <pc:docMk/>
            <pc:sldMk cId="708553223" sldId="317"/>
            <ac:spMk id="1533" creationId="{D44E1AE8-87DB-67ED-3F8C-13C1E3CEBF91}"/>
          </ac:spMkLst>
        </pc:spChg>
        <pc:spChg chg="add del mod modVis">
          <ac:chgData name="Muchahary, Frankle" userId="0f2bf491-0617-4378-90b8-89af8fa381b9" providerId="ADAL" clId="{90877F19-00D2-4A00-8128-E78E36266C9A}" dt="2023-11-04T20:15:57.991" v="108996"/>
          <ac:spMkLst>
            <pc:docMk/>
            <pc:sldMk cId="708553223" sldId="317"/>
            <ac:spMk id="1538" creationId="{58224F0B-0E0B-3757-1FD4-5454AA530A5B}"/>
          </ac:spMkLst>
        </pc:spChg>
        <pc:spChg chg="add del mod ord replST">
          <ac:chgData name="Muchahary, Frankle" userId="0f2bf491-0617-4378-90b8-89af8fa381b9" providerId="ADAL" clId="{90877F19-00D2-4A00-8128-E78E36266C9A}" dt="2023-11-04T20:32:24.550" v="116518"/>
          <ac:spMkLst>
            <pc:docMk/>
            <pc:sldMk cId="708553223" sldId="317"/>
            <ac:spMk id="1539" creationId="{FB3BF21B-CB27-732F-13F1-6800F22980AE}"/>
          </ac:spMkLst>
        </pc:spChg>
        <pc:spChg chg="add del mod ord replST">
          <ac:chgData name="Muchahary, Frankle" userId="0f2bf491-0617-4378-90b8-89af8fa381b9" providerId="ADAL" clId="{90877F19-00D2-4A00-8128-E78E36266C9A}" dt="2023-11-04T20:32:24.559" v="116534"/>
          <ac:spMkLst>
            <pc:docMk/>
            <pc:sldMk cId="708553223" sldId="317"/>
            <ac:spMk id="1540" creationId="{699EA5BD-29D2-434D-C73D-36EB7B169037}"/>
          </ac:spMkLst>
        </pc:spChg>
        <pc:spChg chg="add del mod replST">
          <ac:chgData name="Muchahary, Frankle" userId="0f2bf491-0617-4378-90b8-89af8fa381b9" providerId="ADAL" clId="{90877F19-00D2-4A00-8128-E78E36266C9A}" dt="2023-11-04T20:32:24.567" v="116549"/>
          <ac:spMkLst>
            <pc:docMk/>
            <pc:sldMk cId="708553223" sldId="317"/>
            <ac:spMk id="1541" creationId="{78CCE0BE-EE96-023B-D8F3-DD54A65E7443}"/>
          </ac:spMkLst>
        </pc:spChg>
        <pc:spChg chg="add del mod ord replST">
          <ac:chgData name="Muchahary, Frankle" userId="0f2bf491-0617-4378-90b8-89af8fa381b9" providerId="ADAL" clId="{90877F19-00D2-4A00-8128-E78E36266C9A}" dt="2023-11-04T20:32:24.574" v="116562"/>
          <ac:spMkLst>
            <pc:docMk/>
            <pc:sldMk cId="708553223" sldId="317"/>
            <ac:spMk id="1542" creationId="{FAABF556-C15F-A283-CE85-A80FCC15ADAB}"/>
          </ac:spMkLst>
        </pc:spChg>
        <pc:spChg chg="add del mod ord replST">
          <ac:chgData name="Muchahary, Frankle" userId="0f2bf491-0617-4378-90b8-89af8fa381b9" providerId="ADAL" clId="{90877F19-00D2-4A00-8128-E78E36266C9A}" dt="2023-11-04T20:32:24.583" v="116578"/>
          <ac:spMkLst>
            <pc:docMk/>
            <pc:sldMk cId="708553223" sldId="317"/>
            <ac:spMk id="1543" creationId="{EF2DAB8B-ACF6-6F6B-E4E7-1ED78D17426A}"/>
          </ac:spMkLst>
        </pc:spChg>
        <pc:spChg chg="add del mod replST">
          <ac:chgData name="Muchahary, Frankle" userId="0f2bf491-0617-4378-90b8-89af8fa381b9" providerId="ADAL" clId="{90877F19-00D2-4A00-8128-E78E36266C9A}" dt="2023-11-04T20:32:24.591" v="116593"/>
          <ac:spMkLst>
            <pc:docMk/>
            <pc:sldMk cId="708553223" sldId="317"/>
            <ac:spMk id="1544" creationId="{0954F46F-8448-C9DC-DE93-CF059C486DE5}"/>
          </ac:spMkLst>
        </pc:spChg>
        <pc:spChg chg="add del mod ord replST">
          <ac:chgData name="Muchahary, Frankle" userId="0f2bf491-0617-4378-90b8-89af8fa381b9" providerId="ADAL" clId="{90877F19-00D2-4A00-8128-E78E36266C9A}" dt="2023-11-04T20:32:24.597" v="116606"/>
          <ac:spMkLst>
            <pc:docMk/>
            <pc:sldMk cId="708553223" sldId="317"/>
            <ac:spMk id="1545" creationId="{3FFFE54A-9EB1-A798-88D7-56BE263DA930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05" v="116622"/>
          <ac:spMkLst>
            <pc:docMk/>
            <pc:sldMk cId="708553223" sldId="317"/>
            <ac:spMk id="1546" creationId="{4E9EAAAB-737C-CF6C-5562-9733F326A074}"/>
          </ac:spMkLst>
        </pc:spChg>
        <pc:spChg chg="add del mod replST">
          <ac:chgData name="Muchahary, Frankle" userId="0f2bf491-0617-4378-90b8-89af8fa381b9" providerId="ADAL" clId="{90877F19-00D2-4A00-8128-E78E36266C9A}" dt="2023-11-04T20:32:24.614" v="116637"/>
          <ac:spMkLst>
            <pc:docMk/>
            <pc:sldMk cId="708553223" sldId="317"/>
            <ac:spMk id="1547" creationId="{DE61C372-AF36-207F-AF6A-FAF1231BBD13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21" v="116650"/>
          <ac:spMkLst>
            <pc:docMk/>
            <pc:sldMk cId="708553223" sldId="317"/>
            <ac:spMk id="1548" creationId="{35B14288-2AD7-F21D-906B-4B9FF17B0A14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30" v="116666"/>
          <ac:spMkLst>
            <pc:docMk/>
            <pc:sldMk cId="708553223" sldId="317"/>
            <ac:spMk id="1549" creationId="{15AEB72B-8594-FB19-5A3D-641D080FC8AC}"/>
          </ac:spMkLst>
        </pc:spChg>
        <pc:spChg chg="add del mod replST">
          <ac:chgData name="Muchahary, Frankle" userId="0f2bf491-0617-4378-90b8-89af8fa381b9" providerId="ADAL" clId="{90877F19-00D2-4A00-8128-E78E36266C9A}" dt="2023-11-04T20:32:24.638" v="116681"/>
          <ac:spMkLst>
            <pc:docMk/>
            <pc:sldMk cId="708553223" sldId="317"/>
            <ac:spMk id="1550" creationId="{E1778442-4061-F138-DEAF-C4822516CA02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44" v="116694"/>
          <ac:spMkLst>
            <pc:docMk/>
            <pc:sldMk cId="708553223" sldId="317"/>
            <ac:spMk id="1551" creationId="{59220759-1E54-68E6-54CF-65F264BD8C4B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52" v="116710"/>
          <ac:spMkLst>
            <pc:docMk/>
            <pc:sldMk cId="708553223" sldId="317"/>
            <ac:spMk id="1552" creationId="{95620FC2-F5AA-27DD-1632-8096F0A6107D}"/>
          </ac:spMkLst>
        </pc:spChg>
        <pc:spChg chg="add del mod replST">
          <ac:chgData name="Muchahary, Frankle" userId="0f2bf491-0617-4378-90b8-89af8fa381b9" providerId="ADAL" clId="{90877F19-00D2-4A00-8128-E78E36266C9A}" dt="2023-11-04T20:32:24.661" v="116725"/>
          <ac:spMkLst>
            <pc:docMk/>
            <pc:sldMk cId="708553223" sldId="317"/>
            <ac:spMk id="1553" creationId="{3E2BA2A0-C708-5D9F-E2BE-54A022D84E51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67" v="116738"/>
          <ac:spMkLst>
            <pc:docMk/>
            <pc:sldMk cId="708553223" sldId="317"/>
            <ac:spMk id="1554" creationId="{981EA8DD-28B0-598C-809C-CEB321653127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77" v="116754"/>
          <ac:spMkLst>
            <pc:docMk/>
            <pc:sldMk cId="708553223" sldId="317"/>
            <ac:spMk id="1555" creationId="{8EA90260-D02F-8496-97D5-1A5B5E576ABB}"/>
          </ac:spMkLst>
        </pc:spChg>
        <pc:spChg chg="add del mod replST">
          <ac:chgData name="Muchahary, Frankle" userId="0f2bf491-0617-4378-90b8-89af8fa381b9" providerId="ADAL" clId="{90877F19-00D2-4A00-8128-E78E36266C9A}" dt="2023-11-04T20:32:24.684" v="116769"/>
          <ac:spMkLst>
            <pc:docMk/>
            <pc:sldMk cId="708553223" sldId="317"/>
            <ac:spMk id="1556" creationId="{EE3330A0-A17E-3346-0DDF-43637B231606}"/>
          </ac:spMkLst>
        </pc:spChg>
        <pc:spChg chg="add del mod ord replST">
          <ac:chgData name="Muchahary, Frankle" userId="0f2bf491-0617-4378-90b8-89af8fa381b9" providerId="ADAL" clId="{90877F19-00D2-4A00-8128-E78E36266C9A}" dt="2023-11-04T20:32:24.691" v="116782"/>
          <ac:spMkLst>
            <pc:docMk/>
            <pc:sldMk cId="708553223" sldId="317"/>
            <ac:spMk id="1557" creationId="{4C7E440C-CB14-01CE-4F09-735B92E4EDAF}"/>
          </ac:spMkLst>
        </pc:spChg>
        <pc:spChg chg="add del mod ord replST">
          <ac:chgData name="Muchahary, Frankle" userId="0f2bf491-0617-4378-90b8-89af8fa381b9" providerId="ADAL" clId="{90877F19-00D2-4A00-8128-E78E36266C9A}" dt="2023-11-04T20:32:24.700" v="116798"/>
          <ac:spMkLst>
            <pc:docMk/>
            <pc:sldMk cId="708553223" sldId="317"/>
            <ac:spMk id="1558" creationId="{009A7342-E6A0-9F07-6849-A1EA69D79924}"/>
          </ac:spMkLst>
        </pc:spChg>
        <pc:spChg chg="add del mod replST">
          <ac:chgData name="Muchahary, Frankle" userId="0f2bf491-0617-4378-90b8-89af8fa381b9" providerId="ADAL" clId="{90877F19-00D2-4A00-8128-E78E36266C9A}" dt="2023-11-04T20:32:24.709" v="116813"/>
          <ac:spMkLst>
            <pc:docMk/>
            <pc:sldMk cId="708553223" sldId="317"/>
            <ac:spMk id="1559" creationId="{3CA1C6CD-F1B6-BF40-B69C-D7BAEC64D461}"/>
          </ac:spMkLst>
        </pc:spChg>
        <pc:spChg chg="add del mod ord replST">
          <ac:chgData name="Muchahary, Frankle" userId="0f2bf491-0617-4378-90b8-89af8fa381b9" providerId="ADAL" clId="{90877F19-00D2-4A00-8128-E78E36266C9A}" dt="2023-11-04T20:32:24.716" v="116826"/>
          <ac:spMkLst>
            <pc:docMk/>
            <pc:sldMk cId="708553223" sldId="317"/>
            <ac:spMk id="1560" creationId="{F3E4DE97-F6F3-D56A-9DA6-8E3C5B6000F0}"/>
          </ac:spMkLst>
        </pc:spChg>
        <pc:spChg chg="add del mod ord replST">
          <ac:chgData name="Muchahary, Frankle" userId="0f2bf491-0617-4378-90b8-89af8fa381b9" providerId="ADAL" clId="{90877F19-00D2-4A00-8128-E78E36266C9A}" dt="2023-11-04T20:32:24.724" v="116842"/>
          <ac:spMkLst>
            <pc:docMk/>
            <pc:sldMk cId="708553223" sldId="317"/>
            <ac:spMk id="1561" creationId="{F964F720-7BFF-07CF-679B-3173041DAA4E}"/>
          </ac:spMkLst>
        </pc:spChg>
        <pc:spChg chg="add del mod replST">
          <ac:chgData name="Muchahary, Frankle" userId="0f2bf491-0617-4378-90b8-89af8fa381b9" providerId="ADAL" clId="{90877F19-00D2-4A00-8128-E78E36266C9A}" dt="2023-11-04T20:32:24.732" v="116857"/>
          <ac:spMkLst>
            <pc:docMk/>
            <pc:sldMk cId="708553223" sldId="317"/>
            <ac:spMk id="1562" creationId="{5BF8A1D3-36DC-5197-FB96-9DE63F0131B3}"/>
          </ac:spMkLst>
        </pc:spChg>
        <pc:spChg chg="add del mod modVis">
          <ac:chgData name="Muchahary, Frankle" userId="0f2bf491-0617-4378-90b8-89af8fa381b9" providerId="ADAL" clId="{90877F19-00D2-4A00-8128-E78E36266C9A}" dt="2023-11-04T20:16:03.256" v="109190"/>
          <ac:spMkLst>
            <pc:docMk/>
            <pc:sldMk cId="708553223" sldId="317"/>
            <ac:spMk id="1564" creationId="{F9C7909A-7A50-54DD-177F-239341B2A2A5}"/>
          </ac:spMkLst>
        </pc:spChg>
        <pc:spChg chg="add del mod modVis">
          <ac:chgData name="Muchahary, Frankle" userId="0f2bf491-0617-4378-90b8-89af8fa381b9" providerId="ADAL" clId="{90877F19-00D2-4A00-8128-E78E36266C9A}" dt="2023-11-04T20:16:11.071" v="109399"/>
          <ac:spMkLst>
            <pc:docMk/>
            <pc:sldMk cId="708553223" sldId="317"/>
            <ac:spMk id="1566" creationId="{0904816A-620E-018F-F6CE-20067A3B4F2A}"/>
          </ac:spMkLst>
        </pc:spChg>
        <pc:spChg chg="add del mod modVis">
          <ac:chgData name="Muchahary, Frankle" userId="0f2bf491-0617-4378-90b8-89af8fa381b9" providerId="ADAL" clId="{90877F19-00D2-4A00-8128-E78E36266C9A}" dt="2023-11-04T20:16:12.834" v="109599"/>
          <ac:spMkLst>
            <pc:docMk/>
            <pc:sldMk cId="708553223" sldId="317"/>
            <ac:spMk id="1568" creationId="{33ABB285-0673-CB3E-1A02-0EA974AB3858}"/>
          </ac:spMkLst>
        </pc:spChg>
        <pc:spChg chg="add del mod modVis">
          <ac:chgData name="Muchahary, Frankle" userId="0f2bf491-0617-4378-90b8-89af8fa381b9" providerId="ADAL" clId="{90877F19-00D2-4A00-8128-E78E36266C9A}" dt="2023-11-04T20:16:50.239" v="110602"/>
          <ac:spMkLst>
            <pc:docMk/>
            <pc:sldMk cId="708553223" sldId="317"/>
            <ac:spMk id="1574" creationId="{57B2DBC4-9AC3-2BB0-BCF7-712DDF2321B1}"/>
          </ac:spMkLst>
        </pc:spChg>
        <pc:spChg chg="add del mod replST">
          <ac:chgData name="Muchahary, Frankle" userId="0f2bf491-0617-4378-90b8-89af8fa381b9" providerId="ADAL" clId="{90877F19-00D2-4A00-8128-E78E36266C9A}" dt="2023-11-05T18:08:50.796" v="148796"/>
          <ac:spMkLst>
            <pc:docMk/>
            <pc:sldMk cId="708553223" sldId="317"/>
            <ac:spMk id="1577" creationId="{BC7CA6FB-BC20-B8EA-0941-A9403852E697}"/>
          </ac:spMkLst>
        </pc:spChg>
        <pc:spChg chg="add del mod modVis">
          <ac:chgData name="Muchahary, Frankle" userId="0f2bf491-0617-4378-90b8-89af8fa381b9" providerId="ADAL" clId="{90877F19-00D2-4A00-8128-E78E36266C9A}" dt="2023-11-04T20:24:13.746" v="110991"/>
          <ac:spMkLst>
            <pc:docMk/>
            <pc:sldMk cId="708553223" sldId="317"/>
            <ac:spMk id="1578" creationId="{BEC6FAE4-89B4-D3C3-5E28-41423868C01D}"/>
          </ac:spMkLst>
        </pc:spChg>
        <pc:spChg chg="add del mod replST">
          <ac:chgData name="Muchahary, Frankle" userId="0f2bf491-0617-4378-90b8-89af8fa381b9" providerId="ADAL" clId="{90877F19-00D2-4A00-8128-E78E36266C9A}" dt="2023-11-05T18:08:50.797" v="148799"/>
          <ac:spMkLst>
            <pc:docMk/>
            <pc:sldMk cId="708553223" sldId="317"/>
            <ac:spMk id="1580" creationId="{F4935121-5D3E-9A1B-A765-04B9A8543A54}"/>
          </ac:spMkLst>
        </pc:spChg>
        <pc:spChg chg="add del mod modVis">
          <ac:chgData name="Muchahary, Frankle" userId="0f2bf491-0617-4378-90b8-89af8fa381b9" providerId="ADAL" clId="{90877F19-00D2-4A00-8128-E78E36266C9A}" dt="2023-11-04T20:24:18.642" v="111214"/>
          <ac:spMkLst>
            <pc:docMk/>
            <pc:sldMk cId="708553223" sldId="317"/>
            <ac:spMk id="1581" creationId="{2FF6BBE0-21A9-E459-B49A-A2EFCCF6FEDB}"/>
          </ac:spMkLst>
        </pc:spChg>
        <pc:spChg chg="add del mod modVis">
          <ac:chgData name="Muchahary, Frankle" userId="0f2bf491-0617-4378-90b8-89af8fa381b9" providerId="ADAL" clId="{90877F19-00D2-4A00-8128-E78E36266C9A}" dt="2023-11-04T20:24:29.731" v="111437"/>
          <ac:spMkLst>
            <pc:docMk/>
            <pc:sldMk cId="708553223" sldId="317"/>
            <ac:spMk id="1584" creationId="{247DE52F-7A07-0EF0-99D7-068ED4B1DD40}"/>
          </ac:spMkLst>
        </pc:spChg>
        <pc:spChg chg="add del mod modVis">
          <ac:chgData name="Muchahary, Frankle" userId="0f2bf491-0617-4378-90b8-89af8fa381b9" providerId="ADAL" clId="{90877F19-00D2-4A00-8128-E78E36266C9A}" dt="2023-11-04T20:24:34.871" v="111638"/>
          <ac:spMkLst>
            <pc:docMk/>
            <pc:sldMk cId="708553223" sldId="317"/>
            <ac:spMk id="1586" creationId="{0C0A16E7-04C0-20B1-A733-D99F72D62904}"/>
          </ac:spMkLst>
        </pc:spChg>
        <pc:spChg chg="add del mod modVis">
          <ac:chgData name="Muchahary, Frankle" userId="0f2bf491-0617-4378-90b8-89af8fa381b9" providerId="ADAL" clId="{90877F19-00D2-4A00-8128-E78E36266C9A}" dt="2023-11-04T20:24:38.104" v="111855"/>
          <ac:spMkLst>
            <pc:docMk/>
            <pc:sldMk cId="708553223" sldId="317"/>
            <ac:spMk id="1588" creationId="{9200D37C-2DA1-4E1C-53F8-B7426DB5E68A}"/>
          </ac:spMkLst>
        </pc:spChg>
        <pc:spChg chg="add del mod modVis">
          <ac:chgData name="Muchahary, Frankle" userId="0f2bf491-0617-4378-90b8-89af8fa381b9" providerId="ADAL" clId="{90877F19-00D2-4A00-8128-E78E36266C9A}" dt="2023-11-04T20:24:43.877" v="112054"/>
          <ac:spMkLst>
            <pc:docMk/>
            <pc:sldMk cId="708553223" sldId="317"/>
            <ac:spMk id="1590" creationId="{62FDE4B4-17A9-3C46-8F33-55D6547806B2}"/>
          </ac:spMkLst>
        </pc:spChg>
        <pc:spChg chg="add del mod modVis">
          <ac:chgData name="Muchahary, Frankle" userId="0f2bf491-0617-4378-90b8-89af8fa381b9" providerId="ADAL" clId="{90877F19-00D2-4A00-8128-E78E36266C9A}" dt="2023-11-04T20:24:48.774" v="112373"/>
          <ac:spMkLst>
            <pc:docMk/>
            <pc:sldMk cId="708553223" sldId="317"/>
            <ac:spMk id="1592" creationId="{7E531A39-BC24-9470-4090-E3A8DE05A29E}"/>
          </ac:spMkLst>
        </pc:spChg>
        <pc:spChg chg="add del mod ord replST">
          <ac:chgData name="Muchahary, Frankle" userId="0f2bf491-0617-4378-90b8-89af8fa381b9" providerId="ADAL" clId="{90877F19-00D2-4A00-8128-E78E36266C9A}" dt="2023-11-04T20:25:09.653" v="112738"/>
          <ac:spMkLst>
            <pc:docMk/>
            <pc:sldMk cId="708553223" sldId="317"/>
            <ac:spMk id="1593" creationId="{AFC87856-DA3C-ABBE-314B-FEC66041B346}"/>
          </ac:spMkLst>
        </pc:spChg>
        <pc:spChg chg="add del mod modVis">
          <ac:chgData name="Muchahary, Frankle" userId="0f2bf491-0617-4378-90b8-89af8fa381b9" providerId="ADAL" clId="{90877F19-00D2-4A00-8128-E78E36266C9A}" dt="2023-11-04T20:24:58.258" v="112673"/>
          <ac:spMkLst>
            <pc:docMk/>
            <pc:sldMk cId="708553223" sldId="317"/>
            <ac:spMk id="1597" creationId="{2C35CD4E-312C-7996-9A20-7A25A192A8D7}"/>
          </ac:spMkLst>
        </pc:spChg>
        <pc:spChg chg="add del mod ord replST">
          <ac:chgData name="Muchahary, Frankle" userId="0f2bf491-0617-4378-90b8-89af8fa381b9" providerId="ADAL" clId="{90877F19-00D2-4A00-8128-E78E36266C9A}" dt="2023-11-04T20:26:59.309" v="113149"/>
          <ac:spMkLst>
            <pc:docMk/>
            <pc:sldMk cId="708553223" sldId="317"/>
            <ac:spMk id="1598" creationId="{92EAF2DC-28B8-7947-0451-6D5E9D794C54}"/>
          </ac:spMkLst>
        </pc:spChg>
        <pc:spChg chg="add del mod modVis">
          <ac:chgData name="Muchahary, Frankle" userId="0f2bf491-0617-4378-90b8-89af8fa381b9" providerId="ADAL" clId="{90877F19-00D2-4A00-8128-E78E36266C9A}" dt="2023-11-04T20:25:09.778" v="112929"/>
          <ac:spMkLst>
            <pc:docMk/>
            <pc:sldMk cId="708553223" sldId="317"/>
            <ac:spMk id="1600" creationId="{554EC025-50B2-FF87-BD54-3BE706736281}"/>
          </ac:spMkLst>
        </pc:spChg>
        <pc:spChg chg="add del mod modVis">
          <ac:chgData name="Muchahary, Frankle" userId="0f2bf491-0617-4378-90b8-89af8fa381b9" providerId="ADAL" clId="{90877F19-00D2-4A00-8128-E78E36266C9A}" dt="2023-11-04T20:26:55.633" v="113145"/>
          <ac:spMkLst>
            <pc:docMk/>
            <pc:sldMk cId="708553223" sldId="317"/>
            <ac:spMk id="1603" creationId="{CB19B78C-01A6-B07E-76B9-F4F527792200}"/>
          </ac:spMkLst>
        </pc:spChg>
        <pc:spChg chg="add del mod modVis">
          <ac:chgData name="Muchahary, Frankle" userId="0f2bf491-0617-4378-90b8-89af8fa381b9" providerId="ADAL" clId="{90877F19-00D2-4A00-8128-E78E36266C9A}" dt="2023-11-04T20:26:59.471" v="113357"/>
          <ac:spMkLst>
            <pc:docMk/>
            <pc:sldMk cId="708553223" sldId="317"/>
            <ac:spMk id="1605" creationId="{D4A7A92B-D91D-D077-93A5-94C3E39A3B93}"/>
          </ac:spMkLst>
        </pc:spChg>
        <pc:spChg chg="add del mod replST">
          <ac:chgData name="Muchahary, Frankle" userId="0f2bf491-0617-4378-90b8-89af8fa381b9" providerId="ADAL" clId="{90877F19-00D2-4A00-8128-E78E36266C9A}" dt="2023-11-05T18:08:50.796" v="148795"/>
          <ac:spMkLst>
            <pc:docMk/>
            <pc:sldMk cId="708553223" sldId="317"/>
            <ac:spMk id="1607" creationId="{A9197C97-ED2A-83F9-FA49-73E0EA93F019}"/>
          </ac:spMkLst>
        </pc:spChg>
        <pc:spChg chg="add del mod modVis">
          <ac:chgData name="Muchahary, Frankle" userId="0f2bf491-0617-4378-90b8-89af8fa381b9" providerId="ADAL" clId="{90877F19-00D2-4A00-8128-E78E36266C9A}" dt="2023-11-04T20:28:29.422" v="113597"/>
          <ac:spMkLst>
            <pc:docMk/>
            <pc:sldMk cId="708553223" sldId="317"/>
            <ac:spMk id="1608" creationId="{6F2ECD91-4147-F013-5730-8C6B3A26A2F9}"/>
          </ac:spMkLst>
        </pc:spChg>
        <pc:spChg chg="add del mod modVis">
          <ac:chgData name="Muchahary, Frankle" userId="0f2bf491-0617-4378-90b8-89af8fa381b9" providerId="ADAL" clId="{90877F19-00D2-4A00-8128-E78E36266C9A}" dt="2023-11-04T20:28:36.919" v="113800"/>
          <ac:spMkLst>
            <pc:docMk/>
            <pc:sldMk cId="708553223" sldId="317"/>
            <ac:spMk id="1610" creationId="{3F3927D4-2F5A-8125-A57E-C99CB88E54BF}"/>
          </ac:spMkLst>
        </pc:spChg>
        <pc:spChg chg="add del mod modVis">
          <ac:chgData name="Muchahary, Frankle" userId="0f2bf491-0617-4378-90b8-89af8fa381b9" providerId="ADAL" clId="{90877F19-00D2-4A00-8128-E78E36266C9A}" dt="2023-11-04T20:28:42.512" v="114005"/>
          <ac:spMkLst>
            <pc:docMk/>
            <pc:sldMk cId="708553223" sldId="317"/>
            <ac:spMk id="1612" creationId="{664D47D8-E504-F6C5-4090-D4EA4D87EFE1}"/>
          </ac:spMkLst>
        </pc:spChg>
        <pc:spChg chg="add del mod modVis">
          <ac:chgData name="Muchahary, Frankle" userId="0f2bf491-0617-4378-90b8-89af8fa381b9" providerId="ADAL" clId="{90877F19-00D2-4A00-8128-E78E36266C9A}" dt="2023-11-04T20:29:03.478" v="114218"/>
          <ac:spMkLst>
            <pc:docMk/>
            <pc:sldMk cId="708553223" sldId="317"/>
            <ac:spMk id="1614" creationId="{BE066D03-BE05-59C7-0AD1-09389181D312}"/>
          </ac:spMkLst>
        </pc:spChg>
        <pc:spChg chg="add del mod modVis">
          <ac:chgData name="Muchahary, Frankle" userId="0f2bf491-0617-4378-90b8-89af8fa381b9" providerId="ADAL" clId="{90877F19-00D2-4A00-8128-E78E36266C9A}" dt="2023-11-04T20:29:36.787" v="114417"/>
          <ac:spMkLst>
            <pc:docMk/>
            <pc:sldMk cId="708553223" sldId="317"/>
            <ac:spMk id="1616" creationId="{8EC521E8-D6F4-F551-5282-7B35C6619CA6}"/>
          </ac:spMkLst>
        </pc:spChg>
        <pc:spChg chg="add del mod modVis">
          <ac:chgData name="Muchahary, Frankle" userId="0f2bf491-0617-4378-90b8-89af8fa381b9" providerId="ADAL" clId="{90877F19-00D2-4A00-8128-E78E36266C9A}" dt="2023-11-04T20:29:41.443" v="114616"/>
          <ac:spMkLst>
            <pc:docMk/>
            <pc:sldMk cId="708553223" sldId="317"/>
            <ac:spMk id="1618" creationId="{D2167E69-7698-3027-2C82-3A06114854FF}"/>
          </ac:spMkLst>
        </pc:spChg>
        <pc:spChg chg="add del mod modVis">
          <ac:chgData name="Muchahary, Frankle" userId="0f2bf491-0617-4378-90b8-89af8fa381b9" providerId="ADAL" clId="{90877F19-00D2-4A00-8128-E78E36266C9A}" dt="2023-11-04T20:30:01.899" v="114833"/>
          <ac:spMkLst>
            <pc:docMk/>
            <pc:sldMk cId="708553223" sldId="317"/>
            <ac:spMk id="1620" creationId="{CC3AC32B-6690-3DC5-83EE-C1EBF4556FB3}"/>
          </ac:spMkLst>
        </pc:spChg>
        <pc:spChg chg="add del mod modVis">
          <ac:chgData name="Muchahary, Frankle" userId="0f2bf491-0617-4378-90b8-89af8fa381b9" providerId="ADAL" clId="{90877F19-00D2-4A00-8128-E78E36266C9A}" dt="2023-11-04T20:30:30.617" v="115040"/>
          <ac:spMkLst>
            <pc:docMk/>
            <pc:sldMk cId="708553223" sldId="317"/>
            <ac:spMk id="1622" creationId="{DC9CBF4D-224D-0899-6B67-EE7080CFDE5A}"/>
          </ac:spMkLst>
        </pc:spChg>
        <pc:spChg chg="add del mod modVis">
          <ac:chgData name="Muchahary, Frankle" userId="0f2bf491-0617-4378-90b8-89af8fa381b9" providerId="ADAL" clId="{90877F19-00D2-4A00-8128-E78E36266C9A}" dt="2023-11-04T20:31:03.375" v="115499"/>
          <ac:spMkLst>
            <pc:docMk/>
            <pc:sldMk cId="708553223" sldId="317"/>
            <ac:spMk id="1625" creationId="{88338D8F-79B1-ADC1-EAC1-A99BDA0ED20D}"/>
          </ac:spMkLst>
        </pc:spChg>
        <pc:spChg chg="add del mod modVis">
          <ac:chgData name="Muchahary, Frankle" userId="0f2bf491-0617-4378-90b8-89af8fa381b9" providerId="ADAL" clId="{90877F19-00D2-4A00-8128-E78E36266C9A}" dt="2023-11-04T20:32:25.172" v="117383"/>
          <ac:spMkLst>
            <pc:docMk/>
            <pc:sldMk cId="708553223" sldId="317"/>
            <ac:spMk id="1633" creationId="{9BCA8067-F1C9-0928-F903-D2913549808F}"/>
          </ac:spMkLst>
        </pc:spChg>
        <pc:spChg chg="add del mod ord replST">
          <ac:chgData name="Muchahary, Frankle" userId="0f2bf491-0617-4378-90b8-89af8fa381b9" providerId="ADAL" clId="{90877F19-00D2-4A00-8128-E78E36266C9A}" dt="2023-11-05T02:56:28.241" v="127561"/>
          <ac:spMkLst>
            <pc:docMk/>
            <pc:sldMk cId="708553223" sldId="317"/>
            <ac:spMk id="1634" creationId="{5B4C8F9E-207D-9B83-C366-D39C5CB55E16}"/>
          </ac:spMkLst>
        </pc:spChg>
        <pc:spChg chg="add del mod ord replST">
          <ac:chgData name="Muchahary, Frankle" userId="0f2bf491-0617-4378-90b8-89af8fa381b9" providerId="ADAL" clId="{90877F19-00D2-4A00-8128-E78E36266C9A}" dt="2023-11-05T02:56:28.268" v="127577"/>
          <ac:spMkLst>
            <pc:docMk/>
            <pc:sldMk cId="708553223" sldId="317"/>
            <ac:spMk id="1635" creationId="{0E3F4BFD-688E-B0E3-2A14-66788B4E86C2}"/>
          </ac:spMkLst>
        </pc:spChg>
        <pc:spChg chg="add del mod replST">
          <ac:chgData name="Muchahary, Frankle" userId="0f2bf491-0617-4378-90b8-89af8fa381b9" providerId="ADAL" clId="{90877F19-00D2-4A00-8128-E78E36266C9A}" dt="2023-11-05T02:56:28.280" v="127592"/>
          <ac:spMkLst>
            <pc:docMk/>
            <pc:sldMk cId="708553223" sldId="317"/>
            <ac:spMk id="1636" creationId="{BF5381A7-F573-BF10-8D00-1E129E26DB4F}"/>
          </ac:spMkLst>
        </pc:spChg>
        <pc:spChg chg="add del mod ord replST">
          <ac:chgData name="Muchahary, Frankle" userId="0f2bf491-0617-4378-90b8-89af8fa381b9" providerId="ADAL" clId="{90877F19-00D2-4A00-8128-E78E36266C9A}" dt="2023-11-05T02:56:28.290" v="127605"/>
          <ac:spMkLst>
            <pc:docMk/>
            <pc:sldMk cId="708553223" sldId="317"/>
            <ac:spMk id="1637" creationId="{3E78AB7E-7F01-9E5B-02A9-9F507078B4BA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00" v="127621"/>
          <ac:spMkLst>
            <pc:docMk/>
            <pc:sldMk cId="708553223" sldId="317"/>
            <ac:spMk id="1638" creationId="{19FF58AD-22A6-813B-9F91-5C198EEA2B7F}"/>
          </ac:spMkLst>
        </pc:spChg>
        <pc:spChg chg="add del mod replST">
          <ac:chgData name="Muchahary, Frankle" userId="0f2bf491-0617-4378-90b8-89af8fa381b9" providerId="ADAL" clId="{90877F19-00D2-4A00-8128-E78E36266C9A}" dt="2023-11-05T02:56:28.309" v="127636"/>
          <ac:spMkLst>
            <pc:docMk/>
            <pc:sldMk cId="708553223" sldId="317"/>
            <ac:spMk id="1639" creationId="{A721ABD3-30D6-CADD-039A-E172CA828176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18" v="127649"/>
          <ac:spMkLst>
            <pc:docMk/>
            <pc:sldMk cId="708553223" sldId="317"/>
            <ac:spMk id="1640" creationId="{9F447B25-3062-89BA-582E-BB52794534B5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28" v="127665"/>
          <ac:spMkLst>
            <pc:docMk/>
            <pc:sldMk cId="708553223" sldId="317"/>
            <ac:spMk id="1641" creationId="{956A9FDE-BD36-D66F-0535-8A972B5ED10D}"/>
          </ac:spMkLst>
        </pc:spChg>
        <pc:spChg chg="add del mod replST">
          <ac:chgData name="Muchahary, Frankle" userId="0f2bf491-0617-4378-90b8-89af8fa381b9" providerId="ADAL" clId="{90877F19-00D2-4A00-8128-E78E36266C9A}" dt="2023-11-05T02:56:28.339" v="127680"/>
          <ac:spMkLst>
            <pc:docMk/>
            <pc:sldMk cId="708553223" sldId="317"/>
            <ac:spMk id="1642" creationId="{BC5C147C-E421-8432-069E-6C4DD0D555AA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48" v="127693"/>
          <ac:spMkLst>
            <pc:docMk/>
            <pc:sldMk cId="708553223" sldId="317"/>
            <ac:spMk id="1643" creationId="{3311E429-B845-8AFE-F915-20DCAFDAD728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58" v="127709"/>
          <ac:spMkLst>
            <pc:docMk/>
            <pc:sldMk cId="708553223" sldId="317"/>
            <ac:spMk id="1644" creationId="{B9CBCABD-DB33-5069-0F5E-3817D8BF702B}"/>
          </ac:spMkLst>
        </pc:spChg>
        <pc:spChg chg="add del mod replST">
          <ac:chgData name="Muchahary, Frankle" userId="0f2bf491-0617-4378-90b8-89af8fa381b9" providerId="ADAL" clId="{90877F19-00D2-4A00-8128-E78E36266C9A}" dt="2023-11-05T02:56:28.368" v="127724"/>
          <ac:spMkLst>
            <pc:docMk/>
            <pc:sldMk cId="708553223" sldId="317"/>
            <ac:spMk id="1645" creationId="{843FBFB1-2BAA-3B2B-6562-D62D833727AB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75" v="127737"/>
          <ac:spMkLst>
            <pc:docMk/>
            <pc:sldMk cId="708553223" sldId="317"/>
            <ac:spMk id="1646" creationId="{C3E81798-75EB-6250-FFD5-88EE7BF3DFB6}"/>
          </ac:spMkLst>
        </pc:spChg>
        <pc:spChg chg="add del mod ord replST">
          <ac:chgData name="Muchahary, Frankle" userId="0f2bf491-0617-4378-90b8-89af8fa381b9" providerId="ADAL" clId="{90877F19-00D2-4A00-8128-E78E36266C9A}" dt="2023-11-05T02:56:28.386" v="127753"/>
          <ac:spMkLst>
            <pc:docMk/>
            <pc:sldMk cId="708553223" sldId="317"/>
            <ac:spMk id="1647" creationId="{B6AF286A-EBBC-4F3B-2087-52038C2C2589}"/>
          </ac:spMkLst>
        </pc:spChg>
        <pc:spChg chg="add del mod replST">
          <ac:chgData name="Muchahary, Frankle" userId="0f2bf491-0617-4378-90b8-89af8fa381b9" providerId="ADAL" clId="{90877F19-00D2-4A00-8128-E78E36266C9A}" dt="2023-11-05T02:56:28.395" v="127768"/>
          <ac:spMkLst>
            <pc:docMk/>
            <pc:sldMk cId="708553223" sldId="317"/>
            <ac:spMk id="1648" creationId="{9502A84E-C481-0498-DCD5-C07C54EB9B96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05" v="127781"/>
          <ac:spMkLst>
            <pc:docMk/>
            <pc:sldMk cId="708553223" sldId="317"/>
            <ac:spMk id="1649" creationId="{CE13BE39-21A7-A568-919A-BEE8E19B4CE2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17" v="127797"/>
          <ac:spMkLst>
            <pc:docMk/>
            <pc:sldMk cId="708553223" sldId="317"/>
            <ac:spMk id="1650" creationId="{F09E89B4-1D3E-BC80-2D53-C21CCE527DE1}"/>
          </ac:spMkLst>
        </pc:spChg>
        <pc:spChg chg="add del mod replST">
          <ac:chgData name="Muchahary, Frankle" userId="0f2bf491-0617-4378-90b8-89af8fa381b9" providerId="ADAL" clId="{90877F19-00D2-4A00-8128-E78E36266C9A}" dt="2023-11-05T02:56:28.428" v="127812"/>
          <ac:spMkLst>
            <pc:docMk/>
            <pc:sldMk cId="708553223" sldId="317"/>
            <ac:spMk id="1651" creationId="{ECBAA45B-C600-5678-CC57-19DEC4E53AF7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36" v="127825"/>
          <ac:spMkLst>
            <pc:docMk/>
            <pc:sldMk cId="708553223" sldId="317"/>
            <ac:spMk id="1652" creationId="{9856925C-F259-6D81-2FB4-BDB7AC3EF57D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45" v="127841"/>
          <ac:spMkLst>
            <pc:docMk/>
            <pc:sldMk cId="708553223" sldId="317"/>
            <ac:spMk id="1653" creationId="{EF342934-265A-2076-A274-6553CFED6655}"/>
          </ac:spMkLst>
        </pc:spChg>
        <pc:spChg chg="add del mod replST">
          <ac:chgData name="Muchahary, Frankle" userId="0f2bf491-0617-4378-90b8-89af8fa381b9" providerId="ADAL" clId="{90877F19-00D2-4A00-8128-E78E36266C9A}" dt="2023-11-05T02:56:28.455" v="127856"/>
          <ac:spMkLst>
            <pc:docMk/>
            <pc:sldMk cId="708553223" sldId="317"/>
            <ac:spMk id="1654" creationId="{6FB1A411-AA9E-91E8-0CB0-4DB678D243BD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63" v="127869"/>
          <ac:spMkLst>
            <pc:docMk/>
            <pc:sldMk cId="708553223" sldId="317"/>
            <ac:spMk id="1655" creationId="{82CDB356-2740-BC43-861D-93F2CA600F94}"/>
          </ac:spMkLst>
        </pc:spChg>
        <pc:spChg chg="add del mod ord replST">
          <ac:chgData name="Muchahary, Frankle" userId="0f2bf491-0617-4378-90b8-89af8fa381b9" providerId="ADAL" clId="{90877F19-00D2-4A00-8128-E78E36266C9A}" dt="2023-11-05T02:56:28.473" v="127885"/>
          <ac:spMkLst>
            <pc:docMk/>
            <pc:sldMk cId="708553223" sldId="317"/>
            <ac:spMk id="1656" creationId="{FAAB6FB1-32D3-45B3-4238-8EDB32BCE6D4}"/>
          </ac:spMkLst>
        </pc:spChg>
        <pc:spChg chg="add del mod replST">
          <ac:chgData name="Muchahary, Frankle" userId="0f2bf491-0617-4378-90b8-89af8fa381b9" providerId="ADAL" clId="{90877F19-00D2-4A00-8128-E78E36266C9A}" dt="2023-11-05T02:56:28.482" v="127900"/>
          <ac:spMkLst>
            <pc:docMk/>
            <pc:sldMk cId="708553223" sldId="317"/>
            <ac:spMk id="1657" creationId="{98C219C4-6DB3-C7CA-6B3F-3F27B0A4C0DB}"/>
          </ac:spMkLst>
        </pc:spChg>
        <pc:spChg chg="add del mod modVis">
          <ac:chgData name="Muchahary, Frankle" userId="0f2bf491-0617-4378-90b8-89af8fa381b9" providerId="ADAL" clId="{90877F19-00D2-4A00-8128-E78E36266C9A}" dt="2023-11-04T20:32:26.039" v="117612"/>
          <ac:spMkLst>
            <pc:docMk/>
            <pc:sldMk cId="708553223" sldId="317"/>
            <ac:spMk id="1659" creationId="{0B8B86F7-1778-A6FC-5789-4095B3D3111D}"/>
          </ac:spMkLst>
        </pc:spChg>
        <pc:spChg chg="add del mod modVis">
          <ac:chgData name="Muchahary, Frankle" userId="0f2bf491-0617-4378-90b8-89af8fa381b9" providerId="ADAL" clId="{90877F19-00D2-4A00-8128-E78E36266C9A}" dt="2023-11-04T20:32:30.762" v="118176"/>
          <ac:spMkLst>
            <pc:docMk/>
            <pc:sldMk cId="708553223" sldId="317"/>
            <ac:spMk id="1661" creationId="{FB1E732D-F46B-8E0E-D3ED-38E6BD2EF189}"/>
          </ac:spMkLst>
        </pc:spChg>
        <pc:spChg chg="add del mod replST">
          <ac:chgData name="Muchahary, Frankle" userId="0f2bf491-0617-4378-90b8-89af8fa381b9" providerId="ADAL" clId="{90877F19-00D2-4A00-8128-E78E36266C9A}" dt="2023-11-05T18:08:40.343" v="147478"/>
          <ac:spMkLst>
            <pc:docMk/>
            <pc:sldMk cId="708553223" sldId="317"/>
            <ac:spMk id="1662" creationId="{9B28145C-D4DD-9C17-C933-14CED3BC0ED6}"/>
          </ac:spMkLst>
        </pc:spChg>
        <pc:spChg chg="add del mod replST">
          <ac:chgData name="Muchahary, Frankle" userId="0f2bf491-0617-4378-90b8-89af8fa381b9" providerId="ADAL" clId="{90877F19-00D2-4A00-8128-E78E36266C9A}" dt="2023-11-05T18:08:40.342" v="147475"/>
          <ac:spMkLst>
            <pc:docMk/>
            <pc:sldMk cId="708553223" sldId="317"/>
            <ac:spMk id="1663" creationId="{A416B38A-0308-5A02-5A51-5FECA2E155EC}"/>
          </ac:spMkLst>
        </pc:spChg>
        <pc:spChg chg="add del mod modVis">
          <ac:chgData name="Muchahary, Frankle" userId="0f2bf491-0617-4378-90b8-89af8fa381b9" providerId="ADAL" clId="{90877F19-00D2-4A00-8128-E78E36266C9A}" dt="2023-11-04T20:32:35.253" v="118750"/>
          <ac:spMkLst>
            <pc:docMk/>
            <pc:sldMk cId="708553223" sldId="317"/>
            <ac:spMk id="1667" creationId="{93158D8C-7C27-B64B-DE05-C3E1548DE202}"/>
          </ac:spMkLst>
        </pc:spChg>
        <pc:spChg chg="add del mod ord replST">
          <ac:chgData name="Muchahary, Frankle" userId="0f2bf491-0617-4378-90b8-89af8fa381b9" providerId="ADAL" clId="{90877F19-00D2-4A00-8128-E78E36266C9A}" dt="2023-11-05T18:08:41.817" v="148574"/>
          <ac:spMkLst>
            <pc:docMk/>
            <pc:sldMk cId="708553223" sldId="317"/>
            <ac:spMk id="1668" creationId="{E88B84B9-AA2E-2C77-43C0-6C7977B052E7}"/>
          </ac:spMkLst>
        </pc:spChg>
        <pc:spChg chg="add del mod replST">
          <ac:chgData name="Muchahary, Frankle" userId="0f2bf491-0617-4378-90b8-89af8fa381b9" providerId="ADAL" clId="{90877F19-00D2-4A00-8128-E78E36266C9A}" dt="2023-11-05T18:08:40.338" v="147463"/>
          <ac:spMkLst>
            <pc:docMk/>
            <pc:sldMk cId="708553223" sldId="317"/>
            <ac:spMk id="1669" creationId="{230B4473-C248-3162-803B-D3F13B936ACA}"/>
          </ac:spMkLst>
        </pc:spChg>
        <pc:spChg chg="add del mod modVis">
          <ac:chgData name="Muchahary, Frankle" userId="0f2bf491-0617-4378-90b8-89af8fa381b9" providerId="ADAL" clId="{90877F19-00D2-4A00-8128-E78E36266C9A}" dt="2023-11-04T20:32:37.143" v="119315"/>
          <ac:spMkLst>
            <pc:docMk/>
            <pc:sldMk cId="708553223" sldId="317"/>
            <ac:spMk id="1672" creationId="{9F3FE227-2F07-9D80-FBF9-A72883C43CA5}"/>
          </ac:spMkLst>
        </pc:spChg>
        <pc:spChg chg="add del mod replST">
          <ac:chgData name="Muchahary, Frankle" userId="0f2bf491-0617-4378-90b8-89af8fa381b9" providerId="ADAL" clId="{90877F19-00D2-4A00-8128-E78E36266C9A}" dt="2023-11-05T18:08:40.345" v="147484"/>
          <ac:spMkLst>
            <pc:docMk/>
            <pc:sldMk cId="708553223" sldId="317"/>
            <ac:spMk id="1673" creationId="{755CD1ED-A4D8-C151-4CF5-7EDA24C262D7}"/>
          </ac:spMkLst>
        </pc:spChg>
        <pc:spChg chg="add del mod replST">
          <ac:chgData name="Muchahary, Frankle" userId="0f2bf491-0617-4378-90b8-89af8fa381b9" providerId="ADAL" clId="{90877F19-00D2-4A00-8128-E78E36266C9A}" dt="2023-11-05T18:08:40.344" v="147481"/>
          <ac:spMkLst>
            <pc:docMk/>
            <pc:sldMk cId="708553223" sldId="317"/>
            <ac:spMk id="1674" creationId="{123CEBF4-2027-57AC-D19C-5EEA1F836573}"/>
          </ac:spMkLst>
        </pc:spChg>
        <pc:spChg chg="add del mod replST">
          <ac:chgData name="Muchahary, Frankle" userId="0f2bf491-0617-4378-90b8-89af8fa381b9" providerId="ADAL" clId="{90877F19-00D2-4A00-8128-E78E36266C9A}" dt="2023-11-05T18:08:50.795" v="148792"/>
          <ac:spMkLst>
            <pc:docMk/>
            <pc:sldMk cId="708553223" sldId="317"/>
            <ac:spMk id="1689" creationId="{D8C04172-4D26-D0F7-FCC7-8109C3CB99C5}"/>
          </ac:spMkLst>
        </pc:spChg>
        <pc:spChg chg="add mod ord">
          <ac:chgData name="Muchahary, Frankle" userId="0f2bf491-0617-4378-90b8-89af8fa381b9" providerId="ADAL" clId="{90877F19-00D2-4A00-8128-E78E36266C9A}" dt="2023-11-08T07:17:14.039" v="170960"/>
          <ac:spMkLst>
            <pc:docMk/>
            <pc:sldMk cId="708553223" sldId="317"/>
            <ac:spMk id="1693" creationId="{E44A3FFF-D430-F078-097E-189155E6B419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8T07:17:14.049" v="170970"/>
          <ac:graphicFrameMkLst>
            <pc:docMk/>
            <pc:sldMk cId="708553223" sldId="317"/>
            <ac:graphicFrameMk id="4" creationId="{FD4A65FB-339A-B2BC-4155-257FFC3BBBB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4:08:57.603" v="44531"/>
          <ac:graphicFrameMkLst>
            <pc:docMk/>
            <pc:sldMk cId="708553223" sldId="317"/>
            <ac:graphicFrameMk id="13" creationId="{C7DFA286-B60E-1D11-2939-226CD39C4AC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4:09:07.101" v="44606"/>
          <ac:graphicFrameMkLst>
            <pc:docMk/>
            <pc:sldMk cId="708553223" sldId="317"/>
            <ac:graphicFrameMk id="14" creationId="{AFD624D1-314B-88C8-D505-450B1E44544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2:43.853" v="46480"/>
          <ac:graphicFrameMkLst>
            <pc:docMk/>
            <pc:sldMk cId="708553223" sldId="317"/>
            <ac:graphicFrameMk id="15" creationId="{C1A15C9E-4215-EC42-7C76-32658208C97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7:41.292" v="47331"/>
          <ac:graphicFrameMkLst>
            <pc:docMk/>
            <pc:sldMk cId="708553223" sldId="317"/>
            <ac:graphicFrameMk id="17" creationId="{F27E690A-F07B-234B-D42D-F1D122701B2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2:45.359" v="46544"/>
          <ac:graphicFrameMkLst>
            <pc:docMk/>
            <pc:sldMk cId="708553223" sldId="317"/>
            <ac:graphicFrameMk id="20" creationId="{3294B1B6-1D81-42EF-6201-165B34092EC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2:51.785" v="46603"/>
          <ac:graphicFrameMkLst>
            <pc:docMk/>
            <pc:sldMk cId="708553223" sldId="317"/>
            <ac:graphicFrameMk id="21" creationId="{23545824-4AE8-3CDB-7ED7-706B64BE278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2:56.665" v="46662"/>
          <ac:graphicFrameMkLst>
            <pc:docMk/>
            <pc:sldMk cId="708553223" sldId="317"/>
            <ac:graphicFrameMk id="22" creationId="{D861873F-265B-B3BF-0438-41F18E4691F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3:19.225" v="46860"/>
          <ac:graphicFrameMkLst>
            <pc:docMk/>
            <pc:sldMk cId="708553223" sldId="317"/>
            <ac:graphicFrameMk id="23" creationId="{BDAD6FF7-EAED-B0CD-CF40-0AD63912BF55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8:43:12.987" v="46792"/>
          <ac:graphicFrameMkLst>
            <pc:docMk/>
            <pc:sldMk cId="708553223" sldId="317"/>
            <ac:graphicFrameMk id="24" creationId="{09C1B0B8-7EB0-99B9-9155-F82586EE2BC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07:17:13.961" v="170856"/>
          <ac:graphicFrameMkLst>
            <pc:docMk/>
            <pc:sldMk cId="708553223" sldId="317"/>
            <ac:graphicFrameMk id="24" creationId="{85B5FA23-E0BB-DDA9-9885-AFF34D850203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7T19:53:37.186" v="160547"/>
          <ac:graphicFrameMkLst>
            <pc:docMk/>
            <pc:sldMk cId="708553223" sldId="317"/>
            <ac:graphicFrameMk id="31" creationId="{20F4B3C5-A400-51B4-FBE9-3262DCC347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3:40.391" v="47060"/>
          <ac:graphicFrameMkLst>
            <pc:docMk/>
            <pc:sldMk cId="708553223" sldId="317"/>
            <ac:graphicFrameMk id="31" creationId="{621ABB16-C2BD-2DC8-AAD4-35A8D067E48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02.813" v="1139"/>
          <ac:graphicFrameMkLst>
            <pc:docMk/>
            <pc:sldMk cId="708553223" sldId="317"/>
            <ac:graphicFrameMk id="31" creationId="{C0597499-085A-C56A-8F33-41FF57AA08B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04.973" v="1194"/>
          <ac:graphicFrameMkLst>
            <pc:docMk/>
            <pc:sldMk cId="708553223" sldId="317"/>
            <ac:graphicFrameMk id="32" creationId="{068FE37B-4194-3310-0168-32546443793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8:43:27.617" v="46992"/>
          <ac:graphicFrameMkLst>
            <pc:docMk/>
            <pc:sldMk cId="708553223" sldId="317"/>
            <ac:graphicFrameMk id="32" creationId="{D340B0F1-ED53-252D-8C12-79F6C83BE47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05.896" v="1249"/>
          <ac:graphicFrameMkLst>
            <pc:docMk/>
            <pc:sldMk cId="708553223" sldId="317"/>
            <ac:graphicFrameMk id="33" creationId="{D69E6738-C4A0-2761-131B-71C90D14932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7:50.117" v="47401"/>
          <ac:graphicFrameMkLst>
            <pc:docMk/>
            <pc:sldMk cId="708553223" sldId="317"/>
            <ac:graphicFrameMk id="34" creationId="{3A22A9B6-F71A-B42A-958D-263116415B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13.084" v="1276"/>
          <ac:graphicFrameMkLst>
            <pc:docMk/>
            <pc:sldMk cId="708553223" sldId="317"/>
            <ac:graphicFrameMk id="34" creationId="{7D0B9FF1-1CAC-29D4-F68B-815D19B514B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41.840" v="148624"/>
          <ac:graphicFrameMkLst>
            <pc:docMk/>
            <pc:sldMk cId="708553223" sldId="317"/>
            <ac:graphicFrameMk id="34" creationId="{A72F1DC2-8302-E93F-36C3-AE377F57C89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31.060" v="1337"/>
          <ac:graphicFrameMkLst>
            <pc:docMk/>
            <pc:sldMk cId="708553223" sldId="317"/>
            <ac:graphicFrameMk id="35" creationId="{2682779A-F27F-3C9D-BCCC-731687A46E7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8:51.373" v="47676"/>
          <ac:graphicFrameMkLst>
            <pc:docMk/>
            <pc:sldMk cId="708553223" sldId="317"/>
            <ac:graphicFrameMk id="36" creationId="{446BA658-8D46-8BE3-073F-4BB41472080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7:56.743" v="47460"/>
          <ac:graphicFrameMkLst>
            <pc:docMk/>
            <pc:sldMk cId="708553223" sldId="317"/>
            <ac:graphicFrameMk id="37" creationId="{B714CD7C-5F5A-0FEB-D800-5B0A1CC8A57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34.031" v="1400"/>
          <ac:graphicFrameMkLst>
            <pc:docMk/>
            <pc:sldMk cId="708553223" sldId="317"/>
            <ac:graphicFrameMk id="37" creationId="{E80E3C19-5848-47CE-A1EA-A46E8F89FC4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8:01.778" v="47519"/>
          <ac:graphicFrameMkLst>
            <pc:docMk/>
            <pc:sldMk cId="708553223" sldId="317"/>
            <ac:graphicFrameMk id="38" creationId="{B9B44124-BDA2-6126-36AD-6983AF9D2EE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8:23.626" v="47578"/>
          <ac:graphicFrameMkLst>
            <pc:docMk/>
            <pc:sldMk cId="708553223" sldId="317"/>
            <ac:graphicFrameMk id="39" creationId="{5F8F094B-2E21-A016-2B67-5771880B33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39.034" v="1467"/>
          <ac:graphicFrameMkLst>
            <pc:docMk/>
            <pc:sldMk cId="708553223" sldId="317"/>
            <ac:graphicFrameMk id="39" creationId="{C1DA87EB-5D63-430B-1894-CCDCBC2BC5F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8:45.513" v="54525"/>
          <ac:graphicFrameMkLst>
            <pc:docMk/>
            <pc:sldMk cId="708553223" sldId="317"/>
            <ac:graphicFrameMk id="40" creationId="{47A563D3-65DA-44E5-682A-6C0D76748CF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45.569" v="1496"/>
          <ac:graphicFrameMkLst>
            <pc:docMk/>
            <pc:sldMk cId="708553223" sldId="317"/>
            <ac:graphicFrameMk id="41" creationId="{8B4769E6-BC9D-8B36-BA6E-C9A56895B9A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09:54.416" v="1561"/>
          <ac:graphicFrameMkLst>
            <pc:docMk/>
            <pc:sldMk cId="708553223" sldId="317"/>
            <ac:graphicFrameMk id="42" creationId="{0B1D0C53-5BFD-E0B7-4E67-4E510727116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19:09.882" v="56467"/>
          <ac:graphicFrameMkLst>
            <pc:docMk/>
            <pc:sldMk cId="708553223" sldId="317"/>
            <ac:graphicFrameMk id="42" creationId="{B6E5DCA9-8B53-18B8-1F2C-CA46CD7A7E7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03.580" v="1676"/>
          <ac:graphicFrameMkLst>
            <pc:docMk/>
            <pc:sldMk cId="708553223" sldId="317"/>
            <ac:graphicFrameMk id="44" creationId="{47031E92-B9D1-5595-42ED-A6869738FB1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09.690" v="1807"/>
          <ac:graphicFrameMkLst>
            <pc:docMk/>
            <pc:sldMk cId="708553223" sldId="317"/>
            <ac:graphicFrameMk id="49" creationId="{1EEA6C29-1B57-3523-59E0-6D4480759BA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26.667" v="1953"/>
          <ac:graphicFrameMkLst>
            <pc:docMk/>
            <pc:sldMk cId="708553223" sldId="317"/>
            <ac:graphicFrameMk id="54" creationId="{8032DAA7-191A-304B-2651-51BF215790D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27.859" v="2022"/>
          <ac:graphicFrameMkLst>
            <pc:docMk/>
            <pc:sldMk cId="708553223" sldId="317"/>
            <ac:graphicFrameMk id="59" creationId="{6139CB0D-0715-4801-0049-B444455065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32.125" v="2097"/>
          <ac:graphicFrameMkLst>
            <pc:docMk/>
            <pc:sldMk cId="708553223" sldId="317"/>
            <ac:graphicFrameMk id="61" creationId="{810E3E71-E60E-F306-DCB5-4A873E53176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32.889" v="2178"/>
          <ac:graphicFrameMkLst>
            <pc:docMk/>
            <pc:sldMk cId="708553223" sldId="317"/>
            <ac:graphicFrameMk id="63" creationId="{97D17553-9560-94CB-C544-0C9EAB34AE0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33.361" v="2261"/>
          <ac:graphicFrameMkLst>
            <pc:docMk/>
            <pc:sldMk cId="708553223" sldId="317"/>
            <ac:graphicFrameMk id="385" creationId="{6E83C42D-71E4-D8E9-1ABA-8E97E8458D0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40.770" v="2366"/>
          <ac:graphicFrameMkLst>
            <pc:docMk/>
            <pc:sldMk cId="708553223" sldId="317"/>
            <ac:graphicFrameMk id="387" creationId="{2F809D83-6324-3CED-2754-7D469591FC8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43.911" v="2469"/>
          <ac:graphicFrameMkLst>
            <pc:docMk/>
            <pc:sldMk cId="708553223" sldId="317"/>
            <ac:graphicFrameMk id="388" creationId="{B58091F6-6A59-C4E6-B196-35B8B7F4892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46.411" v="2572"/>
          <ac:graphicFrameMkLst>
            <pc:docMk/>
            <pc:sldMk cId="708553223" sldId="317"/>
            <ac:graphicFrameMk id="389" creationId="{4F450897-FE06-7993-823A-ABD9EE1D3D1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6:43.686" v="68056"/>
          <ac:graphicFrameMkLst>
            <pc:docMk/>
            <pc:sldMk cId="708553223" sldId="317"/>
            <ac:graphicFrameMk id="389" creationId="{8D2C07C4-6810-4BC9-F9BA-10885C39EEB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0:48.764" v="2669"/>
          <ac:graphicFrameMkLst>
            <pc:docMk/>
            <pc:sldMk cId="708553223" sldId="317"/>
            <ac:graphicFrameMk id="390" creationId="{A8EB3343-D983-6788-EC69-C570C6DD70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02.270" v="2751"/>
          <ac:graphicFrameMkLst>
            <pc:docMk/>
            <pc:sldMk cId="708553223" sldId="317"/>
            <ac:graphicFrameMk id="391" creationId="{E8C72B05-D9E6-AFB7-6F66-3F4DA1E4BD8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6:50.070" v="68343"/>
          <ac:graphicFrameMkLst>
            <pc:docMk/>
            <pc:sldMk cId="708553223" sldId="317"/>
            <ac:graphicFrameMk id="392" creationId="{9A6E67B1-E77A-EED5-5099-C6223D7537C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12.718" v="2830"/>
          <ac:graphicFrameMkLst>
            <pc:docMk/>
            <pc:sldMk cId="708553223" sldId="317"/>
            <ac:graphicFrameMk id="393" creationId="{D759C929-7931-0278-1BE3-BBC65B3E170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7:14.572" v="68559"/>
          <ac:graphicFrameMkLst>
            <pc:docMk/>
            <pc:sldMk cId="708553223" sldId="317"/>
            <ac:graphicFrameMk id="395" creationId="{54705D5B-AD1E-6D64-4F15-44A89B8E5FA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26.741" v="3029"/>
          <ac:graphicFrameMkLst>
            <pc:docMk/>
            <pc:sldMk cId="708553223" sldId="317"/>
            <ac:graphicFrameMk id="395" creationId="{CB6446FA-F8CD-8507-D738-53260740CC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30.908" v="3226"/>
          <ac:graphicFrameMkLst>
            <pc:docMk/>
            <pc:sldMk cId="708553223" sldId="317"/>
            <ac:graphicFrameMk id="397" creationId="{39F2DD8C-BCAA-D044-E85B-6A64F2401E4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7:27.343" v="69107"/>
          <ac:graphicFrameMkLst>
            <pc:docMk/>
            <pc:sldMk cId="708553223" sldId="317"/>
            <ac:graphicFrameMk id="397" creationId="{C2542C51-C5F1-FC9F-E765-1E12DA29E9D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34.428" v="3418"/>
          <ac:graphicFrameMkLst>
            <pc:docMk/>
            <pc:sldMk cId="708553223" sldId="317"/>
            <ac:graphicFrameMk id="399" creationId="{6B3C80D7-C43F-6C61-6A0E-E2E2C4E0ECA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1:59.737" v="3523"/>
          <ac:graphicFrameMkLst>
            <pc:docMk/>
            <pc:sldMk cId="708553223" sldId="317"/>
            <ac:graphicFrameMk id="401" creationId="{55FC32A1-5826-387D-74B5-8E4AE9DFC18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2:24.414" v="3733"/>
          <ac:graphicFrameMkLst>
            <pc:docMk/>
            <pc:sldMk cId="708553223" sldId="317"/>
            <ac:graphicFrameMk id="402" creationId="{A02D1F64-3B37-0CB6-C016-F6516E057F0B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2:12.308" v="3607"/>
          <ac:graphicFrameMkLst>
            <pc:docMk/>
            <pc:sldMk cId="708553223" sldId="317"/>
            <ac:graphicFrameMk id="403" creationId="{047B1A98-2CE7-11A8-AB94-4890B767F38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2:28.151" v="3774"/>
          <ac:graphicFrameMkLst>
            <pc:docMk/>
            <pc:sldMk cId="708553223" sldId="317"/>
            <ac:graphicFrameMk id="405" creationId="{2A989DF0-B868-8738-0C32-7DEFE1C0C33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2:30.177" v="3817"/>
          <ac:graphicFrameMkLst>
            <pc:docMk/>
            <pc:sldMk cId="708553223" sldId="317"/>
            <ac:graphicFrameMk id="408" creationId="{DB30CB06-17CA-C218-4AEA-001D92E41B9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2:32.260" v="3860"/>
          <ac:graphicFrameMkLst>
            <pc:docMk/>
            <pc:sldMk cId="708553223" sldId="317"/>
            <ac:graphicFrameMk id="409" creationId="{096C2F29-ED61-1F4D-E20A-6305C8705A0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14.487" v="4586"/>
          <ac:graphicFrameMkLst>
            <pc:docMk/>
            <pc:sldMk cId="708553223" sldId="317"/>
            <ac:graphicFrameMk id="410" creationId="{24308DF0-00C1-BED4-4192-C3068AC2AAD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8:32.968" v="69331"/>
          <ac:graphicFrameMkLst>
            <pc:docMk/>
            <pc:sldMk cId="708553223" sldId="317"/>
            <ac:graphicFrameMk id="410" creationId="{A975318C-1F6C-7A5F-F299-F190871F3D1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8:55.878" v="69581"/>
          <ac:graphicFrameMkLst>
            <pc:docMk/>
            <pc:sldMk cId="708553223" sldId="317"/>
            <ac:graphicFrameMk id="414" creationId="{86F23521-AEAF-B719-646E-7B22EFA7868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9:10.427" v="71091"/>
          <ac:graphicFrameMkLst>
            <pc:docMk/>
            <pc:sldMk cId="708553223" sldId="317"/>
            <ac:graphicFrameMk id="420" creationId="{FC2E10A9-125D-485B-0F8E-079473C8781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30.893" v="4771"/>
          <ac:graphicFrameMkLst>
            <pc:docMk/>
            <pc:sldMk cId="708553223" sldId="317"/>
            <ac:graphicFrameMk id="421" creationId="{22E2CA9D-1D26-B80A-D164-278FF4BEB79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15.646" v="4700"/>
          <ac:graphicFrameMkLst>
            <pc:docMk/>
            <pc:sldMk cId="708553223" sldId="317"/>
            <ac:graphicFrameMk id="422" creationId="{456EED3B-C89C-0C8D-88FC-E54A15FFB3F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40.005" v="5754"/>
          <ac:graphicFrameMkLst>
            <pc:docMk/>
            <pc:sldMk cId="708553223" sldId="317"/>
            <ac:graphicFrameMk id="423" creationId="{8EDB34EC-77A0-9525-FD7C-A085F6C66D1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35.023" v="4825"/>
          <ac:graphicFrameMkLst>
            <pc:docMk/>
            <pc:sldMk cId="708553223" sldId="317"/>
            <ac:graphicFrameMk id="424" creationId="{9F839644-4706-ACC9-9872-75F77B814C5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36.955" v="4881"/>
          <ac:graphicFrameMkLst>
            <pc:docMk/>
            <pc:sldMk cId="708553223" sldId="317"/>
            <ac:graphicFrameMk id="425" creationId="{0786DEA2-9825-D024-55DA-E0B1CFE4FCB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38.975" v="4937"/>
          <ac:graphicFrameMkLst>
            <pc:docMk/>
            <pc:sldMk cId="708553223" sldId="317"/>
            <ac:graphicFrameMk id="426" creationId="{B60EFC2B-5E99-55DA-FA6C-64F2C0DBD0A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40.388" v="4993"/>
          <ac:graphicFrameMkLst>
            <pc:docMk/>
            <pc:sldMk cId="708553223" sldId="317"/>
            <ac:graphicFrameMk id="427" creationId="{F15E9654-059A-B20B-A4CD-6173C4A1822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42.010" v="5058"/>
          <ac:graphicFrameMkLst>
            <pc:docMk/>
            <pc:sldMk cId="708553223" sldId="317"/>
            <ac:graphicFrameMk id="428" creationId="{1755D3D9-B531-1C18-5479-468B2E5E83B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43.454" v="5123"/>
          <ac:graphicFrameMkLst>
            <pc:docMk/>
            <pc:sldMk cId="708553223" sldId="317"/>
            <ac:graphicFrameMk id="429" creationId="{1F9CD7E3-4475-A164-9EE6-5560D947DFE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44.479" v="5178"/>
          <ac:graphicFrameMkLst>
            <pc:docMk/>
            <pc:sldMk cId="708553223" sldId="317"/>
            <ac:graphicFrameMk id="430" creationId="{C512362F-CABA-8263-4D57-67315B28B6F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54.594" v="5257"/>
          <ac:graphicFrameMkLst>
            <pc:docMk/>
            <pc:sldMk cId="708553223" sldId="317"/>
            <ac:graphicFrameMk id="431" creationId="{ADABB7BC-AB3F-9357-A57B-B4564AD939F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3:58.564" v="5338"/>
          <ac:graphicFrameMkLst>
            <pc:docMk/>
            <pc:sldMk cId="708553223" sldId="317"/>
            <ac:graphicFrameMk id="433" creationId="{6D2960C6-FE18-F8D6-7752-8741943A50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02.198" v="5419"/>
          <ac:graphicFrameMkLst>
            <pc:docMk/>
            <pc:sldMk cId="708553223" sldId="317"/>
            <ac:graphicFrameMk id="435" creationId="{18271CC3-159B-92BB-A6EB-C00E96C2F61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16.637" v="5532"/>
          <ac:graphicFrameMkLst>
            <pc:docMk/>
            <pc:sldMk cId="708553223" sldId="317"/>
            <ac:graphicFrameMk id="437" creationId="{49BEFCC9-49A5-4FC0-170B-4C0D26133C6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33.462" v="5684"/>
          <ac:graphicFrameMkLst>
            <pc:docMk/>
            <pc:sldMk cId="708553223" sldId="317"/>
            <ac:graphicFrameMk id="440" creationId="{6858D786-F160-E992-C6CE-83EA8E76CBD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45.953" v="5825"/>
          <ac:graphicFrameMkLst>
            <pc:docMk/>
            <pc:sldMk cId="708553223" sldId="317"/>
            <ac:graphicFrameMk id="442" creationId="{0084210D-2627-1EAF-289E-91914A98158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18.340" v="7434"/>
          <ac:graphicFrameMkLst>
            <pc:docMk/>
            <pc:sldMk cId="708553223" sldId="317"/>
            <ac:graphicFrameMk id="443" creationId="{574C6B71-AA14-FC65-DA24-40E3766B637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47.136" v="5896"/>
          <ac:graphicFrameMkLst>
            <pc:docMk/>
            <pc:sldMk cId="708553223" sldId="317"/>
            <ac:graphicFrameMk id="444" creationId="{090F519E-2FFF-98EB-5AE0-940A926151E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48.170" v="5955"/>
          <ac:graphicFrameMkLst>
            <pc:docMk/>
            <pc:sldMk cId="708553223" sldId="317"/>
            <ac:graphicFrameMk id="445" creationId="{861C947E-022F-E7F8-25CB-AA56A4EB171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49.492" v="6026"/>
          <ac:graphicFrameMkLst>
            <pc:docMk/>
            <pc:sldMk cId="708553223" sldId="317"/>
            <ac:graphicFrameMk id="446" creationId="{5933AC30-5D5E-C1C3-5B11-6D897226936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50.449" v="6085"/>
          <ac:graphicFrameMkLst>
            <pc:docMk/>
            <pc:sldMk cId="708553223" sldId="317"/>
            <ac:graphicFrameMk id="447" creationId="{2D80ADC6-8800-2171-988C-74F347FFF30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53.031" v="6145"/>
          <ac:graphicFrameMkLst>
            <pc:docMk/>
            <pc:sldMk cId="708553223" sldId="317"/>
            <ac:graphicFrameMk id="448" creationId="{C6149CD7-5CB2-F3EE-5937-B53987A9F4D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54.912" v="6205"/>
          <ac:graphicFrameMkLst>
            <pc:docMk/>
            <pc:sldMk cId="708553223" sldId="317"/>
            <ac:graphicFrameMk id="449" creationId="{12CA5070-76C9-63E9-58F2-895CCA81C5A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56.928" v="6265"/>
          <ac:graphicFrameMkLst>
            <pc:docMk/>
            <pc:sldMk cId="708553223" sldId="317"/>
            <ac:graphicFrameMk id="450" creationId="{F8167CA3-7611-C1D6-4E68-AE569E2F8A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4:58.545" v="6325"/>
          <ac:graphicFrameMkLst>
            <pc:docMk/>
            <pc:sldMk cId="708553223" sldId="317"/>
            <ac:graphicFrameMk id="451" creationId="{37C12C61-EB77-3929-3301-CEEA99153F3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01.324" v="6396"/>
          <ac:graphicFrameMkLst>
            <pc:docMk/>
            <pc:sldMk cId="708553223" sldId="317"/>
            <ac:graphicFrameMk id="452" creationId="{DAAFB375-E82D-13FB-9FEA-20914DF99C7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33.317" v="6742"/>
          <ac:graphicFrameMkLst>
            <pc:docMk/>
            <pc:sldMk cId="708553223" sldId="317"/>
            <ac:graphicFrameMk id="453" creationId="{01F31B65-1D1A-2947-84B4-0AB763D73963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1:15:29.653" v="6675"/>
          <ac:graphicFrameMkLst>
            <pc:docMk/>
            <pc:sldMk cId="708553223" sldId="317"/>
            <ac:graphicFrameMk id="455" creationId="{D48754E3-B452-DDAC-1C72-FAF905D301F5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5:27.691" v="6636"/>
          <ac:graphicFrameMkLst>
            <pc:docMk/>
            <pc:sldMk cId="708553223" sldId="317"/>
            <ac:graphicFrameMk id="457" creationId="{BE6AF916-4484-A4FB-E685-03DCE8432FA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35.528" v="6794"/>
          <ac:graphicFrameMkLst>
            <pc:docMk/>
            <pc:sldMk cId="708553223" sldId="317"/>
            <ac:graphicFrameMk id="459" creationId="{B2BF5D39-6951-A645-6646-14EA81430E2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37.627" v="6844"/>
          <ac:graphicFrameMkLst>
            <pc:docMk/>
            <pc:sldMk cId="708553223" sldId="317"/>
            <ac:graphicFrameMk id="460" creationId="{66911ECF-0985-9BD6-01E2-A6E7D869ADF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39.700" v="6894"/>
          <ac:graphicFrameMkLst>
            <pc:docMk/>
            <pc:sldMk cId="708553223" sldId="317"/>
            <ac:graphicFrameMk id="461" creationId="{57A9A1DB-4F5D-ED31-0092-63236679924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5:59.373" v="6990"/>
          <ac:graphicFrameMkLst>
            <pc:docMk/>
            <pc:sldMk cId="708553223" sldId="317"/>
            <ac:graphicFrameMk id="462" creationId="{193EE643-FD97-7758-8E0D-FA811CBE89C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01.148" v="7045"/>
          <ac:graphicFrameMkLst>
            <pc:docMk/>
            <pc:sldMk cId="708553223" sldId="317"/>
            <ac:graphicFrameMk id="464" creationId="{CFC0982E-E7CB-D777-BD41-33C1A2D9E1D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03.923" v="7141"/>
          <ac:graphicFrameMkLst>
            <pc:docMk/>
            <pc:sldMk cId="708553223" sldId="317"/>
            <ac:graphicFrameMk id="465" creationId="{AA7EADC9-EEE9-086A-A1B1-62506E6FC64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14.452" v="7214"/>
          <ac:graphicFrameMkLst>
            <pc:docMk/>
            <pc:sldMk cId="708553223" sldId="317"/>
            <ac:graphicFrameMk id="467" creationId="{1962E639-26D5-1AA6-29C5-92100437106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29.993" v="8126"/>
          <ac:graphicFrameMkLst>
            <pc:docMk/>
            <pc:sldMk cId="708553223" sldId="317"/>
            <ac:graphicFrameMk id="468" creationId="{9FAF93FB-1CEB-79B1-CCF0-C709A5A06AE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22.968" v="7751"/>
          <ac:graphicFrameMkLst>
            <pc:docMk/>
            <pc:sldMk cId="708553223" sldId="317"/>
            <ac:graphicFrameMk id="470" creationId="{247CA1AF-3FF3-A2DC-9EBB-346A8093844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6:20.683" v="7561"/>
          <ac:graphicFrameMkLst>
            <pc:docMk/>
            <pc:sldMk cId="708553223" sldId="317"/>
            <ac:graphicFrameMk id="471" creationId="{AF42225D-903E-1F2E-D474-3932D358842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23.795" v="7832"/>
          <ac:graphicFrameMkLst>
            <pc:docMk/>
            <pc:sldMk cId="708553223" sldId="317"/>
            <ac:graphicFrameMk id="473" creationId="{AF815314-96FE-88E7-C40C-52E882C07C1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24.760" v="7943"/>
          <ac:graphicFrameMkLst>
            <pc:docMk/>
            <pc:sldMk cId="708553223" sldId="317"/>
            <ac:graphicFrameMk id="474" creationId="{4FA0AC4A-F265-C51F-651A-D905E479849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25.790" v="8022"/>
          <ac:graphicFrameMkLst>
            <pc:docMk/>
            <pc:sldMk cId="708553223" sldId="317"/>
            <ac:graphicFrameMk id="475" creationId="{F743D247-5162-F69A-C72C-2F79575346A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38.161" v="8214"/>
          <ac:graphicFrameMkLst>
            <pc:docMk/>
            <pc:sldMk cId="708553223" sldId="317"/>
            <ac:graphicFrameMk id="476" creationId="{7A36D79A-A534-479F-5A2E-A2DA5DD1323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8:27.191" v="10106"/>
          <ac:graphicFrameMkLst>
            <pc:docMk/>
            <pc:sldMk cId="708553223" sldId="317"/>
            <ac:graphicFrameMk id="478" creationId="{FECE5646-46AC-2AB4-7CED-D6715D89DCA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41.023" v="8302"/>
          <ac:graphicFrameMkLst>
            <pc:docMk/>
            <pc:sldMk cId="708553223" sldId="317"/>
            <ac:graphicFrameMk id="480" creationId="{F3081062-B43C-BC63-4D6B-B0495B2C62F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43.022" v="8390"/>
          <ac:graphicFrameMkLst>
            <pc:docMk/>
            <pc:sldMk cId="708553223" sldId="317"/>
            <ac:graphicFrameMk id="482" creationId="{E0787F93-B30D-C60F-1E03-6A210D2A6B6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46.709" v="8478"/>
          <ac:graphicFrameMkLst>
            <pc:docMk/>
            <pc:sldMk cId="708553223" sldId="317"/>
            <ac:graphicFrameMk id="484" creationId="{D97DE608-EA06-4B19-F87A-B94583000F3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54.330" v="8566"/>
          <ac:graphicFrameMkLst>
            <pc:docMk/>
            <pc:sldMk cId="708553223" sldId="317"/>
            <ac:graphicFrameMk id="486" creationId="{FB12AF62-3F5B-8DC4-EDDC-8A63229AF2D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6:57.240" v="8654"/>
          <ac:graphicFrameMkLst>
            <pc:docMk/>
            <pc:sldMk cId="708553223" sldId="317"/>
            <ac:graphicFrameMk id="488" creationId="{E011D5EF-63D3-E33A-25AF-D55D2803DDE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8:35.972" v="10326"/>
          <ac:graphicFrameMkLst>
            <pc:docMk/>
            <pc:sldMk cId="708553223" sldId="317"/>
            <ac:graphicFrameMk id="490" creationId="{B1CE6871-04B2-33BB-8191-231A55A5B290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7:40.419" v="9012"/>
          <ac:graphicFrameMkLst>
            <pc:docMk/>
            <pc:sldMk cId="708553223" sldId="317"/>
            <ac:graphicFrameMk id="496" creationId="{98A2F9FA-8D77-B9D7-FBA4-85D33B8307B4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7:52.145" v="9516"/>
          <ac:graphicFrameMkLst>
            <pc:docMk/>
            <pc:sldMk cId="708553223" sldId="317"/>
            <ac:graphicFrameMk id="500" creationId="{CF57669B-F84C-9B29-4CB0-12C6784B2FA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8:23.722" v="10032"/>
          <ac:graphicFrameMkLst>
            <pc:docMk/>
            <pc:sldMk cId="708553223" sldId="317"/>
            <ac:graphicFrameMk id="506" creationId="{E0E98A72-6A81-00B8-1804-3C72D51CE4E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38:22.892" v="18068"/>
          <ac:graphicFrameMkLst>
            <pc:docMk/>
            <pc:sldMk cId="708553223" sldId="317"/>
            <ac:graphicFrameMk id="508" creationId="{8618B3A2-A71B-9EA3-E783-F94B132EC99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8:37.479" v="10414"/>
          <ac:graphicFrameMkLst>
            <pc:docMk/>
            <pc:sldMk cId="708553223" sldId="317"/>
            <ac:graphicFrameMk id="511" creationId="{F02FE1CF-54DC-EEFB-DD60-215926D3CF2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18:45.474" v="10465"/>
          <ac:graphicFrameMkLst>
            <pc:docMk/>
            <pc:sldMk cId="708553223" sldId="317"/>
            <ac:graphicFrameMk id="513" creationId="{C19CB3C2-2DC9-9C81-B272-AAE6C6A470D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1:44.092" v="13520"/>
          <ac:graphicFrameMkLst>
            <pc:docMk/>
            <pc:sldMk cId="708553223" sldId="317"/>
            <ac:graphicFrameMk id="514" creationId="{6432A9F0-197F-7CAA-5F10-BAAF8815D2A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8:50.965" v="10725"/>
          <ac:graphicFrameMkLst>
            <pc:docMk/>
            <pc:sldMk cId="708553223" sldId="317"/>
            <ac:graphicFrameMk id="517" creationId="{2E3DE0C5-1D92-D4E2-7316-6F56C64F410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8:57.984" v="11395"/>
          <ac:graphicFrameMkLst>
            <pc:docMk/>
            <pc:sldMk cId="708553223" sldId="317"/>
            <ac:graphicFrameMk id="528" creationId="{92E6440C-D269-4173-3B97-6BFA4E9DE1FF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9:10.393" v="11727"/>
          <ac:graphicFrameMkLst>
            <pc:docMk/>
            <pc:sldMk cId="708553223" sldId="317"/>
            <ac:graphicFrameMk id="531" creationId="{89747B7C-CA35-5737-536B-4E6C2C35C25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9:19.864" v="12247"/>
          <ac:graphicFrameMkLst>
            <pc:docMk/>
            <pc:sldMk cId="708553223" sldId="317"/>
            <ac:graphicFrameMk id="537" creationId="{CA38712E-C641-07CC-C63D-AE4E2DD3742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8:58:37.462" v="54387"/>
          <ac:graphicFrameMkLst>
            <pc:docMk/>
            <pc:sldMk cId="708553223" sldId="317"/>
            <ac:graphicFrameMk id="540" creationId="{AD9B3A26-4F0D-1EDF-5174-1E77A4EAE66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19:31.861" v="12703"/>
          <ac:graphicFrameMkLst>
            <pc:docMk/>
            <pc:sldMk cId="708553223" sldId="317"/>
            <ac:graphicFrameMk id="542" creationId="{F6EAC3C8-C8B1-FB20-C777-B85885AFCA6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8:50.527" v="54588"/>
          <ac:graphicFrameMkLst>
            <pc:docMk/>
            <pc:sldMk cId="708553223" sldId="317"/>
            <ac:graphicFrameMk id="543" creationId="{1AD297C3-3E06-5EEE-911E-D3F231778EF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8:57.232" v="54649"/>
          <ac:graphicFrameMkLst>
            <pc:docMk/>
            <pc:sldMk cId="708553223" sldId="317"/>
            <ac:graphicFrameMk id="544" creationId="{312B3F26-9409-537D-AEC5-DA9B0EB9FB5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01.515" v="54710"/>
          <ac:graphicFrameMkLst>
            <pc:docMk/>
            <pc:sldMk cId="708553223" sldId="317"/>
            <ac:graphicFrameMk id="545" creationId="{12260AFD-53B3-2171-2025-DC2B4478467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08.286" v="54771"/>
          <ac:graphicFrameMkLst>
            <pc:docMk/>
            <pc:sldMk cId="708553223" sldId="317"/>
            <ac:graphicFrameMk id="546" creationId="{49D3B961-5C71-F906-C6F4-FEC0BCB3E4C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08.893" v="54830"/>
          <ac:graphicFrameMkLst>
            <pc:docMk/>
            <pc:sldMk cId="708553223" sldId="317"/>
            <ac:graphicFrameMk id="547" creationId="{E784E029-0D3D-578A-260E-36ADC19F5DC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11.015" v="54969"/>
          <ac:graphicFrameMkLst>
            <pc:docMk/>
            <pc:sldMk cId="708553223" sldId="317"/>
            <ac:graphicFrameMk id="548" creationId="{7EB92413-835A-290E-BDF5-D03C3EEA515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14.786" v="55034"/>
          <ac:graphicFrameMkLst>
            <pc:docMk/>
            <pc:sldMk cId="708553223" sldId="317"/>
            <ac:graphicFrameMk id="551" creationId="{46DC0532-6B52-0479-2691-E2ACE9C1FF5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15.444" v="55096"/>
          <ac:graphicFrameMkLst>
            <pc:docMk/>
            <pc:sldMk cId="708553223" sldId="317"/>
            <ac:graphicFrameMk id="552" creationId="{B113E945-B67D-D519-97DD-99B9F0E8E81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19.014" v="55235"/>
          <ac:graphicFrameMkLst>
            <pc:docMk/>
            <pc:sldMk cId="708553223" sldId="317"/>
            <ac:graphicFrameMk id="553" creationId="{68866AEE-59BF-C375-DB69-2A46C96F644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27.379" v="55300"/>
          <ac:graphicFrameMkLst>
            <pc:docMk/>
            <pc:sldMk cId="708553223" sldId="317"/>
            <ac:graphicFrameMk id="556" creationId="{6FAB4817-0057-E45F-3C53-5FFC63346C1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28.172" v="55362"/>
          <ac:graphicFrameMkLst>
            <pc:docMk/>
            <pc:sldMk cId="708553223" sldId="317"/>
            <ac:graphicFrameMk id="557" creationId="{6ED37E11-2386-7854-8899-F60EC8950D9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30.578" v="55501"/>
          <ac:graphicFrameMkLst>
            <pc:docMk/>
            <pc:sldMk cId="708553223" sldId="317"/>
            <ac:graphicFrameMk id="558" creationId="{CB98B3AA-3A7B-7A94-2655-EBC0B6B9B9B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35.123" v="55566"/>
          <ac:graphicFrameMkLst>
            <pc:docMk/>
            <pc:sldMk cId="708553223" sldId="317"/>
            <ac:graphicFrameMk id="561" creationId="{C0CF7DA5-91ED-E0CB-34EB-58B8D376FD5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09:35.972" v="55628"/>
          <ac:graphicFrameMkLst>
            <pc:docMk/>
            <pc:sldMk cId="708553223" sldId="317"/>
            <ac:graphicFrameMk id="563" creationId="{E6C044DD-8FDA-4DE8-3379-C010969D117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18:43.332" v="55768"/>
          <ac:graphicFrameMkLst>
            <pc:docMk/>
            <pc:sldMk cId="708553223" sldId="317"/>
            <ac:graphicFrameMk id="564" creationId="{98A36CC5-FBDC-1815-5F72-1A25C93BB33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1:53.392" v="13585"/>
          <ac:graphicFrameMkLst>
            <pc:docMk/>
            <pc:sldMk cId="708553223" sldId="317"/>
            <ac:graphicFrameMk id="565" creationId="{2CD5782E-879C-05CE-11E7-9F888FFF06E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03.917" v="13661"/>
          <ac:graphicFrameMkLst>
            <pc:docMk/>
            <pc:sldMk cId="708553223" sldId="317"/>
            <ac:graphicFrameMk id="567" creationId="{148BD863-1047-F47A-D35F-491B47CD8C6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18:44.735" v="55832"/>
          <ac:graphicFrameMkLst>
            <pc:docMk/>
            <pc:sldMk cId="708553223" sldId="317"/>
            <ac:graphicFrameMk id="567" creationId="{52100738-8085-47CF-51A9-956BB169AA4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1:15.193" v="79028"/>
          <ac:graphicFrameMkLst>
            <pc:docMk/>
            <pc:sldMk cId="708553223" sldId="317"/>
            <ac:graphicFrameMk id="568" creationId="{E386E719-32FC-5BAE-469B-7E87BA5982B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12.401" v="13824"/>
          <ac:graphicFrameMkLst>
            <pc:docMk/>
            <pc:sldMk cId="708553223" sldId="317"/>
            <ac:graphicFrameMk id="569" creationId="{C04E3366-D2BF-75D7-A0FE-A52A8096DBB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13.285" v="13989"/>
          <ac:graphicFrameMkLst>
            <pc:docMk/>
            <pc:sldMk cId="708553223" sldId="317"/>
            <ac:graphicFrameMk id="572" creationId="{A90B8F67-54DD-68EB-C098-B47A1853718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14.288" v="14127"/>
          <ac:graphicFrameMkLst>
            <pc:docMk/>
            <pc:sldMk cId="708553223" sldId="317"/>
            <ac:graphicFrameMk id="575" creationId="{8BB4AFF0-A971-D3FB-4E90-0077322A78D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15.239" v="14269"/>
          <ac:graphicFrameMkLst>
            <pc:docMk/>
            <pc:sldMk cId="708553223" sldId="317"/>
            <ac:graphicFrameMk id="578" creationId="{64966944-DAF3-9D02-9591-FD47CD8EC64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16.401" v="14415"/>
          <ac:graphicFrameMkLst>
            <pc:docMk/>
            <pc:sldMk cId="708553223" sldId="317"/>
            <ac:graphicFrameMk id="581" creationId="{D9DADB47-FA6F-53A8-35A2-5B3B8F30E86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37.065" v="14551"/>
          <ac:graphicFrameMkLst>
            <pc:docMk/>
            <pc:sldMk cId="708553223" sldId="317"/>
            <ac:graphicFrameMk id="584" creationId="{7EC5E02D-CA64-E42F-5AC3-9FE229344C7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37.631" v="14698"/>
          <ac:graphicFrameMkLst>
            <pc:docMk/>
            <pc:sldMk cId="708553223" sldId="317"/>
            <ac:graphicFrameMk id="586" creationId="{0D0C6164-3380-6454-2608-94B802407FC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2:38.481" v="14763"/>
          <ac:graphicFrameMkLst>
            <pc:docMk/>
            <pc:sldMk cId="708553223" sldId="317"/>
            <ac:graphicFrameMk id="588" creationId="{3DEF5D11-8663-37FF-360B-E85E795D8B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4:04.763" v="15210"/>
          <ac:graphicFrameMkLst>
            <pc:docMk/>
            <pc:sldMk cId="708553223" sldId="317"/>
            <ac:graphicFrameMk id="590" creationId="{61A6263D-43DA-F811-058B-FEBE3AA80C2B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23:23.207" v="15035"/>
          <ac:graphicFrameMkLst>
            <pc:docMk/>
            <pc:sldMk cId="708553223" sldId="317"/>
            <ac:graphicFrameMk id="593" creationId="{BC83E759-ADE0-DD55-6E03-4DC40EEFA10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6:32.081" v="15309"/>
          <ac:graphicFrameMkLst>
            <pc:docMk/>
            <pc:sldMk cId="708553223" sldId="317"/>
            <ac:graphicFrameMk id="595" creationId="{378A8B7F-4246-3973-5F14-949D0F7F466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6:38.935" v="15411"/>
          <ac:graphicFrameMkLst>
            <pc:docMk/>
            <pc:sldMk cId="708553223" sldId="317"/>
            <ac:graphicFrameMk id="597" creationId="{5AC206B4-A258-328B-B466-608239F89A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6:43.335" v="15507"/>
          <ac:graphicFrameMkLst>
            <pc:docMk/>
            <pc:sldMk cId="708553223" sldId="317"/>
            <ac:graphicFrameMk id="599" creationId="{ACFB11E7-81A5-98B5-1DC7-3B769B11798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6:53.549" v="15558"/>
          <ac:graphicFrameMkLst>
            <pc:docMk/>
            <pc:sldMk cId="708553223" sldId="317"/>
            <ac:graphicFrameMk id="601" creationId="{B23E50ED-2372-5CDD-8760-23E8DF926B7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7:05.378" v="15978"/>
          <ac:graphicFrameMkLst>
            <pc:docMk/>
            <pc:sldMk cId="708553223" sldId="317"/>
            <ac:graphicFrameMk id="602" creationId="{EF0A5FB6-17EB-07A8-A971-A125EAD6717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27:02.034" v="15835"/>
          <ac:graphicFrameMkLst>
            <pc:docMk/>
            <pc:sldMk cId="708553223" sldId="317"/>
            <ac:graphicFrameMk id="605" creationId="{41E97698-D1C0-7D01-52E7-67A712C88AB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7:35.667" v="16368"/>
          <ac:graphicFrameMkLst>
            <pc:docMk/>
            <pc:sldMk cId="708553223" sldId="317"/>
            <ac:graphicFrameMk id="607" creationId="{21F7246E-246F-1DCD-38DD-DF52298FA69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8:16.025" v="17265"/>
          <ac:graphicFrameMkLst>
            <pc:docMk/>
            <pc:sldMk cId="708553223" sldId="317"/>
            <ac:graphicFrameMk id="621" creationId="{59251FF6-0763-1F4C-418F-D8787EBC66A4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1:28:11.785" v="17105"/>
          <ac:graphicFrameMkLst>
            <pc:docMk/>
            <pc:sldMk cId="708553223" sldId="317"/>
            <ac:graphicFrameMk id="631" creationId="{53CEE346-54A5-918B-7AA9-0D67D87A3341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1:28:10.916" v="17005"/>
          <ac:graphicFrameMkLst>
            <pc:docMk/>
            <pc:sldMk cId="708553223" sldId="317"/>
            <ac:graphicFrameMk id="632" creationId="{5FB59450-28B3-35DE-D74C-5B3B87C3C90A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1:28:09.557" v="16974"/>
          <ac:graphicFrameMkLst>
            <pc:docMk/>
            <pc:sldMk cId="708553223" sldId="317"/>
            <ac:graphicFrameMk id="633" creationId="{6673B55A-4EFF-9912-EFEA-91472B15F8F4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28:08.812" v="16949"/>
          <ac:graphicFrameMkLst>
            <pc:docMk/>
            <pc:sldMk cId="708553223" sldId="317"/>
            <ac:graphicFrameMk id="634" creationId="{F2754C89-24F2-E67A-4F14-974C42BC474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8:26.065" v="17389"/>
          <ac:graphicFrameMkLst>
            <pc:docMk/>
            <pc:sldMk cId="708553223" sldId="317"/>
            <ac:graphicFrameMk id="636" creationId="{ACDF4B78-D6D6-B8DD-1137-10CC24A4E34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8:27.846" v="17506"/>
          <ac:graphicFrameMkLst>
            <pc:docMk/>
            <pc:sldMk cId="708553223" sldId="317"/>
            <ac:graphicFrameMk id="637" creationId="{2B19185D-35C2-3DE9-84EE-D784DFE22C6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28:28.741" v="17623"/>
          <ac:graphicFrameMkLst>
            <pc:docMk/>
            <pc:sldMk cId="708553223" sldId="317"/>
            <ac:graphicFrameMk id="638" creationId="{053D8179-79F4-9A6E-9679-A42F2A44D5B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5:01.498" v="19032"/>
          <ac:graphicFrameMkLst>
            <pc:docMk/>
            <pc:sldMk cId="708553223" sldId="317"/>
            <ac:graphicFrameMk id="639" creationId="{32FF62EA-079C-9AB8-F3C4-EFAEF0BBBB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6:43.129" v="19678"/>
          <ac:graphicFrameMkLst>
            <pc:docMk/>
            <pc:sldMk cId="708553223" sldId="317"/>
            <ac:graphicFrameMk id="641" creationId="{E814FBAE-DFE3-0877-BC6D-5A28B0C69709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44:55.408" v="18770"/>
          <ac:graphicFrameMkLst>
            <pc:docMk/>
            <pc:sldMk cId="708553223" sldId="317"/>
            <ac:graphicFrameMk id="652" creationId="{0A9144AA-3829-3660-7415-4BC63FC45F5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5:25.349" v="19092"/>
          <ac:graphicFrameMkLst>
            <pc:docMk/>
            <pc:sldMk cId="708553223" sldId="317"/>
            <ac:graphicFrameMk id="658" creationId="{301E909A-0658-A6DC-A9E3-9D0C6018825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5:43.173" v="19150"/>
          <ac:graphicFrameMkLst>
            <pc:docMk/>
            <pc:sldMk cId="708553223" sldId="317"/>
            <ac:graphicFrameMk id="659" creationId="{17C4FAAC-A70E-89D4-AC7D-E206F4A043B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5:59.241" v="19283"/>
          <ac:graphicFrameMkLst>
            <pc:docMk/>
            <pc:sldMk cId="708553223" sldId="317"/>
            <ac:graphicFrameMk id="660" creationId="{DE3E9466-9AEF-8D65-BB0B-035676FB2E5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6:05.685" v="19442"/>
          <ac:graphicFrameMkLst>
            <pc:docMk/>
            <pc:sldMk cId="708553223" sldId="317"/>
            <ac:graphicFrameMk id="662" creationId="{5168D657-6A78-1D0C-EC71-C510A7EF992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6:33.407" v="19545"/>
          <ac:graphicFrameMkLst>
            <pc:docMk/>
            <pc:sldMk cId="708553223" sldId="317"/>
            <ac:graphicFrameMk id="664" creationId="{6944679C-4B39-50AB-11C7-EF709B6C9F5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7:22.246" v="20428"/>
          <ac:graphicFrameMkLst>
            <pc:docMk/>
            <pc:sldMk cId="708553223" sldId="317"/>
            <ac:graphicFrameMk id="666" creationId="{93457E98-8FD8-7285-ED0E-0197FBE6551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6:48.413" v="19759"/>
          <ac:graphicFrameMkLst>
            <pc:docMk/>
            <pc:sldMk cId="708553223" sldId="317"/>
            <ac:graphicFrameMk id="668" creationId="{A72CCF56-35C1-3DAA-4E4D-394904B0214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49.769" v="22127"/>
          <ac:graphicFrameMkLst>
            <pc:docMk/>
            <pc:sldMk cId="708553223" sldId="317"/>
            <ac:graphicFrameMk id="669" creationId="{D994D603-2CF1-AB36-C111-0EDE6D07A34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47:14.354" v="20139"/>
          <ac:graphicFrameMkLst>
            <pc:docMk/>
            <pc:sldMk cId="708553223" sldId="317"/>
            <ac:graphicFrameMk id="675" creationId="{68CC5009-FDCE-FA5F-4FE6-3B5C3529601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7:28.967" v="20517"/>
          <ac:graphicFrameMkLst>
            <pc:docMk/>
            <pc:sldMk cId="708553223" sldId="317"/>
            <ac:graphicFrameMk id="681" creationId="{86D70721-C5CE-D09F-E5BF-51CD165B615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7:53.609" v="20857"/>
          <ac:graphicFrameMkLst>
            <pc:docMk/>
            <pc:sldMk cId="708553223" sldId="317"/>
            <ac:graphicFrameMk id="682" creationId="{AD0C0CBE-2CBC-2012-1399-8E79E3ABC48C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47:47.232" v="20664"/>
          <ac:graphicFrameMkLst>
            <pc:docMk/>
            <pc:sldMk cId="708553223" sldId="317"/>
            <ac:graphicFrameMk id="683" creationId="{930EFF91-EB62-5A5B-82A2-3D5906CA07E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7:58.116" v="20933"/>
          <ac:graphicFrameMkLst>
            <pc:docMk/>
            <pc:sldMk cId="708553223" sldId="317"/>
            <ac:graphicFrameMk id="685" creationId="{D109673B-E63B-32F7-8934-37E77DDB022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8:08.775" v="21036"/>
          <ac:graphicFrameMkLst>
            <pc:docMk/>
            <pc:sldMk cId="708553223" sldId="317"/>
            <ac:graphicFrameMk id="686" creationId="{33956959-CF6C-C3C5-8025-EDB1F4F3E8F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06.861" v="21096"/>
          <ac:graphicFrameMkLst>
            <pc:docMk/>
            <pc:sldMk cId="708553223" sldId="317"/>
            <ac:graphicFrameMk id="688" creationId="{71BAB2A2-A3C6-C667-3EDC-31C45EAE3DE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14.116" v="21234"/>
          <ac:graphicFrameMkLst>
            <pc:docMk/>
            <pc:sldMk cId="708553223" sldId="317"/>
            <ac:graphicFrameMk id="689" creationId="{0852BD67-2BA7-F94E-0FB8-C51AF77335F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17.465" v="21297"/>
          <ac:graphicFrameMkLst>
            <pc:docMk/>
            <pc:sldMk cId="708553223" sldId="317"/>
            <ac:graphicFrameMk id="692" creationId="{F213295C-4FDD-F113-013D-15F7A7710FC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41.583" v="21681"/>
          <ac:graphicFrameMkLst>
            <pc:docMk/>
            <pc:sldMk cId="708553223" sldId="317"/>
            <ac:graphicFrameMk id="693" creationId="{CA9A8C41-DBDE-3B5B-0A04-3145DB16279B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49:26.957" v="21422"/>
          <ac:graphicFrameMkLst>
            <pc:docMk/>
            <pc:sldMk cId="708553223" sldId="317"/>
            <ac:graphicFrameMk id="694" creationId="{6F8CE457-8822-74E6-939E-A7344801A91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43.283" v="21791"/>
          <ac:graphicFrameMkLst>
            <pc:docMk/>
            <pc:sldMk cId="708553223" sldId="317"/>
            <ac:graphicFrameMk id="697" creationId="{A642B4B7-5A3A-C225-B695-966B3106897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44.356" v="21899"/>
          <ac:graphicFrameMkLst>
            <pc:docMk/>
            <pc:sldMk cId="708553223" sldId="317"/>
            <ac:graphicFrameMk id="698" creationId="{3EBDBB2E-F5CC-72C9-AF5E-6EDF0F1AEDE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45.622" v="22007"/>
          <ac:graphicFrameMkLst>
            <pc:docMk/>
            <pc:sldMk cId="708553223" sldId="317"/>
            <ac:graphicFrameMk id="699" creationId="{498AE0E1-B596-CCDA-7351-96C081006B8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52.501" v="22237"/>
          <ac:graphicFrameMkLst>
            <pc:docMk/>
            <pc:sldMk cId="708553223" sldId="317"/>
            <ac:graphicFrameMk id="700" creationId="{7AD13E79-C008-096C-7B6D-F9F29565E2F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9:24.134" v="31234"/>
          <ac:graphicFrameMkLst>
            <pc:docMk/>
            <pc:sldMk cId="708553223" sldId="317"/>
            <ac:graphicFrameMk id="702" creationId="{F821220B-7880-6812-250D-ADF4B313CE0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53.612" v="22345"/>
          <ac:graphicFrameMkLst>
            <pc:docMk/>
            <pc:sldMk cId="708553223" sldId="317"/>
            <ac:graphicFrameMk id="703" creationId="{806FC34C-2240-EDEF-4115-85A9A229566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49:59.701" v="22537"/>
          <ac:graphicFrameMkLst>
            <pc:docMk/>
            <pc:sldMk cId="708553223" sldId="317"/>
            <ac:graphicFrameMk id="704" creationId="{5A1D063E-B737-4CF9-4194-94281B28F6A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0:02.952" v="22613"/>
          <ac:graphicFrameMkLst>
            <pc:docMk/>
            <pc:sldMk cId="708553223" sldId="317"/>
            <ac:graphicFrameMk id="710" creationId="{59A92A50-6060-693B-C7DD-2D92C949798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19:14.809" v="56713"/>
          <ac:graphicFrameMkLst>
            <pc:docMk/>
            <pc:sldMk cId="708553223" sldId="317"/>
            <ac:graphicFrameMk id="710" creationId="{6C7CE735-4B7E-5D2B-4A9C-F0667BFB14D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0:08.742" v="22716"/>
          <ac:graphicFrameMkLst>
            <pc:docMk/>
            <pc:sldMk cId="708553223" sldId="317"/>
            <ac:graphicFrameMk id="711" creationId="{B65F1F1E-E2BE-B348-5274-C6A0B926F78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19:19.767" v="57231"/>
          <ac:graphicFrameMkLst>
            <pc:docMk/>
            <pc:sldMk cId="708553223" sldId="317"/>
            <ac:graphicFrameMk id="712" creationId="{3EBB661D-1A6B-5E7E-C6D0-698C03AD595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0:39.814" v="22856"/>
          <ac:graphicFrameMkLst>
            <pc:docMk/>
            <pc:sldMk cId="708553223" sldId="317"/>
            <ac:graphicFrameMk id="713" creationId="{653FDDC7-89DD-107E-B308-7EC86945D5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0:43.340" v="22999"/>
          <ac:graphicFrameMkLst>
            <pc:docMk/>
            <pc:sldMk cId="708553223" sldId="317"/>
            <ac:graphicFrameMk id="716" creationId="{06B228F0-1929-84DD-5F2C-B8282B6C0A6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0:44.022" v="23062"/>
          <ac:graphicFrameMkLst>
            <pc:docMk/>
            <pc:sldMk cId="708553223" sldId="317"/>
            <ac:graphicFrameMk id="719" creationId="{38C1C07A-8EF7-02DC-34BA-A7AEAEF3314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3:38.305" v="23209"/>
          <ac:graphicFrameMkLst>
            <pc:docMk/>
            <pc:sldMk cId="708553223" sldId="317"/>
            <ac:graphicFrameMk id="720" creationId="{F9F2427A-9C44-B65B-1255-32F6D66CE10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25:30.282" v="57425"/>
          <ac:graphicFrameMkLst>
            <pc:docMk/>
            <pc:sldMk cId="708553223" sldId="317"/>
            <ac:graphicFrameMk id="721" creationId="{0BCEC644-D297-1872-E004-514ED70A4C1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3:48.548" v="24103"/>
          <ac:graphicFrameMkLst>
            <pc:docMk/>
            <pc:sldMk cId="708553223" sldId="317"/>
            <ac:graphicFrameMk id="722" creationId="{925787BD-0A0D-F9F4-D973-32C1575E556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26:23.575" v="57627"/>
          <ac:graphicFrameMkLst>
            <pc:docMk/>
            <pc:sldMk cId="708553223" sldId="317"/>
            <ac:graphicFrameMk id="723" creationId="{C5DEACA9-49E6-0983-74A3-05E6C18D902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7:57.216" v="57753"/>
          <ac:graphicFrameMkLst>
            <pc:docMk/>
            <pc:sldMk cId="708553223" sldId="317"/>
            <ac:graphicFrameMk id="725" creationId="{2EEDBEA7-8A30-91AE-C421-15D9158FBD4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7:58.112" v="57868"/>
          <ac:graphicFrameMkLst>
            <pc:docMk/>
            <pc:sldMk cId="708553223" sldId="317"/>
            <ac:graphicFrameMk id="727" creationId="{25F16C65-B53F-908C-0F4C-EABF4B9BA8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00.477" v="57983"/>
          <ac:graphicFrameMkLst>
            <pc:docMk/>
            <pc:sldMk cId="708553223" sldId="317"/>
            <ac:graphicFrameMk id="729" creationId="{693B22A7-25A7-DF60-6825-F4EF3CC0DA8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01.565" v="58098"/>
          <ac:graphicFrameMkLst>
            <pc:docMk/>
            <pc:sldMk cId="708553223" sldId="317"/>
            <ac:graphicFrameMk id="731" creationId="{549DB226-1485-5E9F-32B0-26512AA7A44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03.501" v="58213"/>
          <ac:graphicFrameMkLst>
            <pc:docMk/>
            <pc:sldMk cId="708553223" sldId="317"/>
            <ac:graphicFrameMk id="733" creationId="{454369C2-0372-2A18-3F52-0EA20FEAF3C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06.644" v="58422"/>
          <ac:graphicFrameMkLst>
            <pc:docMk/>
            <pc:sldMk cId="708553223" sldId="317"/>
            <ac:graphicFrameMk id="735" creationId="{B924E2CA-2A2A-F33E-3F2E-C6B9D3D3FBB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3:49.330" v="24239"/>
          <ac:graphicFrameMkLst>
            <pc:docMk/>
            <pc:sldMk cId="708553223" sldId="317"/>
            <ac:graphicFrameMk id="737" creationId="{6ABF4538-1648-39A3-4C94-211FF37A0F9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3:59.857" v="25133"/>
          <ac:graphicFrameMkLst>
            <pc:docMk/>
            <pc:sldMk cId="708553223" sldId="317"/>
            <ac:graphicFrameMk id="739" creationId="{76EEBE79-C7C4-B22D-0811-57A1B41B645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17.561" v="58575"/>
          <ac:graphicFrameMkLst>
            <pc:docMk/>
            <pc:sldMk cId="708553223" sldId="317"/>
            <ac:graphicFrameMk id="739" creationId="{D05D4306-C8D9-47BB-5A4B-DA03C251272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25.990" v="58734"/>
          <ac:graphicFrameMkLst>
            <pc:docMk/>
            <pc:sldMk cId="708553223" sldId="317"/>
            <ac:graphicFrameMk id="742" creationId="{E46ACE7E-81A1-3D10-492F-E839AC1C63C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28.618" v="58893"/>
          <ac:graphicFrameMkLst>
            <pc:docMk/>
            <pc:sldMk cId="708553223" sldId="317"/>
            <ac:graphicFrameMk id="744" creationId="{E05445B9-0E73-5B2C-2829-C9033843B06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37.756" v="59055"/>
          <ac:graphicFrameMkLst>
            <pc:docMk/>
            <pc:sldMk cId="708553223" sldId="317"/>
            <ac:graphicFrameMk id="746" creationId="{974CA702-B5B5-C064-DD42-A75B35DC959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42.158" v="59218"/>
          <ac:graphicFrameMkLst>
            <pc:docMk/>
            <pc:sldMk cId="708553223" sldId="317"/>
            <ac:graphicFrameMk id="748" creationId="{F60C8290-40D9-A5DB-8DDA-CA85F4EAF55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8:50.186" v="59377"/>
          <ac:graphicFrameMkLst>
            <pc:docMk/>
            <pc:sldMk cId="708553223" sldId="317"/>
            <ac:graphicFrameMk id="750" creationId="{A526C634-F242-577D-FC3B-15D3EFC2F3F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9:49.844" v="59610"/>
          <ac:graphicFrameMkLst>
            <pc:docMk/>
            <pc:sldMk cId="708553223" sldId="317"/>
            <ac:graphicFrameMk id="752" creationId="{3D91AA50-84A2-F93C-62F7-3DB0C73AE50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4:00.557" v="25269"/>
          <ac:graphicFrameMkLst>
            <pc:docMk/>
            <pc:sldMk cId="708553223" sldId="317"/>
            <ac:graphicFrameMk id="754" creationId="{0F42B80F-696B-8E10-9998-AC72A4AE18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39:53.114" v="59822"/>
          <ac:graphicFrameMkLst>
            <pc:docMk/>
            <pc:sldMk cId="708553223" sldId="317"/>
            <ac:graphicFrameMk id="755" creationId="{0898AAA6-806E-3057-40C0-101D1686AE8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4:43.945" v="26163"/>
          <ac:graphicFrameMkLst>
            <pc:docMk/>
            <pc:sldMk cId="708553223" sldId="317"/>
            <ac:graphicFrameMk id="756" creationId="{287BE688-935F-00D3-F516-968D6671E7F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0:01.305" v="60026"/>
          <ac:graphicFrameMkLst>
            <pc:docMk/>
            <pc:sldMk cId="708553223" sldId="317"/>
            <ac:graphicFrameMk id="757" creationId="{5D908119-17CA-B138-ED97-2F53F1FAA36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0:31.427" v="60265"/>
          <ac:graphicFrameMkLst>
            <pc:docMk/>
            <pc:sldMk cId="708553223" sldId="317"/>
            <ac:graphicFrameMk id="759" creationId="{FE89997D-2868-1575-D122-92D4E1EB086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0:45.404" v="60470"/>
          <ac:graphicFrameMkLst>
            <pc:docMk/>
            <pc:sldMk cId="708553223" sldId="317"/>
            <ac:graphicFrameMk id="762" creationId="{3623D51B-101F-2C4A-2B35-E49C9E2D02B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0:48.138" v="60662"/>
          <ac:graphicFrameMkLst>
            <pc:docMk/>
            <pc:sldMk cId="708553223" sldId="317"/>
            <ac:graphicFrameMk id="764" creationId="{79B8C3C1-A017-F693-8B3E-EC93A2294DB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0:49.475" v="60854"/>
          <ac:graphicFrameMkLst>
            <pc:docMk/>
            <pc:sldMk cId="708553223" sldId="317"/>
            <ac:graphicFrameMk id="766" creationId="{11B6E26A-2951-B25A-07BA-57826C744F2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4:51.118" v="61078"/>
          <ac:graphicFrameMkLst>
            <pc:docMk/>
            <pc:sldMk cId="708553223" sldId="317"/>
            <ac:graphicFrameMk id="768" creationId="{595A4816-E13B-0F17-F2D3-9E91AF03304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6:06.042" v="61265"/>
          <ac:graphicFrameMkLst>
            <pc:docMk/>
            <pc:sldMk cId="708553223" sldId="317"/>
            <ac:graphicFrameMk id="770" creationId="{F8A2A83F-8E46-71E4-0275-94F4B3E3B09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4:44.648" v="26299"/>
          <ac:graphicFrameMkLst>
            <pc:docMk/>
            <pc:sldMk cId="708553223" sldId="317"/>
            <ac:graphicFrameMk id="771" creationId="{4FF40926-43DE-966F-1C2E-D6A6B1113E9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6:13.484" v="61468"/>
          <ac:graphicFrameMkLst>
            <pc:docMk/>
            <pc:sldMk cId="708553223" sldId="317"/>
            <ac:graphicFrameMk id="772" creationId="{BBD5AC40-93F7-C9E2-7ACC-F81B6BE41C0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4:49.402" v="27193"/>
          <ac:graphicFrameMkLst>
            <pc:docMk/>
            <pc:sldMk cId="708553223" sldId="317"/>
            <ac:graphicFrameMk id="773" creationId="{4021FEC3-268D-8CB9-AAF1-5868EC4923C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00.255" v="61698"/>
          <ac:graphicFrameMkLst>
            <pc:docMk/>
            <pc:sldMk cId="708553223" sldId="317"/>
            <ac:graphicFrameMk id="774" creationId="{0DBC0028-5FB1-C9F7-8638-62F2D6BA29E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02.089" v="61910"/>
          <ac:graphicFrameMkLst>
            <pc:docMk/>
            <pc:sldMk cId="708553223" sldId="317"/>
            <ac:graphicFrameMk id="777" creationId="{39CF4BD5-F91A-AC79-9103-B7969CE5033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08.731" v="62164"/>
          <ac:graphicFrameMkLst>
            <pc:docMk/>
            <pc:sldMk cId="708553223" sldId="317"/>
            <ac:graphicFrameMk id="779" creationId="{DD158CF2-B0DC-415D-829B-EAAF2CDB07A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22.654" v="62401"/>
          <ac:graphicFrameMkLst>
            <pc:docMk/>
            <pc:sldMk cId="708553223" sldId="317"/>
            <ac:graphicFrameMk id="782" creationId="{CE47595D-36EA-2156-BFDB-CE84835455B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27.584" v="62637"/>
          <ac:graphicFrameMkLst>
            <pc:docMk/>
            <pc:sldMk cId="708553223" sldId="317"/>
            <ac:graphicFrameMk id="785" creationId="{3419BBE3-6B07-BCE8-6066-8AEE987B0E2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4:50.813" v="27329"/>
          <ac:graphicFrameMkLst>
            <pc:docMk/>
            <pc:sldMk cId="708553223" sldId="317"/>
            <ac:graphicFrameMk id="788" creationId="{7C14ECBF-2725-53F4-1E3F-7CEC0E24C6A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49:45.386" v="62870"/>
          <ac:graphicFrameMkLst>
            <pc:docMk/>
            <pc:sldMk cId="708553223" sldId="317"/>
            <ac:graphicFrameMk id="788" creationId="{D14E30BE-3DED-8ABF-84A0-2A22B653AAB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0:28.047" v="64102"/>
          <ac:graphicFrameMkLst>
            <pc:docMk/>
            <pc:sldMk cId="708553223" sldId="317"/>
            <ac:graphicFrameMk id="790" creationId="{9591D903-5A92-E9BF-56B8-CBD9ECA91F0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5:30.625" v="27484"/>
          <ac:graphicFrameMkLst>
            <pc:docMk/>
            <pc:sldMk cId="708553223" sldId="317"/>
            <ac:graphicFrameMk id="790" creationId="{D6B1B1A7-B9EE-6402-0A56-270F55C9181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5:37.521" v="27641"/>
          <ac:graphicFrameMkLst>
            <pc:docMk/>
            <pc:sldMk cId="708553223" sldId="317"/>
            <ac:graphicFrameMk id="792" creationId="{4A0FD4A4-512C-7A16-1DB9-7C154BFA27E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5:42.792" v="27789"/>
          <ac:graphicFrameMkLst>
            <pc:docMk/>
            <pc:sldMk cId="708553223" sldId="317"/>
            <ac:graphicFrameMk id="794" creationId="{4685055F-E036-EF44-FD75-01EFD44ACF5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5:54.088" v="27950"/>
          <ac:graphicFrameMkLst>
            <pc:docMk/>
            <pc:sldMk cId="708553223" sldId="317"/>
            <ac:graphicFrameMk id="796" creationId="{18ADB209-16F1-6884-93AB-9BE529929F0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00.008" v="28062"/>
          <ac:graphicFrameMkLst>
            <pc:docMk/>
            <pc:sldMk cId="708553223" sldId="317"/>
            <ac:graphicFrameMk id="799" creationId="{984EFDEE-6CB6-1150-0981-25321F39FA1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02.046" v="28167"/>
          <ac:graphicFrameMkLst>
            <pc:docMk/>
            <pc:sldMk cId="708553223" sldId="317"/>
            <ac:graphicFrameMk id="801" creationId="{4377DBAE-2FFF-4109-AC00-B6277BD25FF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07.236" v="29002"/>
          <ac:graphicFrameMkLst>
            <pc:docMk/>
            <pc:sldMk cId="708553223" sldId="317"/>
            <ac:graphicFrameMk id="803" creationId="{57B27791-DED5-7175-F609-0469A70E127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10.335" v="29228"/>
          <ac:graphicFrameMkLst>
            <pc:docMk/>
            <pc:sldMk cId="708553223" sldId="317"/>
            <ac:graphicFrameMk id="817" creationId="{1B54D8D3-0786-B2D8-1559-9128B75E89E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25.054" v="29442"/>
          <ac:graphicFrameMkLst>
            <pc:docMk/>
            <pc:sldMk cId="708553223" sldId="317"/>
            <ac:graphicFrameMk id="819" creationId="{13E38AFF-BFD7-F2B7-5474-970A13DB1D7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6:27.222" v="29576"/>
          <ac:graphicFrameMkLst>
            <pc:docMk/>
            <pc:sldMk cId="708553223" sldId="317"/>
            <ac:graphicFrameMk id="821" creationId="{AD044834-30E0-302F-A6B1-E033F9E6FA7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7:50.804" v="31095"/>
          <ac:graphicFrameMkLst>
            <pc:docMk/>
            <pc:sldMk cId="708553223" sldId="317"/>
            <ac:graphicFrameMk id="823" creationId="{B6BFC9EC-D216-214D-A8DF-145EF4DB4158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56:45.615" v="29782"/>
          <ac:graphicFrameMkLst>
            <pc:docMk/>
            <pc:sldMk cId="708553223" sldId="317"/>
            <ac:graphicFrameMk id="825" creationId="{01E70B5E-35AD-C99E-4351-DDE4C20157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0:36.193" v="64569"/>
          <ac:graphicFrameMkLst>
            <pc:docMk/>
            <pc:sldMk cId="708553223" sldId="317"/>
            <ac:graphicFrameMk id="826" creationId="{C90AA938-7158-DE80-A662-64FCD3DDC97A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1:57:05.451" v="30657"/>
          <ac:graphicFrameMkLst>
            <pc:docMk/>
            <pc:sldMk cId="708553223" sldId="317"/>
            <ac:graphicFrameMk id="827" creationId="{23755085-AFDF-095D-F1EC-9AC4DA5DD91E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57:01.904" v="30577"/>
          <ac:graphicFrameMkLst>
            <pc:docMk/>
            <pc:sldMk cId="708553223" sldId="317"/>
            <ac:graphicFrameMk id="828" creationId="{B9F3A8ED-9EA6-2358-18E8-30729402F87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1:56:56.903" v="30553"/>
          <ac:graphicFrameMkLst>
            <pc:docMk/>
            <pc:sldMk cId="708553223" sldId="317"/>
            <ac:graphicFrameMk id="830" creationId="{EB192860-4344-9510-70F5-411FE248AF0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0:40.828" v="65440"/>
          <ac:graphicFrameMkLst>
            <pc:docMk/>
            <pc:sldMk cId="708553223" sldId="317"/>
            <ac:graphicFrameMk id="831" creationId="{269399A8-4759-9CF3-02FE-7AF6D330295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0:23.825" v="31750"/>
          <ac:graphicFrameMkLst>
            <pc:docMk/>
            <pc:sldMk cId="708553223" sldId="317"/>
            <ac:graphicFrameMk id="834" creationId="{CC913BD5-8D92-A628-B74A-094D9250BFD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9:27.325" v="31305"/>
          <ac:graphicFrameMkLst>
            <pc:docMk/>
            <pc:sldMk cId="708553223" sldId="317"/>
            <ac:graphicFrameMk id="837" creationId="{CE38C35D-C9FF-D8AE-8DAE-D9915D90BA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9:53.531" v="31417"/>
          <ac:graphicFrameMkLst>
            <pc:docMk/>
            <pc:sldMk cId="708553223" sldId="317"/>
            <ac:graphicFrameMk id="838" creationId="{A8DB01F7-E417-404C-4D49-47B5D5F08AB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1:59:54.935" v="31486"/>
          <ac:graphicFrameMkLst>
            <pc:docMk/>
            <pc:sldMk cId="708553223" sldId="317"/>
            <ac:graphicFrameMk id="839" creationId="{BE55FDE0-FF60-7BC9-CA6D-2068774C49D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0:02.623" v="31556"/>
          <ac:graphicFrameMkLst>
            <pc:docMk/>
            <pc:sldMk cId="708553223" sldId="317"/>
            <ac:graphicFrameMk id="840" creationId="{6E77B5AC-3F20-5BD3-1EC3-2ABB426863E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0:04.041" v="31625"/>
          <ac:graphicFrameMkLst>
            <pc:docMk/>
            <pc:sldMk cId="708553223" sldId="317"/>
            <ac:graphicFrameMk id="841" creationId="{DBA0EF11-D403-0B86-B6B1-0C94C8B1B7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04.951" v="32044"/>
          <ac:graphicFrameMkLst>
            <pc:docMk/>
            <pc:sldMk cId="708553223" sldId="317"/>
            <ac:graphicFrameMk id="842" creationId="{C60B9230-045D-69A4-7F0A-9B06FD4AABC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00.999" v="31961"/>
          <ac:graphicFrameMkLst>
            <pc:docMk/>
            <pc:sldMk cId="708553223" sldId="317"/>
            <ac:graphicFrameMk id="844" creationId="{A3C3315D-80FA-7DF0-9814-57AB510E885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13.157" v="32329"/>
          <ac:graphicFrameMkLst>
            <pc:docMk/>
            <pc:sldMk cId="708553223" sldId="317"/>
            <ac:graphicFrameMk id="846" creationId="{7A39799F-73FE-4B45-7028-8CB539FF2FA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0:57.073" v="65648"/>
          <ac:graphicFrameMkLst>
            <pc:docMk/>
            <pc:sldMk cId="708553223" sldId="317"/>
            <ac:graphicFrameMk id="846" creationId="{B02A5D71-EB45-60FC-6285-D891AB2E501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08.795" v="32113"/>
          <ac:graphicFrameMkLst>
            <pc:docMk/>
            <pc:sldMk cId="708553223" sldId="317"/>
            <ac:graphicFrameMk id="847" creationId="{774CB301-5A27-AB62-0E73-BA752A86A24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1:18.159" v="66077"/>
          <ac:graphicFrameMkLst>
            <pc:docMk/>
            <pc:sldMk cId="708553223" sldId="317"/>
            <ac:graphicFrameMk id="848" creationId="{561CACD8-5272-FEAF-D6A9-DCCE537C42C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09.930" v="32182"/>
          <ac:graphicFrameMkLst>
            <pc:docMk/>
            <pc:sldMk cId="708553223" sldId="317"/>
            <ac:graphicFrameMk id="848" creationId="{EEA259FC-1D99-438D-0E9F-1AEA909BC3C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18.071" v="32400"/>
          <ac:graphicFrameMkLst>
            <pc:docMk/>
            <pc:sldMk cId="708553223" sldId="317"/>
            <ac:graphicFrameMk id="849" creationId="{93BB9655-9551-C8C8-349F-9FA4676B123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5:31.693" v="34688"/>
          <ac:graphicFrameMkLst>
            <pc:docMk/>
            <pc:sldMk cId="708553223" sldId="317"/>
            <ac:graphicFrameMk id="851" creationId="{DE2BB6F0-B106-304D-F1E3-C98CC4B22B4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19.587" v="32469"/>
          <ac:graphicFrameMkLst>
            <pc:docMk/>
            <pc:sldMk cId="708553223" sldId="317"/>
            <ac:graphicFrameMk id="852" creationId="{01E9A052-C33F-2A06-FEA8-E8CC961AD77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6:27.107" v="67341"/>
          <ac:graphicFrameMkLst>
            <pc:docMk/>
            <pc:sldMk cId="708553223" sldId="317"/>
            <ac:graphicFrameMk id="852" creationId="{95179264-F807-15C3-36C3-BD67BAACBC2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25.850" v="32539"/>
          <ac:graphicFrameMkLst>
            <pc:docMk/>
            <pc:sldMk cId="708553223" sldId="317"/>
            <ac:graphicFrameMk id="853" creationId="{9B44355D-6E19-D27B-B325-EEC0E474195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27.837" v="32608"/>
          <ac:graphicFrameMkLst>
            <pc:docMk/>
            <pc:sldMk cId="708553223" sldId="317"/>
            <ac:graphicFrameMk id="854" creationId="{3DB43D04-AA93-2282-F587-2681DB618E7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29.295" v="32677"/>
          <ac:graphicFrameMkLst>
            <pc:docMk/>
            <pc:sldMk cId="708553223" sldId="317"/>
            <ac:graphicFrameMk id="855" creationId="{64581EEF-3F39-1CAC-8C0B-57A592106DA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30.933" v="32746"/>
          <ac:graphicFrameMkLst>
            <pc:docMk/>
            <pc:sldMk cId="708553223" sldId="317"/>
            <ac:graphicFrameMk id="856" creationId="{9134341C-B323-093E-9FA3-B172F1AE93F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37.969" v="32816"/>
          <ac:graphicFrameMkLst>
            <pc:docMk/>
            <pc:sldMk cId="708553223" sldId="317"/>
            <ac:graphicFrameMk id="857" creationId="{3116343E-49F0-FA0C-683D-6D3B1A05A53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1.211" v="32885"/>
          <ac:graphicFrameMkLst>
            <pc:docMk/>
            <pc:sldMk cId="708553223" sldId="317"/>
            <ac:graphicFrameMk id="858" creationId="{88B200FB-ABCE-9753-66B2-D340D843E4E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1.910" v="32954"/>
          <ac:graphicFrameMkLst>
            <pc:docMk/>
            <pc:sldMk cId="708553223" sldId="317"/>
            <ac:graphicFrameMk id="859" creationId="{E558E2CC-D4BA-3068-404E-033638B6EFA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3.058" v="33023"/>
          <ac:graphicFrameMkLst>
            <pc:docMk/>
            <pc:sldMk cId="708553223" sldId="317"/>
            <ac:graphicFrameMk id="860" creationId="{D208D53A-05A8-0626-617B-A81F46368D2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4.284" v="33092"/>
          <ac:graphicFrameMkLst>
            <pc:docMk/>
            <pc:sldMk cId="708553223" sldId="317"/>
            <ac:graphicFrameMk id="861" creationId="{E5BC6DEA-4CCA-A3FA-0B70-D11358F9C0B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5.463" v="33161"/>
          <ac:graphicFrameMkLst>
            <pc:docMk/>
            <pc:sldMk cId="708553223" sldId="317"/>
            <ac:graphicFrameMk id="862" creationId="{844A2F8F-4293-41C3-CD82-681CD52907F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47.726" v="33231"/>
          <ac:graphicFrameMkLst>
            <pc:docMk/>
            <pc:sldMk cId="708553223" sldId="317"/>
            <ac:graphicFrameMk id="863" creationId="{CFF46473-582C-3EF6-3EC8-B5FA982AD8F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50.777" v="33300"/>
          <ac:graphicFrameMkLst>
            <pc:docMk/>
            <pc:sldMk cId="708553223" sldId="317"/>
            <ac:graphicFrameMk id="864" creationId="{4C5B00A5-8B33-FF58-C47C-053801B9702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53.591" v="33370"/>
          <ac:graphicFrameMkLst>
            <pc:docMk/>
            <pc:sldMk cId="708553223" sldId="317"/>
            <ac:graphicFrameMk id="865" creationId="{96C9F962-D0B2-857F-A44B-E246C9A2E79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56.562" v="33439"/>
          <ac:graphicFrameMkLst>
            <pc:docMk/>
            <pc:sldMk cId="708553223" sldId="317"/>
            <ac:graphicFrameMk id="866" creationId="{09436898-E4A0-ECEF-1C39-7665823E963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58.251" v="33508"/>
          <ac:graphicFrameMkLst>
            <pc:docMk/>
            <pc:sldMk cId="708553223" sldId="317"/>
            <ac:graphicFrameMk id="867" creationId="{AD2F13B8-D3E8-B289-9BA0-04FCF98CC82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1:59.890" v="33577"/>
          <ac:graphicFrameMkLst>
            <pc:docMk/>
            <pc:sldMk cId="708553223" sldId="317"/>
            <ac:graphicFrameMk id="868" creationId="{B638CFD8-64AC-56C8-FC28-047FAAE8AF9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2:15.437" v="33646"/>
          <ac:graphicFrameMkLst>
            <pc:docMk/>
            <pc:sldMk cId="708553223" sldId="317"/>
            <ac:graphicFrameMk id="869" creationId="{9BA0B334-93C7-BE83-F454-70F68C4AF78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4:08:56.957" v="44467"/>
          <ac:graphicFrameMkLst>
            <pc:docMk/>
            <pc:sldMk cId="708553223" sldId="317"/>
            <ac:graphicFrameMk id="870" creationId="{706EC6EE-F8D0-ACB5-49FA-6B35A52F4185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02:02:25.505" v="34146"/>
          <ac:graphicFrameMkLst>
            <pc:docMk/>
            <pc:sldMk cId="708553223" sldId="317"/>
            <ac:graphicFrameMk id="872" creationId="{471C586F-D74B-050E-D376-7C082A5AF22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2:02:22.804" v="34068"/>
          <ac:graphicFrameMkLst>
            <pc:docMk/>
            <pc:sldMk cId="708553223" sldId="317"/>
            <ac:graphicFrameMk id="874" creationId="{05EDC7AB-CA16-0AD3-9759-B31002E0C909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2:04:06.238" v="34387"/>
          <ac:graphicFrameMkLst>
            <pc:docMk/>
            <pc:sldMk cId="708553223" sldId="317"/>
            <ac:graphicFrameMk id="883" creationId="{EC4E9D99-FCE8-7E94-2A58-53CD8968DBA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6:39.062" v="67843"/>
          <ac:graphicFrameMkLst>
            <pc:docMk/>
            <pc:sldMk cId="708553223" sldId="317"/>
            <ac:graphicFrameMk id="888" creationId="{BC51EE37-69AA-DA4F-3F58-42533FF363B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5:32.674" v="34802"/>
          <ac:graphicFrameMkLst>
            <pc:docMk/>
            <pc:sldMk cId="708553223" sldId="317"/>
            <ac:graphicFrameMk id="894" creationId="{5E1F22D6-BD21-9FBE-CB13-EC3C7C6D77A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21.011" v="35262"/>
          <ac:graphicFrameMkLst>
            <pc:docMk/>
            <pc:sldMk cId="708553223" sldId="317"/>
            <ac:graphicFrameMk id="896" creationId="{BC61503D-FE2A-0BFF-EE68-3C843D56C91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53.890" v="149108"/>
          <ac:graphicFrameMkLst>
            <pc:docMk/>
            <pc:sldMk cId="708553223" sldId="317"/>
            <ac:graphicFrameMk id="906" creationId="{FA7BAAE4-DCCD-9C4F-CE6C-C34267A4F69F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7T19:53:50.641" v="162063"/>
          <ac:graphicFrameMkLst>
            <pc:docMk/>
            <pc:sldMk cId="708553223" sldId="317"/>
            <ac:graphicFrameMk id="910" creationId="{C44181A7-00DC-F994-C9E5-BB0502AB0EA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22.598" v="35423"/>
          <ac:graphicFrameMkLst>
            <pc:docMk/>
            <pc:sldMk cId="708553223" sldId="317"/>
            <ac:graphicFrameMk id="915" creationId="{1AB602A1-F667-2159-2543-0D0D322568A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8:42:40.146" v="46330"/>
          <ac:graphicFrameMkLst>
            <pc:docMk/>
            <pc:sldMk cId="708553223" sldId="317"/>
            <ac:graphicFrameMk id="917" creationId="{3BDFF779-15E1-7005-2655-F8CEA89E9EA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56.239" v="149512"/>
          <ac:graphicFrameMkLst>
            <pc:docMk/>
            <pc:sldMk cId="708553223" sldId="317"/>
            <ac:graphicFrameMk id="920" creationId="{A324C1B8-0749-EF5F-48FC-2EE039D2A01A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07:17:14.011" v="170878"/>
          <ac:graphicFrameMkLst>
            <pc:docMk/>
            <pc:sldMk cId="708553223" sldId="317"/>
            <ac:graphicFrameMk id="932" creationId="{48D0F00B-71FA-69B4-13EC-3A70FD7E3AF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57.901" v="149916"/>
          <ac:graphicFrameMkLst>
            <pc:docMk/>
            <pc:sldMk cId="708553223" sldId="317"/>
            <ac:graphicFrameMk id="934" creationId="{33131F0B-1BD5-2897-169F-D51AC16B0623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8:58:13.024" v="50894"/>
          <ac:graphicFrameMkLst>
            <pc:docMk/>
            <pc:sldMk cId="708553223" sldId="317"/>
            <ac:graphicFrameMk id="935" creationId="{2AD32A04-029A-45D7-660F-B8E1298209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59.555" v="150414"/>
          <ac:graphicFrameMkLst>
            <pc:docMk/>
            <pc:sldMk cId="708553223" sldId="317"/>
            <ac:graphicFrameMk id="948" creationId="{9B7F5FE1-2A8C-83E6-9582-C236D036575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7T19:53:04.344" v="159674"/>
          <ac:graphicFrameMkLst>
            <pc:docMk/>
            <pc:sldMk cId="708553223" sldId="317"/>
            <ac:graphicFrameMk id="965" creationId="{D6D2F21B-D6D0-F649-AD32-8BC677C84FC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9:37.042" v="74877"/>
          <ac:graphicFrameMkLst>
            <pc:docMk/>
            <pc:sldMk cId="708553223" sldId="317"/>
            <ac:graphicFrameMk id="974" creationId="{CA73DB2D-C482-CE1F-E8E4-312763AA435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9:59:34.012" v="74159"/>
          <ac:graphicFrameMkLst>
            <pc:docMk/>
            <pc:sldMk cId="708553223" sldId="317"/>
            <ac:graphicFrameMk id="1011" creationId="{3F6DEE31-4B89-79CD-629B-31FC0C15BE7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19:59:50.521" v="76435"/>
          <ac:graphicFrameMkLst>
            <pc:docMk/>
            <pc:sldMk cId="708553223" sldId="317"/>
            <ac:graphicFrameMk id="1037" creationId="{060F310E-23BB-4B2A-29F2-ECECB15E5D7D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19:59:42.697" v="75717"/>
          <ac:graphicFrameMkLst>
            <pc:docMk/>
            <pc:sldMk cId="708553223" sldId="317"/>
            <ac:graphicFrameMk id="1039" creationId="{B3684717-EDAB-D616-0EB2-15F21809DD1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19:59:42.697" v="75717"/>
          <ac:graphicFrameMkLst>
            <pc:docMk/>
            <pc:sldMk cId="708553223" sldId="317"/>
            <ac:graphicFrameMk id="1041" creationId="{97946327-36DF-114F-C2FF-08A7ACD4097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0:07.166" v="76674"/>
          <ac:graphicFrameMkLst>
            <pc:docMk/>
            <pc:sldMk cId="708553223" sldId="317"/>
            <ac:graphicFrameMk id="1067" creationId="{DFE70B93-1156-771C-EAF2-8CB42BFC2C5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0:11.629" v="77098"/>
          <ac:graphicFrameMkLst>
            <pc:docMk/>
            <pc:sldMk cId="708553223" sldId="317"/>
            <ac:graphicFrameMk id="1069" creationId="{601D2CB5-3E43-F9D6-2DF8-00EEA420949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0:16.346" v="77836"/>
          <ac:graphicFrameMkLst>
            <pc:docMk/>
            <pc:sldMk cId="708553223" sldId="317"/>
            <ac:graphicFrameMk id="1071" creationId="{1850EFF1-D53B-0C45-39AC-8A7EB600873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0:18.289" v="78556"/>
          <ac:graphicFrameMkLst>
            <pc:docMk/>
            <pc:sldMk cId="708553223" sldId="317"/>
            <ac:graphicFrameMk id="1091" creationId="{7D7E9BBD-04F1-F8A2-462A-BBAACF344DC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1:05.425" v="78793"/>
          <ac:graphicFrameMkLst>
            <pc:docMk/>
            <pc:sldMk cId="708553223" sldId="317"/>
            <ac:graphicFrameMk id="1111" creationId="{8A35EBFA-CD73-DF3F-037E-0398FA86B59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2:07.211" v="79489"/>
          <ac:graphicFrameMkLst>
            <pc:docMk/>
            <pc:sldMk cId="708553223" sldId="317"/>
            <ac:graphicFrameMk id="1113" creationId="{86BCFBF8-E718-133F-1AD0-E20DA780EA3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1:21.632" v="79221"/>
          <ac:graphicFrameMkLst>
            <pc:docMk/>
            <pc:sldMk cId="708553223" sldId="317"/>
            <ac:graphicFrameMk id="1115" creationId="{2A7E11D3-B3A5-7D9E-A91E-C52818C97F8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5:58.898" v="88433"/>
          <ac:graphicFrameMkLst>
            <pc:docMk/>
            <pc:sldMk cId="708553223" sldId="317"/>
            <ac:graphicFrameMk id="1116" creationId="{9FC67D2F-6595-12D1-F79E-8574B12069A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2:16.700" v="79867"/>
          <ac:graphicFrameMkLst>
            <pc:docMk/>
            <pc:sldMk cId="708553223" sldId="317"/>
            <ac:graphicFrameMk id="1118" creationId="{6BA3C97D-1DD2-C648-CA48-37562AA2B2B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2:20.680" v="80411"/>
          <ac:graphicFrameMkLst>
            <pc:docMk/>
            <pc:sldMk cId="708553223" sldId="317"/>
            <ac:graphicFrameMk id="1120" creationId="{2F49C189-A26F-EF8A-0FBE-8F6366353AB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2:32.244" v="81124"/>
          <ac:graphicFrameMkLst>
            <pc:docMk/>
            <pc:sldMk cId="708553223" sldId="317"/>
            <ac:graphicFrameMk id="1124" creationId="{41A767AB-6970-D8F8-CD90-36A5C5895D7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2:35.190" v="81773"/>
          <ac:graphicFrameMkLst>
            <pc:docMk/>
            <pc:sldMk cId="708553223" sldId="317"/>
            <ac:graphicFrameMk id="1144" creationId="{6D4DCE3B-816B-549A-0DDC-24850CECE26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3:17.254" v="82110"/>
          <ac:graphicFrameMkLst>
            <pc:docMk/>
            <pc:sldMk cId="708553223" sldId="317"/>
            <ac:graphicFrameMk id="1164" creationId="{852A4687-DE44-1E5B-A76D-12D39FF1138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3:47.966" v="82495"/>
          <ac:graphicFrameMkLst>
            <pc:docMk/>
            <pc:sldMk cId="708553223" sldId="317"/>
            <ac:graphicFrameMk id="1166" creationId="{072F1976-0227-D970-F579-F76A244637F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4:58.156" v="84139"/>
          <ac:graphicFrameMkLst>
            <pc:docMk/>
            <pc:sldMk cId="708553223" sldId="317"/>
            <ac:graphicFrameMk id="1168" creationId="{5060C3E2-B39D-6CEA-62F3-1FE0F52F68C7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04:38.106" v="83124"/>
          <ac:graphicFrameMkLst>
            <pc:docMk/>
            <pc:sldMk cId="708553223" sldId="317"/>
            <ac:graphicFrameMk id="1177" creationId="{B6AA8FBF-E979-846E-B27A-466FD390A04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5:52.119" v="88218"/>
          <ac:graphicFrameMkLst>
            <pc:docMk/>
            <pc:sldMk cId="708553223" sldId="317"/>
            <ac:graphicFrameMk id="1204" creationId="{0048A598-35C4-3B01-73B3-49E4F87F661D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05:10.300" v="84643"/>
          <ac:graphicFrameMkLst>
            <pc:docMk/>
            <pc:sldMk cId="708553223" sldId="317"/>
            <ac:graphicFrameMk id="1206" creationId="{479C6013-A896-0662-FB02-6A5EE9ACC142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05:27.462" v="85570" actId="1076"/>
          <ac:graphicFrameMkLst>
            <pc:docMk/>
            <pc:sldMk cId="708553223" sldId="317"/>
            <ac:graphicFrameMk id="1232" creationId="{25DFF670-7E4E-0604-D78B-D0F8BF4B860D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05:44.503" v="87500"/>
          <ac:graphicFrameMkLst>
            <pc:docMk/>
            <pc:sldMk cId="708553223" sldId="317"/>
            <ac:graphicFrameMk id="1258" creationId="{EE5E06BB-A6DA-DAC1-8E22-6C904FD8EA8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08.680" v="89242"/>
          <ac:graphicFrameMkLst>
            <pc:docMk/>
            <pc:sldMk cId="708553223" sldId="317"/>
            <ac:graphicFrameMk id="1284" creationId="{2699C663-9AEF-EA2A-FC33-29AAB12F253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36.225" v="107399"/>
          <ac:graphicFrameMkLst>
            <pc:docMk/>
            <pc:sldMk cId="708553223" sldId="317"/>
            <ac:graphicFrameMk id="1286" creationId="{B3E18C95-9D19-F502-C70D-934284EAC4A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32.015" v="89470"/>
          <ac:graphicFrameMkLst>
            <pc:docMk/>
            <pc:sldMk cId="708553223" sldId="317"/>
            <ac:graphicFrameMk id="1306" creationId="{1F2B43C2-73FC-4829-8348-A50DB148134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39.569" v="89700"/>
          <ac:graphicFrameMkLst>
            <pc:docMk/>
            <pc:sldMk cId="708553223" sldId="317"/>
            <ac:graphicFrameMk id="1308" creationId="{54064B88-70E4-A8FF-DBAA-71C83D985C4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40.564" v="89928"/>
          <ac:graphicFrameMkLst>
            <pc:docMk/>
            <pc:sldMk cId="708553223" sldId="317"/>
            <ac:graphicFrameMk id="1310" creationId="{16C6FB79-6B9E-D526-842D-9EAA55C0059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43.319" v="90169"/>
          <ac:graphicFrameMkLst>
            <pc:docMk/>
            <pc:sldMk cId="708553223" sldId="317"/>
            <ac:graphicFrameMk id="1312" creationId="{6BC4FAAB-F647-0873-E16B-6D48287B924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46.955" v="90399"/>
          <ac:graphicFrameMkLst>
            <pc:docMk/>
            <pc:sldMk cId="708553223" sldId="317"/>
            <ac:graphicFrameMk id="1314" creationId="{76F87A67-A0FF-98F9-2B5D-480FAF5235C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6:55.626" v="90629"/>
          <ac:graphicFrameMkLst>
            <pc:docMk/>
            <pc:sldMk cId="708553223" sldId="317"/>
            <ac:graphicFrameMk id="1316" creationId="{99EEDA7B-6E0F-2E1F-6D8D-0A1AA668D9D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7:06.902" v="90859"/>
          <ac:graphicFrameMkLst>
            <pc:docMk/>
            <pc:sldMk cId="708553223" sldId="317"/>
            <ac:graphicFrameMk id="1318" creationId="{9F0CE858-7BA7-211F-960B-2DA521E5CFC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7:28.641" v="91550"/>
          <ac:graphicFrameMkLst>
            <pc:docMk/>
            <pc:sldMk cId="708553223" sldId="317"/>
            <ac:graphicFrameMk id="1320" creationId="{D3C737E6-CBE8-F0C4-3A12-13120E689B9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7:30.966" v="92185"/>
          <ac:graphicFrameMkLst>
            <pc:docMk/>
            <pc:sldMk cId="708553223" sldId="317"/>
            <ac:graphicFrameMk id="1340" creationId="{D2D147C7-9B89-A3FF-9FFD-C89AFFEBFBA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02.450" v="92448"/>
          <ac:graphicFrameMkLst>
            <pc:docMk/>
            <pc:sldMk cId="708553223" sldId="317"/>
            <ac:graphicFrameMk id="1360" creationId="{CFA4E113-DE82-0ABA-539C-F2B1F5CC840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11.149" v="92699"/>
          <ac:graphicFrameMkLst>
            <pc:docMk/>
            <pc:sldMk cId="708553223" sldId="317"/>
            <ac:graphicFrameMk id="1362" creationId="{3359399A-3E9F-9AC3-B114-239B3D7EB77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15.742" v="92927"/>
          <ac:graphicFrameMkLst>
            <pc:docMk/>
            <pc:sldMk cId="708553223" sldId="317"/>
            <ac:graphicFrameMk id="1364" creationId="{3D59E6D3-1355-B9AC-2943-6DC8B27869F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17.392" v="93155"/>
          <ac:graphicFrameMkLst>
            <pc:docMk/>
            <pc:sldMk cId="708553223" sldId="317"/>
            <ac:graphicFrameMk id="1366" creationId="{BE29F2E4-845A-D40B-DC85-3920CA4052E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19.152" v="93383"/>
          <ac:graphicFrameMkLst>
            <pc:docMk/>
            <pc:sldMk cId="708553223" sldId="317"/>
            <ac:graphicFrameMk id="1368" creationId="{608151E5-916F-2E4B-5815-C71325B556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25.061" v="93611"/>
          <ac:graphicFrameMkLst>
            <pc:docMk/>
            <pc:sldMk cId="708553223" sldId="317"/>
            <ac:graphicFrameMk id="1370" creationId="{0EA6B7D9-0F3F-4D71-AB72-B1417B8696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26.188" v="94093"/>
          <ac:graphicFrameMkLst>
            <pc:docMk/>
            <pc:sldMk cId="708553223" sldId="317"/>
            <ac:graphicFrameMk id="1372" creationId="{6A1E21B1-458D-6CA3-F05A-110BA68568B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8:32.197" v="94321"/>
          <ac:graphicFrameMkLst>
            <pc:docMk/>
            <pc:sldMk cId="708553223" sldId="317"/>
            <ac:graphicFrameMk id="1374" creationId="{D2C90934-9F37-EB1A-ACE4-47B46A96818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9:18.423" v="94580"/>
          <ac:graphicFrameMkLst>
            <pc:docMk/>
            <pc:sldMk cId="708553223" sldId="317"/>
            <ac:graphicFrameMk id="1376" creationId="{6CEC2D59-059B-92CB-B1FB-F0268F75B0E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9:32.397" v="94808"/>
          <ac:graphicFrameMkLst>
            <pc:docMk/>
            <pc:sldMk cId="708553223" sldId="317"/>
            <ac:graphicFrameMk id="1378" creationId="{C699392A-62F0-88E3-4FC4-9509EF1F83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09:38.983" v="95038"/>
          <ac:graphicFrameMkLst>
            <pc:docMk/>
            <pc:sldMk cId="708553223" sldId="317"/>
            <ac:graphicFrameMk id="1380" creationId="{A87325CD-05DC-AAEF-771E-6BF1A4B3AE0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0:25.810" v="95269"/>
          <ac:graphicFrameMkLst>
            <pc:docMk/>
            <pc:sldMk cId="708553223" sldId="317"/>
            <ac:graphicFrameMk id="1382" creationId="{A8DD922E-C526-5F81-AFF1-2F6CFF850C8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0:37.792" v="95497"/>
          <ac:graphicFrameMkLst>
            <pc:docMk/>
            <pc:sldMk cId="708553223" sldId="317"/>
            <ac:graphicFrameMk id="1384" creationId="{C96AAB77-5D13-7645-07BC-18369C0F1C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0:54.624" v="95727"/>
          <ac:graphicFrameMkLst>
            <pc:docMk/>
            <pc:sldMk cId="708553223" sldId="317"/>
            <ac:graphicFrameMk id="1386" creationId="{9EF7F57D-B160-6F8A-83FF-E15C7231053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3:23.445" v="102263"/>
          <ac:graphicFrameMkLst>
            <pc:docMk/>
            <pc:sldMk cId="708553223" sldId="317"/>
            <ac:graphicFrameMk id="1388" creationId="{2E9DC0E5-AF61-8F99-B8D6-5E2667E32C5F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6.205" v="101264"/>
          <ac:graphicFrameMkLst>
            <pc:docMk/>
            <pc:sldMk cId="708553223" sldId="317"/>
            <ac:graphicFrameMk id="1390" creationId="{7E466C83-5B5E-758C-849D-2A94B48717B1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3.351" v="101148" actId="14100"/>
          <ac:graphicFrameMkLst>
            <pc:docMk/>
            <pc:sldMk cId="708553223" sldId="317"/>
            <ac:graphicFrameMk id="1392" creationId="{92FCEC2C-F19B-0D95-086A-9BF7449505E6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2.414" v="101032" actId="14100"/>
          <ac:graphicFrameMkLst>
            <pc:docMk/>
            <pc:sldMk cId="708553223" sldId="317"/>
            <ac:graphicFrameMk id="1394" creationId="{0213729B-7D26-EB37-0F4C-31DC892363C3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1.572" v="100872" actId="1076"/>
          <ac:graphicFrameMkLst>
            <pc:docMk/>
            <pc:sldMk cId="708553223" sldId="317"/>
            <ac:graphicFrameMk id="1396" creationId="{B3C98A92-75CF-A0C0-6DDC-E9F8DB1C47BB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0.981" v="100762" actId="1076"/>
          <ac:graphicFrameMkLst>
            <pc:docMk/>
            <pc:sldMk cId="708553223" sldId="317"/>
            <ac:graphicFrameMk id="1398" creationId="{C6E84BAF-C6C7-E243-1E38-F0C223C2A820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0.404" v="100652" actId="1076"/>
          <ac:graphicFrameMkLst>
            <pc:docMk/>
            <pc:sldMk cId="708553223" sldId="317"/>
            <ac:graphicFrameMk id="1400" creationId="{C208C4BE-6931-D457-03C5-A15AEEC6538F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10.078" v="100542" actId="1076"/>
          <ac:graphicFrameMkLst>
            <pc:docMk/>
            <pc:sldMk cId="708553223" sldId="317"/>
            <ac:graphicFrameMk id="1402" creationId="{529AF011-A26B-81E5-29E1-CFF076A0F688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09.761" v="100439" actId="1076"/>
          <ac:graphicFrameMkLst>
            <pc:docMk/>
            <pc:sldMk cId="708553223" sldId="317"/>
            <ac:graphicFrameMk id="1404" creationId="{6F13A86C-35EF-F575-DA1C-956E2A4C5C47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09.397" v="100336" actId="1076"/>
          <ac:graphicFrameMkLst>
            <pc:docMk/>
            <pc:sldMk cId="708553223" sldId="317"/>
            <ac:graphicFrameMk id="1406" creationId="{C94E27C7-E99E-CDFA-48CC-6764E691F5B6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08.607" v="100233" actId="1076"/>
          <ac:graphicFrameMkLst>
            <pc:docMk/>
            <pc:sldMk cId="708553223" sldId="317"/>
            <ac:graphicFrameMk id="1408" creationId="{C6CCE758-CA9D-1088-93AC-FDBBCE75FE30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06.277" v="100130" actId="1076"/>
          <ac:graphicFrameMkLst>
            <pc:docMk/>
            <pc:sldMk cId="708553223" sldId="317"/>
            <ac:graphicFrameMk id="1410" creationId="{BD95CD1E-4802-45CF-2DB3-A1A1A5292B7A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4T20:13:03.145" v="100069"/>
          <ac:graphicFrameMkLst>
            <pc:docMk/>
            <pc:sldMk cId="708553223" sldId="317"/>
            <ac:graphicFrameMk id="1430" creationId="{C2E62433-6F8C-92EE-D526-840A95151793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13:01.065" v="99709"/>
          <ac:graphicFrameMkLst>
            <pc:docMk/>
            <pc:sldMk cId="708553223" sldId="317"/>
            <ac:graphicFrameMk id="1432" creationId="{6DC1DECA-45C8-5B59-BFB8-FE1888D1EA9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3:39.557" v="103506"/>
          <ac:graphicFrameMkLst>
            <pc:docMk/>
            <pc:sldMk cId="708553223" sldId="317"/>
            <ac:graphicFrameMk id="1459" creationId="{41F0DEED-ECBD-BEF2-EA13-9424B1D79CA1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13:34.701" v="102771"/>
          <ac:graphicFrameMkLst>
            <pc:docMk/>
            <pc:sldMk cId="708553223" sldId="317"/>
            <ac:graphicFrameMk id="1461" creationId="{E87ABA88-CDEA-A74E-FB8C-64B38A59A0E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3:40.355" v="103750"/>
          <ac:graphicFrameMkLst>
            <pc:docMk/>
            <pc:sldMk cId="708553223" sldId="317"/>
            <ac:graphicFrameMk id="1487" creationId="{7A4ED539-3275-C51C-CB74-7A6F7D7DAAA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3:41.932" v="103994"/>
          <ac:graphicFrameMkLst>
            <pc:docMk/>
            <pc:sldMk cId="708553223" sldId="317"/>
            <ac:graphicFrameMk id="1489" creationId="{0E97AF5C-53C9-A02E-36FC-4B8C5B046F9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4:05.721" v="104315"/>
          <ac:graphicFrameMkLst>
            <pc:docMk/>
            <pc:sldMk cId="708553223" sldId="317"/>
            <ac:graphicFrameMk id="1491" creationId="{B191FDC4-47CA-E633-66F6-A41C56A678A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4:28.182" v="104575"/>
          <ac:graphicFrameMkLst>
            <pc:docMk/>
            <pc:sldMk cId="708553223" sldId="317"/>
            <ac:graphicFrameMk id="1493" creationId="{64EF125B-F62B-B500-F287-665A91F9081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4:59.794" v="104869"/>
          <ac:graphicFrameMkLst>
            <pc:docMk/>
            <pc:sldMk cId="708553223" sldId="317"/>
            <ac:graphicFrameMk id="1495" creationId="{F23496AB-1D75-A69C-4357-22CA3D30798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00.532" v="105100"/>
          <ac:graphicFrameMkLst>
            <pc:docMk/>
            <pc:sldMk cId="708553223" sldId="317"/>
            <ac:graphicFrameMk id="1498" creationId="{2C913145-CA22-DEDC-1887-1BCFFFF0878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57.905" v="108845"/>
          <ac:graphicFrameMkLst>
            <pc:docMk/>
            <pc:sldMk cId="708553223" sldId="317"/>
            <ac:graphicFrameMk id="1500" creationId="{4D6E3AD3-A614-E270-C920-8876CEB9465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15:09.944" v="105686"/>
          <ac:graphicFrameMkLst>
            <pc:docMk/>
            <pc:sldMk cId="708553223" sldId="317"/>
            <ac:graphicFrameMk id="1503" creationId="{C45428F3-8AEE-2679-1A0E-43A3E9A8614F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15:23.193" v="107305"/>
          <ac:graphicFrameMkLst>
            <pc:docMk/>
            <pc:sldMk cId="708553223" sldId="317"/>
            <ac:graphicFrameMk id="1530" creationId="{AEB9CC1C-A4EB-6C67-7C5E-4DD883630A5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42.375" v="107572"/>
          <ac:graphicFrameMkLst>
            <pc:docMk/>
            <pc:sldMk cId="708553223" sldId="317"/>
            <ac:graphicFrameMk id="1534" creationId="{B4589574-0478-67F8-3098-B8260728FF3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44.884" v="107743"/>
          <ac:graphicFrameMkLst>
            <pc:docMk/>
            <pc:sldMk cId="708553223" sldId="317"/>
            <ac:graphicFrameMk id="1535" creationId="{62CD694B-C590-8198-59DF-0ED7EEE6441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5:48.888" v="107914"/>
          <ac:graphicFrameMkLst>
            <pc:docMk/>
            <pc:sldMk cId="708553223" sldId="317"/>
            <ac:graphicFrameMk id="1536" creationId="{ACCF8341-4568-04C4-65C7-5C7F4143359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03.167" v="109039"/>
          <ac:graphicFrameMkLst>
            <pc:docMk/>
            <pc:sldMk cId="708553223" sldId="317"/>
            <ac:graphicFrameMk id="1537" creationId="{4D98B1AE-02B6-7DF8-976E-32F82FC9152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25.081" v="117231"/>
          <ac:graphicFrameMkLst>
            <pc:docMk/>
            <pc:sldMk cId="708553223" sldId="317"/>
            <ac:graphicFrameMk id="1563" creationId="{1C5ACD1A-D914-4722-9090-6BEA09DA3FA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10.987" v="109248"/>
          <ac:graphicFrameMkLst>
            <pc:docMk/>
            <pc:sldMk cId="708553223" sldId="317"/>
            <ac:graphicFrameMk id="1565" creationId="{01A27E6E-F6BB-29FD-6560-0B83200E0BC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12.753" v="109448"/>
          <ac:graphicFrameMkLst>
            <pc:docMk/>
            <pc:sldMk cId="708553223" sldId="317"/>
            <ac:graphicFrameMk id="1567" creationId="{844EB4F7-8DDD-CF2E-FC1A-8A6FFFD265A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29.840" v="109634"/>
          <ac:graphicFrameMkLst>
            <pc:docMk/>
            <pc:sldMk cId="708553223" sldId="317"/>
            <ac:graphicFrameMk id="1569" creationId="{2DFD7711-1F26-98D6-5063-56FBEA2925C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31.867" v="109818"/>
          <ac:graphicFrameMkLst>
            <pc:docMk/>
            <pc:sldMk cId="708553223" sldId="317"/>
            <ac:graphicFrameMk id="1570" creationId="{A7E6AC3A-A7D3-7599-6BB7-10068192941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38.368" v="109987"/>
          <ac:graphicFrameMkLst>
            <pc:docMk/>
            <pc:sldMk cId="708553223" sldId="317"/>
            <ac:graphicFrameMk id="1571" creationId="{646E6964-DE73-3FEE-5155-3811C50D5B9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50.160" v="110451"/>
          <ac:graphicFrameMkLst>
            <pc:docMk/>
            <pc:sldMk cId="708553223" sldId="317"/>
            <ac:graphicFrameMk id="1572" creationId="{AD0736BE-D4DC-4345-BC45-C2BE2002AB0B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16:43.560" v="110366"/>
          <ac:graphicFrameMkLst>
            <pc:docMk/>
            <pc:sldMk cId="708553223" sldId="317"/>
            <ac:graphicFrameMk id="1573" creationId="{2BA44C08-FCA3-11AE-060C-BA4CD79C536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16:52.248" v="110625"/>
          <ac:graphicFrameMkLst>
            <pc:docMk/>
            <pc:sldMk cId="708553223" sldId="317"/>
            <ac:graphicFrameMk id="1575" creationId="{3B11ED9D-C98B-EC9F-0ABB-89DC314E1DE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13.652" v="110840"/>
          <ac:graphicFrameMkLst>
            <pc:docMk/>
            <pc:sldMk cId="708553223" sldId="317"/>
            <ac:graphicFrameMk id="1576" creationId="{701B3149-3939-B5AD-FCBF-5E34A98EE6D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18.550" v="111060"/>
          <ac:graphicFrameMkLst>
            <pc:docMk/>
            <pc:sldMk cId="708553223" sldId="317"/>
            <ac:graphicFrameMk id="1579" creationId="{2F7F0F3F-C20E-EA6B-26BA-141210AD784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29.647" v="111283"/>
          <ac:graphicFrameMkLst>
            <pc:docMk/>
            <pc:sldMk cId="708553223" sldId="317"/>
            <ac:graphicFrameMk id="1583" creationId="{EE5B441F-2101-0D8D-970B-AFA4CB97B79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34.773" v="111484"/>
          <ac:graphicFrameMkLst>
            <pc:docMk/>
            <pc:sldMk cId="708553223" sldId="317"/>
            <ac:graphicFrameMk id="1585" creationId="{EEAE756A-587E-25DE-1F84-04CAB2222D1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38.011" v="111703"/>
          <ac:graphicFrameMkLst>
            <pc:docMk/>
            <pc:sldMk cId="708553223" sldId="317"/>
            <ac:graphicFrameMk id="1587" creationId="{F0EAD57B-613F-5543-8423-43B2FFC949A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43.775" v="111902"/>
          <ac:graphicFrameMkLst>
            <pc:docMk/>
            <pc:sldMk cId="708553223" sldId="317"/>
            <ac:graphicFrameMk id="1589" creationId="{53C2B89B-176C-F2C5-0D10-DFCE6C75C2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48.674" v="112215"/>
          <ac:graphicFrameMkLst>
            <pc:docMk/>
            <pc:sldMk cId="708553223" sldId="317"/>
            <ac:graphicFrameMk id="1591" creationId="{22D601E2-C52A-592D-21ED-9DF1FDA3375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4:58.165" v="112515"/>
          <ac:graphicFrameMkLst>
            <pc:docMk/>
            <pc:sldMk cId="708553223" sldId="317"/>
            <ac:graphicFrameMk id="1596" creationId="{7087EBB8-1E56-2AF4-3F3C-BBE96917680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5:09.675" v="112773"/>
          <ac:graphicFrameMkLst>
            <pc:docMk/>
            <pc:sldMk cId="708553223" sldId="317"/>
            <ac:graphicFrameMk id="1599" creationId="{17B256BD-A102-1106-BE53-DC41CB4A04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6:55.543" v="112989"/>
          <ac:graphicFrameMkLst>
            <pc:docMk/>
            <pc:sldMk cId="708553223" sldId="317"/>
            <ac:graphicFrameMk id="1602" creationId="{24F9A20C-0434-82A0-943D-FF59D3B9632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6:59.376" v="113206"/>
          <ac:graphicFrameMkLst>
            <pc:docMk/>
            <pc:sldMk cId="708553223" sldId="317"/>
            <ac:graphicFrameMk id="1604" creationId="{EBFE09C0-612A-A117-D00F-4FA30439349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8:29.338" v="113445"/>
          <ac:graphicFrameMkLst>
            <pc:docMk/>
            <pc:sldMk cId="708553223" sldId="317"/>
            <ac:graphicFrameMk id="1606" creationId="{049487ED-39D5-1563-1E04-34CB22AD0C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8:36.837" v="113648"/>
          <ac:graphicFrameMkLst>
            <pc:docMk/>
            <pc:sldMk cId="708553223" sldId="317"/>
            <ac:graphicFrameMk id="1609" creationId="{80AFC31E-0F29-11AD-9124-60737C830B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8:42.418" v="113853"/>
          <ac:graphicFrameMkLst>
            <pc:docMk/>
            <pc:sldMk cId="708553223" sldId="317"/>
            <ac:graphicFrameMk id="1611" creationId="{C68F2D8D-AD1B-544B-D434-E410F66E850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9:03.382" v="114066"/>
          <ac:graphicFrameMkLst>
            <pc:docMk/>
            <pc:sldMk cId="708553223" sldId="317"/>
            <ac:graphicFrameMk id="1613" creationId="{C986FCBB-50D0-AA3C-3F8F-BA1F09A16D2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9:36.688" v="114265"/>
          <ac:graphicFrameMkLst>
            <pc:docMk/>
            <pc:sldMk cId="708553223" sldId="317"/>
            <ac:graphicFrameMk id="1615" creationId="{389081D3-CDB6-002A-E2B3-91A240096D0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29:41.353" v="114464"/>
          <ac:graphicFrameMkLst>
            <pc:docMk/>
            <pc:sldMk cId="708553223" sldId="317"/>
            <ac:graphicFrameMk id="1617" creationId="{022B88E0-4450-AD0C-BFB6-4F336605110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0:01.809" v="114681"/>
          <ac:graphicFrameMkLst>
            <pc:docMk/>
            <pc:sldMk cId="708553223" sldId="317"/>
            <ac:graphicFrameMk id="1619" creationId="{E3D11BF6-77A7-A6E2-DBA2-930A913D283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0:30.530" v="114888"/>
          <ac:graphicFrameMkLst>
            <pc:docMk/>
            <pc:sldMk cId="708553223" sldId="317"/>
            <ac:graphicFrameMk id="1621" creationId="{18CA89CE-8234-754C-BD97-5710C3AA158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1:03.294" v="115347"/>
          <ac:graphicFrameMkLst>
            <pc:docMk/>
            <pc:sldMk cId="708553223" sldId="317"/>
            <ac:graphicFrameMk id="1623" creationId="{E8644DF3-B48B-C1C8-F102-EE3FC39D0B9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20:30:58.516" v="115261"/>
          <ac:graphicFrameMkLst>
            <pc:docMk/>
            <pc:sldMk cId="708553223" sldId="317"/>
            <ac:graphicFrameMk id="1624" creationId="{4EF6C812-C541-5F8D-23EC-61BA98B2CB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1:17.331" v="115511"/>
          <ac:graphicFrameMkLst>
            <pc:docMk/>
            <pc:sldMk cId="708553223" sldId="317"/>
            <ac:graphicFrameMk id="1626" creationId="{8C04EC1B-9978-3664-CC7A-B84E4EDBF06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1:22.190" v="115673"/>
          <ac:graphicFrameMkLst>
            <pc:docMk/>
            <pc:sldMk cId="708553223" sldId="317"/>
            <ac:graphicFrameMk id="1627" creationId="{4A85BAC8-400A-19BB-4F41-8A761E40A21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1:25.602" v="115835"/>
          <ac:graphicFrameMkLst>
            <pc:docMk/>
            <pc:sldMk cId="708553223" sldId="317"/>
            <ac:graphicFrameMk id="1628" creationId="{AC7D2E12-024C-5EA4-1A98-2575C69615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1:31.045" v="115997"/>
          <ac:graphicFrameMkLst>
            <pc:docMk/>
            <pc:sldMk cId="708553223" sldId="317"/>
            <ac:graphicFrameMk id="1629" creationId="{BD03EA2D-D843-5A35-1F84-46CB70AEE5F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00.525" v="116159"/>
          <ac:graphicFrameMkLst>
            <pc:docMk/>
            <pc:sldMk cId="708553223" sldId="317"/>
            <ac:graphicFrameMk id="1630" creationId="{32068B5E-11FA-5B0B-77B0-A368599353F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16.098" v="116321"/>
          <ac:graphicFrameMkLst>
            <pc:docMk/>
            <pc:sldMk cId="708553223" sldId="317"/>
            <ac:graphicFrameMk id="1631" creationId="{69ACF2E3-A186-FE59-52D8-1DAC6DC75CF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3:06.809" v="119519"/>
          <ac:graphicFrameMkLst>
            <pc:docMk/>
            <pc:sldMk cId="708553223" sldId="317"/>
            <ac:graphicFrameMk id="1632" creationId="{6C9A5501-06D7-D39D-5D84-14EC884587E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25.954" v="117460"/>
          <ac:graphicFrameMkLst>
            <pc:docMk/>
            <pc:sldMk cId="708553223" sldId="317"/>
            <ac:graphicFrameMk id="1658" creationId="{DB473ED3-3EAA-BD81-69BA-3617977192E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30.675" v="118019"/>
          <ac:graphicFrameMkLst>
            <pc:docMk/>
            <pc:sldMk cId="708553223" sldId="317"/>
            <ac:graphicFrameMk id="1660" creationId="{A6D4E335-02E6-07EF-1E79-42C70A2D4A4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35.165" v="118612"/>
          <ac:graphicFrameMkLst>
            <pc:docMk/>
            <pc:sldMk cId="708553223" sldId="317"/>
            <ac:graphicFrameMk id="1666" creationId="{E7504FCF-9ADA-1BA9-0444-3F3686177E0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2:37.064" v="119171"/>
          <ac:graphicFrameMkLst>
            <pc:docMk/>
            <pc:sldMk cId="708553223" sldId="317"/>
            <ac:graphicFrameMk id="1671" creationId="{1DEDF358-0881-A5F7-597F-2D70F607507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2:56:28.918" v="128250"/>
          <ac:graphicFrameMkLst>
            <pc:docMk/>
            <pc:sldMk cId="708553223" sldId="317"/>
            <ac:graphicFrameMk id="1677" creationId="{486AA6C1-8446-2DA7-941F-5EF990A5CB7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3:16.554" v="119700"/>
          <ac:graphicFrameMkLst>
            <pc:docMk/>
            <pc:sldMk cId="708553223" sldId="317"/>
            <ac:graphicFrameMk id="1690" creationId="{657F6FE8-F7B5-3FA5-FE51-8E0D7ABAF7C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20:34:06.795" v="119940"/>
          <ac:graphicFrameMkLst>
            <pc:docMk/>
            <pc:sldMk cId="708553223" sldId="317"/>
            <ac:graphicFrameMk id="1691" creationId="{5DAB478B-E7AE-1647-0EE6-E4A8ACCB85D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18:08:50.800" v="148801"/>
          <ac:graphicFrameMkLst>
            <pc:docMk/>
            <pc:sldMk cId="708553223" sldId="317"/>
            <ac:graphicFrameMk id="1692" creationId="{122F0A61-091D-4F64-0E41-1FE4D53C601F}"/>
          </ac:graphicFrameMkLst>
        </pc:graphicFrameChg>
        <pc:cxnChg chg="add mod ord replST">
          <ac:chgData name="Muchahary, Frankle" userId="0f2bf491-0617-4378-90b8-89af8fa381b9" providerId="ADAL" clId="{90877F19-00D2-4A00-8128-E78E36266C9A}" dt="2023-11-08T07:17:14.010" v="170876"/>
          <ac:cxnSpMkLst>
            <pc:docMk/>
            <pc:sldMk cId="708553223" sldId="317"/>
            <ac:cxnSpMk id="29" creationId="{F2295E77-40E2-5087-4E73-AE5952D8E523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09" v="170872"/>
          <ac:cxnSpMkLst>
            <pc:docMk/>
            <pc:sldMk cId="708553223" sldId="317"/>
            <ac:cxnSpMk id="30" creationId="{991F2E8C-2A22-B0B0-19A8-C1C7726291CF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08" v="170870"/>
          <ac:cxnSpMkLst>
            <pc:docMk/>
            <pc:sldMk cId="708553223" sldId="317"/>
            <ac:cxnSpMk id="48" creationId="{5FFF1E2B-3CD3-452D-9566-44CD44CD4F4A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05" v="170864"/>
          <ac:cxnSpMkLst>
            <pc:docMk/>
            <pc:sldMk cId="708553223" sldId="317"/>
            <ac:cxnSpMk id="53" creationId="{F07D8070-18B2-7BCA-982E-E5420F7D03F1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07" v="170866"/>
          <ac:cxnSpMkLst>
            <pc:docMk/>
            <pc:sldMk cId="708553223" sldId="317"/>
            <ac:cxnSpMk id="58" creationId="{40C7A6BC-3F9E-0E9F-E754-89AE45F21FAC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09" v="170874"/>
          <ac:cxnSpMkLst>
            <pc:docMk/>
            <pc:sldMk cId="708553223" sldId="317"/>
            <ac:cxnSpMk id="388" creationId="{240E3BAE-BFCF-8A99-95B0-41F443EF16B9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07" v="170868"/>
          <ac:cxnSpMkLst>
            <pc:docMk/>
            <pc:sldMk cId="708553223" sldId="317"/>
            <ac:cxnSpMk id="409" creationId="{2856A881-BA9A-26B4-BF0D-6684C6FE003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7:40.419" v="9012"/>
          <ac:cxnSpMkLst>
            <pc:docMk/>
            <pc:sldMk cId="708553223" sldId="317"/>
            <ac:cxnSpMk id="493" creationId="{8018DC9C-B58E-D751-AD52-6A892509CBA7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7:40.419" v="9012"/>
          <ac:cxnSpMkLst>
            <pc:docMk/>
            <pc:sldMk cId="708553223" sldId="317"/>
            <ac:cxnSpMk id="494" creationId="{E12EB4AC-F93B-6EA2-B15D-EBB3EE300F3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7:40.419" v="9012"/>
          <ac:cxnSpMkLst>
            <pc:docMk/>
            <pc:sldMk cId="708553223" sldId="317"/>
            <ac:cxnSpMk id="495" creationId="{F3ADBE98-1BFB-68C4-5F4B-C66610882578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8:23.722" v="10032"/>
          <ac:cxnSpMkLst>
            <pc:docMk/>
            <pc:sldMk cId="708553223" sldId="317"/>
            <ac:cxnSpMk id="503" creationId="{533F54D7-4837-247B-1110-EF55A80D5059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8:23.722" v="10032"/>
          <ac:cxnSpMkLst>
            <pc:docMk/>
            <pc:sldMk cId="708553223" sldId="317"/>
            <ac:cxnSpMk id="504" creationId="{D6D421EF-EB47-14E9-5078-141206E3205D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8:23.722" v="10032"/>
          <ac:cxnSpMkLst>
            <pc:docMk/>
            <pc:sldMk cId="708553223" sldId="317"/>
            <ac:cxnSpMk id="505" creationId="{B55CA19A-0F1B-2CE9-30AE-3ABBF654893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2" creationId="{7EC686E8-C2D5-ED53-52D4-36F59CD752BD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3" creationId="{63B0AA2A-9FAE-92DF-61D6-8F01C2F7DE6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4" creationId="{518D09F4-9C35-CD5F-EDB2-3590803B77D4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5" creationId="{A7E28C4F-6D6A-5330-BB3E-02E4F4277EDE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6" creationId="{F69FA141-7088-972B-794A-BB637A8619A4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7" creationId="{F4C2726E-CCC4-4DCD-2FD2-6872CBCA6542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8" creationId="{2B16758B-C99A-3948-E662-16C9CB3C9AED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29" creationId="{BA410333-3386-EF76-E1EC-EBE16F28679B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0" creationId="{76703B07-82B8-24BA-8E2D-39176A80AD8B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9:10.393" v="11727"/>
          <ac:cxnSpMkLst>
            <pc:docMk/>
            <pc:sldMk cId="708553223" sldId="317"/>
            <ac:cxnSpMk id="530" creationId="{CF25552A-D02E-51DD-2D18-B1290EC3B45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1" creationId="{E62A49C6-9E9F-DF3C-D925-C6F0CD777F1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2" creationId="{567E86BD-C47C-0219-40D6-6DF5B173AAFA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3" creationId="{FD2D1826-BFAF-D3CD-99DF-7C882444A4E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9:19.864" v="12247"/>
          <ac:cxnSpMkLst>
            <pc:docMk/>
            <pc:sldMk cId="708553223" sldId="317"/>
            <ac:cxnSpMk id="534" creationId="{19EBA49B-0779-077D-611A-3827AD9AC6E1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4" creationId="{6A3C545D-AE7E-A676-E9DE-01B1BB66F768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9:19.864" v="12247"/>
          <ac:cxnSpMkLst>
            <pc:docMk/>
            <pc:sldMk cId="708553223" sldId="317"/>
            <ac:cxnSpMk id="535" creationId="{84C2E581-200D-17DF-E331-66B2FF99BA3B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5" creationId="{9A01FFA9-BEEB-CC93-128F-0564CF8512EF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9:19.864" v="12247"/>
          <ac:cxnSpMkLst>
            <pc:docMk/>
            <pc:sldMk cId="708553223" sldId="317"/>
            <ac:cxnSpMk id="536" creationId="{26E149BE-3D9C-21D1-5A18-B15EB00B18F6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6" creationId="{45D8C013-667A-9B7C-6B3C-111595AD62A7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7" creationId="{B9A94B03-3EC0-153B-86FE-457AF6BAF279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8" creationId="{6A449481-818B-B7F5-F677-CF0E23BB7EEF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37.462" v="54387"/>
          <ac:cxnSpMkLst>
            <pc:docMk/>
            <pc:sldMk cId="708553223" sldId="317"/>
            <ac:cxnSpMk id="539" creationId="{48F9F3BA-91FD-6EBE-DB73-4D92E33FDE21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19:31.861" v="12703"/>
          <ac:cxnSpMkLst>
            <pc:docMk/>
            <pc:sldMk cId="708553223" sldId="317"/>
            <ac:cxnSpMk id="541" creationId="{4A6C3BB7-E024-5DF4-9286-99DD2811BE76}"/>
          </ac:cxnSpMkLst>
        </pc:cxnChg>
        <pc:cxnChg chg="add del mod ord replST">
          <ac:chgData name="Muchahary, Frankle" userId="0f2bf491-0617-4378-90b8-89af8fa381b9" providerId="ADAL" clId="{90877F19-00D2-4A00-8128-E78E36266C9A}" dt="2023-11-04T01:26:43.296" v="15456"/>
          <ac:cxnSpMkLst>
            <pc:docMk/>
            <pc:sldMk cId="708553223" sldId="317"/>
            <ac:cxnSpMk id="564" creationId="{1C5EBD1F-0227-C386-1079-022ADB6571F4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4:55.408" v="18770"/>
          <ac:cxnSpMkLst>
            <pc:docMk/>
            <pc:sldMk cId="708553223" sldId="317"/>
            <ac:cxnSpMk id="649" creationId="{BD1242F6-9FCE-5657-A9A8-0C9C82B111D4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4:55.408" v="18770"/>
          <ac:cxnSpMkLst>
            <pc:docMk/>
            <pc:sldMk cId="708553223" sldId="317"/>
            <ac:cxnSpMk id="650" creationId="{A1D03F14-180B-A8C7-91F1-7A591013571E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4:55.408" v="18770"/>
          <ac:cxnSpMkLst>
            <pc:docMk/>
            <pc:sldMk cId="708553223" sldId="317"/>
            <ac:cxnSpMk id="651" creationId="{4EDA0707-B80B-3761-9DE0-70C96D4F27C0}"/>
          </ac:cxnSpMkLst>
        </pc:cxnChg>
        <pc:cxnChg chg="add del mod ord replST">
          <ac:chgData name="Muchahary, Frankle" userId="0f2bf491-0617-4378-90b8-89af8fa381b9" providerId="ADAL" clId="{90877F19-00D2-4A00-8128-E78E36266C9A}" dt="2023-11-04T01:47:58.100" v="20920"/>
          <ac:cxnSpMkLst>
            <pc:docMk/>
            <pc:sldMk cId="708553223" sldId="317"/>
            <ac:cxnSpMk id="655" creationId="{6593944D-74A7-3AAE-6313-F02C88BBC0F0}"/>
          </ac:cxnSpMkLst>
        </pc:cxnChg>
        <pc:cxnChg chg="add del mod ord replST">
          <ac:chgData name="Muchahary, Frankle" userId="0f2bf491-0617-4378-90b8-89af8fa381b9" providerId="ADAL" clId="{90877F19-00D2-4A00-8128-E78E36266C9A}" dt="2023-11-04T01:47:58.099" v="20918"/>
          <ac:cxnSpMkLst>
            <pc:docMk/>
            <pc:sldMk cId="708553223" sldId="317"/>
            <ac:cxnSpMk id="656" creationId="{23667816-9D93-972B-E14B-3FD70F88D520}"/>
          </ac:cxnSpMkLst>
        </pc:cxnChg>
        <pc:cxnChg chg="add del mod ord replST">
          <ac:chgData name="Muchahary, Frankle" userId="0f2bf491-0617-4378-90b8-89af8fa381b9" providerId="ADAL" clId="{90877F19-00D2-4A00-8128-E78E36266C9A}" dt="2023-11-04T01:47:58.098" v="20916"/>
          <ac:cxnSpMkLst>
            <pc:docMk/>
            <pc:sldMk cId="708553223" sldId="317"/>
            <ac:cxnSpMk id="657" creationId="{36C16278-CE6D-4F59-30ED-D76A04B4BEE9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7:14.354" v="20139"/>
          <ac:cxnSpMkLst>
            <pc:docMk/>
            <pc:sldMk cId="708553223" sldId="317"/>
            <ac:cxnSpMk id="672" creationId="{340E1952-5064-B0B0-9AF0-2D2CF4F0826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7:14.354" v="20139"/>
          <ac:cxnSpMkLst>
            <pc:docMk/>
            <pc:sldMk cId="708553223" sldId="317"/>
            <ac:cxnSpMk id="673" creationId="{AC3695B7-76DB-22AB-EE20-99371FF943BA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01:47:14.354" v="20139"/>
          <ac:cxnSpMkLst>
            <pc:docMk/>
            <pc:sldMk cId="708553223" sldId="317"/>
            <ac:cxnSpMk id="674" creationId="{A4AF157F-B044-1D70-4922-B21A122AD888}"/>
          </ac:cxnSpMkLst>
        </pc:cxnChg>
        <pc:cxnChg chg="add del mod ord replST">
          <ac:chgData name="Muchahary, Frankle" userId="0f2bf491-0617-4378-90b8-89af8fa381b9" providerId="ADAL" clId="{90877F19-00D2-4A00-8128-E78E36266C9A}" dt="2023-11-04T01:50:02.939" v="22600"/>
          <ac:cxnSpMkLst>
            <pc:docMk/>
            <pc:sldMk cId="708553223" sldId="317"/>
            <ac:cxnSpMk id="678" creationId="{36B14D24-74D0-407B-7F1B-03C242FCF14C}"/>
          </ac:cxnSpMkLst>
        </pc:cxnChg>
        <pc:cxnChg chg="add del mod ord replST">
          <ac:chgData name="Muchahary, Frankle" userId="0f2bf491-0617-4378-90b8-89af8fa381b9" providerId="ADAL" clId="{90877F19-00D2-4A00-8128-E78E36266C9A}" dt="2023-11-04T01:50:02.939" v="22598"/>
          <ac:cxnSpMkLst>
            <pc:docMk/>
            <pc:sldMk cId="708553223" sldId="317"/>
            <ac:cxnSpMk id="679" creationId="{CB80291B-52B0-2503-028B-FE6D5503F209}"/>
          </ac:cxnSpMkLst>
        </pc:cxnChg>
        <pc:cxnChg chg="add del mod ord replST">
          <ac:chgData name="Muchahary, Frankle" userId="0f2bf491-0617-4378-90b8-89af8fa381b9" providerId="ADAL" clId="{90877F19-00D2-4A00-8128-E78E36266C9A}" dt="2023-11-04T01:50:02.938" v="22596"/>
          <ac:cxnSpMkLst>
            <pc:docMk/>
            <pc:sldMk cId="708553223" sldId="317"/>
            <ac:cxnSpMk id="680" creationId="{D7665A3F-5696-F161-1F62-CC9533DBF595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225" v="147411"/>
          <ac:cxnSpMkLst>
            <pc:docMk/>
            <pc:sldMk cId="708553223" sldId="317"/>
            <ac:cxnSpMk id="707" creationId="{D4820B4D-9B7C-2510-5EAD-0EF62DFA8123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224" v="147409"/>
          <ac:cxnSpMkLst>
            <pc:docMk/>
            <pc:sldMk cId="708553223" sldId="317"/>
            <ac:cxnSpMk id="708" creationId="{EBFCB9C1-0B3E-EBD3-0584-CDD6D689DC1F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214" v="147407"/>
          <ac:cxnSpMkLst>
            <pc:docMk/>
            <pc:sldMk cId="708553223" sldId="317"/>
            <ac:cxnSpMk id="709" creationId="{8DBE1CD4-2B70-58D2-D203-BBF62683D1A9}"/>
          </ac:cxnSpMkLst>
        </pc:cxnChg>
        <pc:cxnChg chg="add del mod ord replST">
          <ac:chgData name="Muchahary, Frankle" userId="0f2bf491-0617-4378-90b8-89af8fa381b9" providerId="ADAL" clId="{90877F19-00D2-4A00-8128-E78E36266C9A}" dt="2023-11-04T20:02:19.608" v="80022"/>
          <ac:cxnSpMkLst>
            <pc:docMk/>
            <pc:sldMk cId="708553223" sldId="317"/>
            <ac:cxnSpMk id="738" creationId="{29BC9DEA-33EA-CB93-74E7-472C106DAB20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3" v="65972"/>
          <ac:cxnSpMkLst>
            <pc:docMk/>
            <pc:sldMk cId="708553223" sldId="317"/>
            <ac:cxnSpMk id="817" creationId="{D7D0BAEF-3F0C-04B5-4576-9015874F726F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2" v="65857"/>
          <ac:cxnSpMkLst>
            <pc:docMk/>
            <pc:sldMk cId="708553223" sldId="317"/>
            <ac:cxnSpMk id="818" creationId="{E4BB74E5-3CFE-97A9-5870-EC50B6A0CF96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7" v="65980"/>
          <ac:cxnSpMkLst>
            <pc:docMk/>
            <pc:sldMk cId="708553223" sldId="317"/>
            <ac:cxnSpMk id="819" creationId="{08BD8B10-B1D7-2DE6-F6DD-60750755E362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1" v="65854"/>
          <ac:cxnSpMkLst>
            <pc:docMk/>
            <pc:sldMk cId="708553223" sldId="317"/>
            <ac:cxnSpMk id="820" creationId="{93A1C2F5-E149-791B-94C9-3CFD63DDB596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7" v="65982"/>
          <ac:cxnSpMkLst>
            <pc:docMk/>
            <pc:sldMk cId="708553223" sldId="317"/>
            <ac:cxnSpMk id="821" creationId="{4089E89E-9915-3E48-C033-AD031B07AE36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0" v="65851"/>
          <ac:cxnSpMkLst>
            <pc:docMk/>
            <pc:sldMk cId="708553223" sldId="317"/>
            <ac:cxnSpMk id="822" creationId="{FD31A7C6-35AD-BCD6-B988-8508CBC62525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8" v="65984"/>
          <ac:cxnSpMkLst>
            <pc:docMk/>
            <pc:sldMk cId="708553223" sldId="317"/>
            <ac:cxnSpMk id="823" creationId="{68285E50-FACC-4C6C-AD55-927088540C8B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49" v="65848"/>
          <ac:cxnSpMkLst>
            <pc:docMk/>
            <pc:sldMk cId="708553223" sldId="317"/>
            <ac:cxnSpMk id="824" creationId="{63A8DFE5-9298-7E07-605F-0CA20DEA58B9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9" v="65986"/>
          <ac:cxnSpMkLst>
            <pc:docMk/>
            <pc:sldMk cId="708553223" sldId="317"/>
            <ac:cxnSpMk id="825" creationId="{A680295A-00CD-C6A9-20B7-016A407A937D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6" v="65978"/>
          <ac:cxnSpMkLst>
            <pc:docMk/>
            <pc:sldMk cId="708553223" sldId="317"/>
            <ac:cxnSpMk id="830" creationId="{97754946-7332-06B2-AE11-338AFE1980B1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8" v="65869"/>
          <ac:cxnSpMkLst>
            <pc:docMk/>
            <pc:sldMk cId="708553223" sldId="317"/>
            <ac:cxnSpMk id="840" creationId="{7803F93F-9C29-CBB0-41C3-1E5802BCB0C1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4" v="65974"/>
          <ac:cxnSpMkLst>
            <pc:docMk/>
            <pc:sldMk cId="708553223" sldId="317"/>
            <ac:cxnSpMk id="841" creationId="{629712D7-4BBC-0F08-DD61-AD5D021FD6ED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7" v="65866"/>
          <ac:cxnSpMkLst>
            <pc:docMk/>
            <pc:sldMk cId="708553223" sldId="317"/>
            <ac:cxnSpMk id="842" creationId="{3E409F57-5956-5C1E-A2C6-6FF211B43E72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5" v="65863"/>
          <ac:cxnSpMkLst>
            <pc:docMk/>
            <pc:sldMk cId="708553223" sldId="317"/>
            <ac:cxnSpMk id="843" creationId="{B0AACF9D-C0C5-3195-BBA2-C2F04B0775B0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8.115" v="65976"/>
          <ac:cxnSpMkLst>
            <pc:docMk/>
            <pc:sldMk cId="708553223" sldId="317"/>
            <ac:cxnSpMk id="844" creationId="{D6E5DB67-75D5-9385-FE70-F48AE522B3FB}"/>
          </ac:cxnSpMkLst>
        </pc:cxnChg>
        <pc:cxnChg chg="add del mod ord replST">
          <ac:chgData name="Muchahary, Frankle" userId="0f2bf491-0617-4378-90b8-89af8fa381b9" providerId="ADAL" clId="{90877F19-00D2-4A00-8128-E78E36266C9A}" dt="2023-11-04T19:51:17.954" v="65860"/>
          <ac:cxnSpMkLst>
            <pc:docMk/>
            <pc:sldMk cId="708553223" sldId="317"/>
            <ac:cxnSpMk id="845" creationId="{689BC489-CE02-5FD9-DF18-DE9C834DAB28}"/>
          </ac:cxnSpMkLst>
        </pc:cxnChg>
        <pc:cxnChg chg="add del mod">
          <ac:chgData name="Muchahary, Frankle" userId="0f2bf491-0617-4378-90b8-89af8fa381b9" providerId="ADAL" clId="{90877F19-00D2-4A00-8128-E78E36266C9A}" dt="2023-11-04T02:03:37.670" v="34187" actId="478"/>
          <ac:cxnSpMkLst>
            <pc:docMk/>
            <pc:sldMk cId="708553223" sldId="317"/>
            <ac:cxnSpMk id="877" creationId="{0CF03E36-0432-758B-1508-EF09ABF6D6A9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2" v="170882"/>
          <ac:cxnSpMkLst>
            <pc:docMk/>
            <pc:sldMk cId="708553223" sldId="317"/>
            <ac:cxnSpMk id="879" creationId="{195BA305-B8EB-056D-7ADB-F6AE37BE1599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60" v="118236"/>
          <ac:cxnSpMkLst>
            <pc:docMk/>
            <pc:sldMk cId="708553223" sldId="317"/>
            <ac:cxnSpMk id="880" creationId="{486672CB-A7AC-2039-B2AC-9B4B789037F6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6" v="69759"/>
          <ac:cxnSpMkLst>
            <pc:docMk/>
            <pc:sldMk cId="708553223" sldId="317"/>
            <ac:cxnSpMk id="881" creationId="{73370BFA-A61E-8678-FD66-E081E0DB1E54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5" v="69756"/>
          <ac:cxnSpMkLst>
            <pc:docMk/>
            <pc:sldMk cId="708553223" sldId="317"/>
            <ac:cxnSpMk id="882" creationId="{43237BD7-A3FE-ECF1-24F4-0C1859990011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4" v="69753"/>
          <ac:cxnSpMkLst>
            <pc:docMk/>
            <pc:sldMk cId="708553223" sldId="317"/>
            <ac:cxnSpMk id="883" creationId="{C54B7B89-8E12-13ED-E8F9-BFBF1E56A1DB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2" v="69750"/>
          <ac:cxnSpMkLst>
            <pc:docMk/>
            <pc:sldMk cId="708553223" sldId="317"/>
            <ac:cxnSpMk id="884" creationId="{0488E340-AD22-238D-F049-7A348861DC62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1" v="69747"/>
          <ac:cxnSpMkLst>
            <pc:docMk/>
            <pc:sldMk cId="708553223" sldId="317"/>
            <ac:cxnSpMk id="885" creationId="{221280AD-2CC9-84C5-EFAA-1FA3555B5044}"/>
          </ac:cxnSpMkLst>
        </pc:cxnChg>
        <pc:cxnChg chg="add del mod">
          <ac:chgData name="Muchahary, Frankle" userId="0f2bf491-0617-4378-90b8-89af8fa381b9" providerId="ADAL" clId="{90877F19-00D2-4A00-8128-E78E36266C9A}" dt="2023-11-04T02:04:46.765" v="34394" actId="478"/>
          <ac:cxnSpMkLst>
            <pc:docMk/>
            <pc:sldMk cId="708553223" sldId="317"/>
            <ac:cxnSpMk id="885" creationId="{CAD530F3-0DBE-8F99-E887-3DC9688D951E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3" v="118221"/>
          <ac:cxnSpMkLst>
            <pc:docMk/>
            <pc:sldMk cId="708553223" sldId="317"/>
            <ac:cxnSpMk id="886" creationId="{83DC6594-EA87-264B-3E5D-212C7196566B}"/>
          </ac:cxnSpMkLst>
        </pc:cxnChg>
        <pc:cxnChg chg="add del mod ord replST">
          <ac:chgData name="Muchahary, Frankle" userId="0f2bf491-0617-4378-90b8-89af8fa381b9" providerId="ADAL" clId="{90877F19-00D2-4A00-8128-E78E36266C9A}" dt="2023-11-04T19:59:08.370" v="69744"/>
          <ac:cxnSpMkLst>
            <pc:docMk/>
            <pc:sldMk cId="708553223" sldId="317"/>
            <ac:cxnSpMk id="887" creationId="{D3B4382C-B1E5-68DF-9BFD-F59010D6DC5F}"/>
          </ac:cxnSpMkLst>
        </pc:cxnChg>
        <pc:cxnChg chg="add del mod ord">
          <ac:chgData name="Muchahary, Frankle" userId="0f2bf491-0617-4378-90b8-89af8fa381b9" providerId="ADAL" clId="{90877F19-00D2-4A00-8128-E78E36266C9A}" dt="2023-11-04T02:05:39.341" v="34858" actId="478"/>
          <ac:cxnSpMkLst>
            <pc:docMk/>
            <pc:sldMk cId="708553223" sldId="317"/>
            <ac:cxnSpMk id="889" creationId="{C7D87DD1-E66B-9F37-0533-A8716B7A52CB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2" v="170884"/>
          <ac:cxnSpMkLst>
            <pc:docMk/>
            <pc:sldMk cId="708553223" sldId="317"/>
            <ac:cxnSpMk id="899" creationId="{7547925C-85F6-4563-01FA-08F412BC79E7}"/>
          </ac:cxnSpMkLst>
        </pc:cxnChg>
        <pc:cxnChg chg="add del mod">
          <ac:chgData name="Muchahary, Frankle" userId="0f2bf491-0617-4378-90b8-89af8fa381b9" providerId="ADAL" clId="{90877F19-00D2-4A00-8128-E78E36266C9A}" dt="2023-11-04T02:07:58.408" v="34882" actId="11529"/>
          <ac:cxnSpMkLst>
            <pc:docMk/>
            <pc:sldMk cId="708553223" sldId="317"/>
            <ac:cxnSpMk id="900" creationId="{7D624DDD-1F65-53E6-9CED-356B17648578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2" v="170886"/>
          <ac:cxnSpMkLst>
            <pc:docMk/>
            <pc:sldMk cId="708553223" sldId="317"/>
            <ac:cxnSpMk id="900" creationId="{BC68FA98-686A-C89B-94DF-6CE3B958C8BC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3" v="170888"/>
          <ac:cxnSpMkLst>
            <pc:docMk/>
            <pc:sldMk cId="708553223" sldId="317"/>
            <ac:cxnSpMk id="901" creationId="{59A769DB-CE42-C7E7-E276-26C2B6A1C250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5" v="170892"/>
          <ac:cxnSpMkLst>
            <pc:docMk/>
            <pc:sldMk cId="708553223" sldId="317"/>
            <ac:cxnSpMk id="902" creationId="{4F21A809-A150-26CD-A4A6-BDC08729E49A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6" v="170896"/>
          <ac:cxnSpMkLst>
            <pc:docMk/>
            <pc:sldMk cId="708553223" sldId="317"/>
            <ac:cxnSpMk id="903" creationId="{42E7041E-585F-31C2-C363-2E859CB873C7}"/>
          </ac:cxnSpMkLst>
        </pc:cxnChg>
        <pc:cxnChg chg="add del mod">
          <ac:chgData name="Muchahary, Frankle" userId="0f2bf491-0617-4378-90b8-89af8fa381b9" providerId="ADAL" clId="{90877F19-00D2-4A00-8128-E78E36266C9A}" dt="2023-11-04T02:09:17.318" v="34939" actId="478"/>
          <ac:cxnSpMkLst>
            <pc:docMk/>
            <pc:sldMk cId="708553223" sldId="317"/>
            <ac:cxnSpMk id="903" creationId="{7088F719-DF99-7B66-3D81-0E363AF32EEC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7" v="170900"/>
          <ac:cxnSpMkLst>
            <pc:docMk/>
            <pc:sldMk cId="708553223" sldId="317"/>
            <ac:cxnSpMk id="904" creationId="{BF6EDA26-14B3-18CB-DCC6-AF040222EBA7}"/>
          </ac:cxnSpMkLst>
        </pc:cxnChg>
        <pc:cxnChg chg="add mod ord replST">
          <ac:chgData name="Muchahary, Frankle" userId="0f2bf491-0617-4378-90b8-89af8fa381b9" providerId="ADAL" clId="{90877F19-00D2-4A00-8128-E78E36266C9A}" dt="2023-11-08T07:17:14.017" v="170902"/>
          <ac:cxnSpMkLst>
            <pc:docMk/>
            <pc:sldMk cId="708553223" sldId="317"/>
            <ac:cxnSpMk id="905" creationId="{383FA527-E839-B8F3-99CC-D711392598CC}"/>
          </ac:cxnSpMkLst>
        </pc:cxnChg>
        <pc:cxnChg chg="add del mod">
          <ac:chgData name="Muchahary, Frankle" userId="0f2bf491-0617-4378-90b8-89af8fa381b9" providerId="ADAL" clId="{90877F19-00D2-4A00-8128-E78E36266C9A}" dt="2023-11-04T02:08:51.841" v="34906" actId="11529"/>
          <ac:cxnSpMkLst>
            <pc:docMk/>
            <pc:sldMk cId="708553223" sldId="317"/>
            <ac:cxnSpMk id="909" creationId="{CDB851D4-6E1E-AE2A-7B10-83311967464B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16" creationId="{CF4B4D30-C099-4D6E-C754-9B2D5139CAC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18" creationId="{B568B173-82E8-6BE5-A8A8-17F0FFF8933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19" creationId="{D845A3CF-6017-C510-A21D-58E1B02C059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0" creationId="{95EAE240-4C49-0B35-F304-FED47E39B109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1" creationId="{317228EA-C393-EF4A-85B2-CBD638B04CF2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2" creationId="{4E897341-FF8F-71E7-949D-BF29A7796E7E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3" creationId="{7CAF4412-9BEE-32BB-D384-481928D79DF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4" creationId="{EFF2283D-839E-2032-C6A7-510047089EBA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5" creationId="{707CF168-CD66-9B73-1BD8-63DDE4B36C01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6" creationId="{25258487-E572-7AE0-FAC1-9DC82E305027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7" creationId="{83F8EC0F-2539-329A-7415-38603835F054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8" creationId="{08A4B164-32A4-EC78-55A2-AC4ACB763173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29" creationId="{96FDE898-E8F7-E556-303F-45B7EE02CF2C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30" creationId="{E39F926A-05AE-E44D-2366-F1B181FD82C5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31" creationId="{2FEF4745-20A9-76DD-6C1A-616D6A8F5AA5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32" creationId="{373677B4-0331-AB63-2506-C91E1B52833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33" creationId="{36235C80-FC76-82D4-B74A-43A0D5CCD9E9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8:58:13.024" v="50894"/>
          <ac:cxnSpMkLst>
            <pc:docMk/>
            <pc:sldMk cId="708553223" sldId="317"/>
            <ac:cxnSpMk id="934" creationId="{C8977A94-99E6-6884-3ABA-7B619F037803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11" v="170880"/>
          <ac:cxnSpMkLst>
            <pc:docMk/>
            <pc:sldMk cId="708553223" sldId="317"/>
            <ac:cxnSpMk id="961" creationId="{E26E4EDA-FD45-8F88-C0FA-0AF94C4C7FDD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61" v="118239"/>
          <ac:cxnSpMkLst>
            <pc:docMk/>
            <pc:sldMk cId="708553223" sldId="317"/>
            <ac:cxnSpMk id="962" creationId="{48666928-D354-9856-923C-D38BA62D872D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13" v="170890"/>
          <ac:cxnSpMkLst>
            <pc:docMk/>
            <pc:sldMk cId="708553223" sldId="317"/>
            <ac:cxnSpMk id="963" creationId="{975685F2-5171-9994-B401-8B9584B787B5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15" v="170894"/>
          <ac:cxnSpMkLst>
            <pc:docMk/>
            <pc:sldMk cId="708553223" sldId="317"/>
            <ac:cxnSpMk id="964" creationId="{1E63183F-91CA-232F-1FE1-6CED52C639B4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8" v="118233"/>
          <ac:cxnSpMkLst>
            <pc:docMk/>
            <pc:sldMk cId="708553223" sldId="317"/>
            <ac:cxnSpMk id="965" creationId="{C1FDF221-FF9E-E1CE-186B-46029379F42C}"/>
          </ac:cxnSpMkLst>
        </pc:cxnChg>
        <pc:cxnChg chg="add del mod ord replST">
          <ac:chgData name="Muchahary, Frankle" userId="0f2bf491-0617-4378-90b8-89af8fa381b9" providerId="ADAL" clId="{90877F19-00D2-4A00-8128-E78E36266C9A}" dt="2023-11-08T07:17:14.016" v="170898"/>
          <ac:cxnSpMkLst>
            <pc:docMk/>
            <pc:sldMk cId="708553223" sldId="317"/>
            <ac:cxnSpMk id="966" creationId="{6D25848C-94BC-3BDD-477D-ABE4DD26A63A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7" v="118230"/>
          <ac:cxnSpMkLst>
            <pc:docMk/>
            <pc:sldMk cId="708553223" sldId="317"/>
            <ac:cxnSpMk id="967" creationId="{D2A1B230-E53D-1435-DA30-CD08D8E7DF07}"/>
          </ac:cxnSpMkLst>
        </pc:cxnChg>
        <pc:cxnChg chg="add del mod ord replST">
          <ac:chgData name="Muchahary, Frankle" userId="0f2bf491-0617-4378-90b8-89af8fa381b9" providerId="ADAL" clId="{90877F19-00D2-4A00-8128-E78E36266C9A}" dt="2023-11-04T20:02:16.614" v="79735"/>
          <ac:cxnSpMkLst>
            <pc:docMk/>
            <pc:sldMk cId="708553223" sldId="317"/>
            <ac:cxnSpMk id="968" creationId="{F0DF0E46-5F4B-E41E-26BE-99B9EA67E56F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2" v="147474"/>
          <ac:cxnSpMkLst>
            <pc:docMk/>
            <pc:sldMk cId="708553223" sldId="317"/>
            <ac:cxnSpMk id="969" creationId="{0445CF0A-47BD-D82A-E18C-3AA009836CBD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5" v="118224"/>
          <ac:cxnSpMkLst>
            <pc:docMk/>
            <pc:sldMk cId="708553223" sldId="317"/>
            <ac:cxnSpMk id="970" creationId="{F0ADCB72-0B52-9C51-D8B6-06F357735373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1" v="147471"/>
          <ac:cxnSpMkLst>
            <pc:docMk/>
            <pc:sldMk cId="708553223" sldId="317"/>
            <ac:cxnSpMk id="971" creationId="{48AE52CF-7A73-4669-DC18-71D0B619B646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0" v="147468"/>
          <ac:cxnSpMkLst>
            <pc:docMk/>
            <pc:sldMk cId="708553223" sldId="317"/>
            <ac:cxnSpMk id="972" creationId="{15B77313-D2B7-9187-2E41-72F882A0E77D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2" v="118218"/>
          <ac:cxnSpMkLst>
            <pc:docMk/>
            <pc:sldMk cId="708553223" sldId="317"/>
            <ac:cxnSpMk id="973" creationId="{79F6A072-22AA-E830-3CDF-AE650D450E8A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995" creationId="{C2AB4E9A-2DA8-1769-2ACA-E7518024C882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996" creationId="{80645F4B-DF08-5D65-B4C5-8386F933CD68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997" creationId="{42D7EEB1-2C66-7495-D3B0-9FBAA2AD836D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998" creationId="{7B8A9608-F026-3D0A-1D4D-17E19DB02F5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999" creationId="{913D837A-F04E-3A59-1BD4-98A4BA8C6E66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0" creationId="{B551403B-0A23-DD7E-28E6-A7ADF3124875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1" creationId="{229BA7D1-8D43-7EAE-BBAB-AB623B3D1A8B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2" creationId="{9DF7B675-8BB2-B90E-7939-B0A676532F81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3" creationId="{4D0805F2-264C-916C-88BE-5AC1A5A40253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4" creationId="{86C60509-A08F-F120-0585-941399CA5C07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5" creationId="{533E54E5-9914-4547-F1C6-DA5BAF1325FA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6" creationId="{92DCF51A-13D7-5557-1459-C45ACCAAD8C5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7" creationId="{5D408992-01B6-2F7A-E3D4-4B7B263EBD28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8" creationId="{176B7073-6A15-2E85-449A-E250FA9F01C0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09" creationId="{9DE279B4-835C-48F4-BEEE-55A737D66D32}"/>
          </ac:cxnSpMkLst>
        </pc:cxnChg>
        <pc:cxnChg chg="add del mod ord replST delST">
          <ac:chgData name="Muchahary, Frankle" userId="0f2bf491-0617-4378-90b8-89af8fa381b9" providerId="ADAL" clId="{90877F19-00D2-4A00-8128-E78E36266C9A}" dt="2023-11-04T19:59:34.012" v="74159"/>
          <ac:cxnSpMkLst>
            <pc:docMk/>
            <pc:sldMk cId="708553223" sldId="317"/>
            <ac:cxnSpMk id="1010" creationId="{954ABA03-C9FA-D3C4-247B-FE6779DB2283}"/>
          </ac:cxnSpMkLst>
        </pc:cxnChg>
        <pc:cxnChg chg="add del mod ord replST">
          <ac:chgData name="Muchahary, Frankle" userId="0f2bf491-0617-4378-90b8-89af8fa381b9" providerId="ADAL" clId="{90877F19-00D2-4A00-8128-E78E36266C9A}" dt="2023-11-04T20:32:34.756" v="118227"/>
          <ac:cxnSpMkLst>
            <pc:docMk/>
            <pc:sldMk cId="708553223" sldId="317"/>
            <ac:cxnSpMk id="1123" creationId="{C7FD8D38-31B9-6F7D-E3DC-4305D9F0695A}"/>
          </ac:cxnSpMkLst>
        </pc:cxnChg>
        <pc:cxnChg chg="add del mod ord replST">
          <ac:chgData name="Muchahary, Frankle" userId="0f2bf491-0617-4378-90b8-89af8fa381b9" providerId="ADAL" clId="{90877F19-00D2-4A00-8128-E78E36266C9A}" dt="2023-11-04T20:24:38.007" v="111695"/>
          <ac:cxnSpMkLst>
            <pc:docMk/>
            <pc:sldMk cId="708553223" sldId="317"/>
            <ac:cxnSpMk id="1582" creationId="{F15E47CD-CB33-AB1E-EB79-C91ABD9F7B0D}"/>
          </ac:cxnSpMkLst>
        </pc:cxnChg>
        <pc:cxnChg chg="add del mod ord replST">
          <ac:chgData name="Muchahary, Frankle" userId="0f2bf491-0617-4378-90b8-89af8fa381b9" providerId="ADAL" clId="{90877F19-00D2-4A00-8128-E78E36266C9A}" dt="2023-11-04T20:24:58.161" v="112509"/>
          <ac:cxnSpMkLst>
            <pc:docMk/>
            <pc:sldMk cId="708553223" sldId="317"/>
            <ac:cxnSpMk id="1594" creationId="{31C81B87-A20D-5F40-DC73-FA8805CE7B7E}"/>
          </ac:cxnSpMkLst>
        </pc:cxnChg>
        <pc:cxnChg chg="add del mod ord replST">
          <ac:chgData name="Muchahary, Frankle" userId="0f2bf491-0617-4378-90b8-89af8fa381b9" providerId="ADAL" clId="{90877F19-00D2-4A00-8128-E78E36266C9A}" dt="2023-11-04T20:25:09.674" v="112771"/>
          <ac:cxnSpMkLst>
            <pc:docMk/>
            <pc:sldMk cId="708553223" sldId="317"/>
            <ac:cxnSpMk id="1595" creationId="{B4D9311F-C270-8889-AD17-652117614CC3}"/>
          </ac:cxnSpMkLst>
        </pc:cxnChg>
        <pc:cxnChg chg="add del mod ord replST">
          <ac:chgData name="Muchahary, Frankle" userId="0f2bf491-0617-4378-90b8-89af8fa381b9" providerId="ADAL" clId="{90877F19-00D2-4A00-8128-E78E36266C9A}" dt="2023-11-04T20:26:59.312" v="113151"/>
          <ac:cxnSpMkLst>
            <pc:docMk/>
            <pc:sldMk cId="708553223" sldId="317"/>
            <ac:cxnSpMk id="1601" creationId="{BB7AE3BC-118A-E570-77D2-AEDD3A01A990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4" v="147480"/>
          <ac:cxnSpMkLst>
            <pc:docMk/>
            <pc:sldMk cId="708553223" sldId="317"/>
            <ac:cxnSpMk id="1664" creationId="{8C85B247-F3B8-0EB0-4836-A6BB7F398B3C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3" v="147477"/>
          <ac:cxnSpMkLst>
            <pc:docMk/>
            <pc:sldMk cId="708553223" sldId="317"/>
            <ac:cxnSpMk id="1665" creationId="{8C62BE67-3A9D-385D-CECC-CED943F28773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39" v="147465"/>
          <ac:cxnSpMkLst>
            <pc:docMk/>
            <pc:sldMk cId="708553223" sldId="317"/>
            <ac:cxnSpMk id="1670" creationId="{92FECAC1-8555-711B-D942-DC0CC429F7F2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5" v="147486"/>
          <ac:cxnSpMkLst>
            <pc:docMk/>
            <pc:sldMk cId="708553223" sldId="317"/>
            <ac:cxnSpMk id="1675" creationId="{87599269-BA68-963B-4EF3-931B0C145A13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40.345" v="147483"/>
          <ac:cxnSpMkLst>
            <pc:docMk/>
            <pc:sldMk cId="708553223" sldId="317"/>
            <ac:cxnSpMk id="1676" creationId="{3A8FAA57-9197-5D81-7B64-14660908E38D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88" v="148773"/>
          <ac:cxnSpMkLst>
            <pc:docMk/>
            <pc:sldMk cId="708553223" sldId="317"/>
            <ac:cxnSpMk id="1678" creationId="{57C5A4FE-E420-F4E6-AF1E-31D67758A202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87" v="148771"/>
          <ac:cxnSpMkLst>
            <pc:docMk/>
            <pc:sldMk cId="708553223" sldId="317"/>
            <ac:cxnSpMk id="1679" creationId="{A5023766-BB15-51B1-909E-29B01F05CF9D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1" v="148779"/>
          <ac:cxnSpMkLst>
            <pc:docMk/>
            <pc:sldMk cId="708553223" sldId="317"/>
            <ac:cxnSpMk id="1680" creationId="{64320CC5-3160-80F2-5F6E-025CDADDA492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0" v="148777"/>
          <ac:cxnSpMkLst>
            <pc:docMk/>
            <pc:sldMk cId="708553223" sldId="317"/>
            <ac:cxnSpMk id="1681" creationId="{B4644024-8382-A0F6-BDC6-4419044A9A98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88" v="148775"/>
          <ac:cxnSpMkLst>
            <pc:docMk/>
            <pc:sldMk cId="708553223" sldId="317"/>
            <ac:cxnSpMk id="1682" creationId="{C8892A6B-DA27-CEEB-3704-54DBF8B53825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2" v="148785"/>
          <ac:cxnSpMkLst>
            <pc:docMk/>
            <pc:sldMk cId="708553223" sldId="317"/>
            <ac:cxnSpMk id="1683" creationId="{6B3BB417-FFA2-2A35-F45A-35A5D887BBC9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2" v="148783"/>
          <ac:cxnSpMkLst>
            <pc:docMk/>
            <pc:sldMk cId="708553223" sldId="317"/>
            <ac:cxnSpMk id="1684" creationId="{9841B74B-EA7E-60D9-3EB5-8A76A4781F25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1" v="148781"/>
          <ac:cxnSpMkLst>
            <pc:docMk/>
            <pc:sldMk cId="708553223" sldId="317"/>
            <ac:cxnSpMk id="1685" creationId="{57DB82F4-BED1-ECE8-2B70-4A70A66C4BA1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4" v="148791"/>
          <ac:cxnSpMkLst>
            <pc:docMk/>
            <pc:sldMk cId="708553223" sldId="317"/>
            <ac:cxnSpMk id="1686" creationId="{EC07D800-E3E8-A0AD-B094-AF42AF0E90B1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4" v="148789"/>
          <ac:cxnSpMkLst>
            <pc:docMk/>
            <pc:sldMk cId="708553223" sldId="317"/>
            <ac:cxnSpMk id="1687" creationId="{F54EFD62-445A-FA05-279A-9592C8923910}"/>
          </ac:cxnSpMkLst>
        </pc:cxnChg>
        <pc:cxnChg chg="add del mod ord replST">
          <ac:chgData name="Muchahary, Frankle" userId="0f2bf491-0617-4378-90b8-89af8fa381b9" providerId="ADAL" clId="{90877F19-00D2-4A00-8128-E78E36266C9A}" dt="2023-11-05T18:08:50.793" v="148787"/>
          <ac:cxnSpMkLst>
            <pc:docMk/>
            <pc:sldMk cId="708553223" sldId="317"/>
            <ac:cxnSpMk id="1688" creationId="{56D62BC7-10A8-3B49-F48F-297EFD5B6731}"/>
          </ac:cxnSpMkLst>
        </pc:cxnChg>
      </pc:sldChg>
      <pc:sldChg chg="modSp add mod">
        <pc:chgData name="Muchahary, Frankle" userId="0f2bf491-0617-4378-90b8-89af8fa381b9" providerId="ADAL" clId="{90877F19-00D2-4A00-8128-E78E36266C9A}" dt="2023-11-08T21:57:37.295" v="181084"/>
        <pc:sldMkLst>
          <pc:docMk/>
          <pc:sldMk cId="890081163" sldId="317"/>
        </pc:sldMkLst>
        <pc:graphicFrameChg chg="mod">
          <ac:chgData name="Muchahary, Frankle" userId="0f2bf491-0617-4378-90b8-89af8fa381b9" providerId="ADAL" clId="{90877F19-00D2-4A00-8128-E78E36266C9A}" dt="2023-11-08T21:57:37.295" v="181084"/>
          <ac:graphicFrameMkLst>
            <pc:docMk/>
            <pc:sldMk cId="890081163" sldId="317"/>
            <ac:graphicFrameMk id="4" creationId="{FD4A65FB-339A-B2BC-4155-257FFC3BBBB9}"/>
          </ac:graphicFrameMkLst>
        </pc:graphicFrameChg>
      </pc:sldChg>
      <pc:sldChg chg="addSp delSp modSp add del mod modClrScheme chgLayout">
        <pc:chgData name="Muchahary, Frankle" userId="0f2bf491-0617-4378-90b8-89af8fa381b9" providerId="ADAL" clId="{90877F19-00D2-4A00-8128-E78E36266C9A}" dt="2023-11-08T05:47:38.590" v="163045" actId="47"/>
        <pc:sldMkLst>
          <pc:docMk/>
          <pc:sldMk cId="2676058872" sldId="318"/>
        </pc:sldMkLst>
        <pc:spChg chg="add mod">
          <ac:chgData name="Muchahary, Frankle" userId="0f2bf491-0617-4378-90b8-89af8fa381b9" providerId="ADAL" clId="{90877F19-00D2-4A00-8128-E78E36266C9A}" dt="2023-11-04T01:33:40.081" v="17792" actId="404"/>
          <ac:spMkLst>
            <pc:docMk/>
            <pc:sldMk cId="2676058872" sldId="318"/>
            <ac:spMk id="3" creationId="{8687EBA4-6BA1-4A66-B91C-3A3B7AD7F1DF}"/>
          </ac:spMkLst>
        </pc:spChg>
        <pc:spChg chg="del mod ord">
          <ac:chgData name="Muchahary, Frankle" userId="0f2bf491-0617-4378-90b8-89af8fa381b9" providerId="ADAL" clId="{90877F19-00D2-4A00-8128-E78E36266C9A}" dt="2023-11-04T01:32:46.634" v="17728" actId="478"/>
          <ac:spMkLst>
            <pc:docMk/>
            <pc:sldMk cId="2676058872" sldId="318"/>
            <ac:spMk id="406" creationId="{00000000-0000-0000-0000-000000000000}"/>
          </ac:spMkLst>
        </pc:spChg>
        <pc:spChg chg="mod ord">
          <ac:chgData name="Muchahary, Frankle" userId="0f2bf491-0617-4378-90b8-89af8fa381b9" providerId="ADAL" clId="{90877F19-00D2-4A00-8128-E78E36266C9A}" dt="2023-11-04T03:23:28.066" v="44138" actId="207"/>
          <ac:spMkLst>
            <pc:docMk/>
            <pc:sldMk cId="2676058872" sldId="318"/>
            <ac:spMk id="407" creationId="{00000000-0000-0000-0000-000000000000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4T03:23:28.597" v="44142"/>
          <ac:graphicFrameMkLst>
            <pc:docMk/>
            <pc:sldMk cId="2676058872" sldId="318"/>
            <ac:graphicFrameMk id="2" creationId="{AD821E07-0C78-9EAC-03E8-B886F21594F7}"/>
          </ac:graphicFrameMkLst>
        </pc:graphicFrameChg>
      </pc:sldChg>
      <pc:sldChg chg="addSp delSp modSp add del mod">
        <pc:chgData name="Muchahary, Frankle" userId="0f2bf491-0617-4378-90b8-89af8fa381b9" providerId="ADAL" clId="{90877F19-00D2-4A00-8128-E78E36266C9A}" dt="2023-11-08T05:47:27.077" v="163044" actId="47"/>
        <pc:sldMkLst>
          <pc:docMk/>
          <pc:sldMk cId="2404987394" sldId="319"/>
        </pc:sldMkLst>
        <pc:spChg chg="add mod">
          <ac:chgData name="Muchahary, Frankle" userId="0f2bf491-0617-4378-90b8-89af8fa381b9" providerId="ADAL" clId="{90877F19-00D2-4A00-8128-E78E36266C9A}" dt="2023-11-04T01:43:49.800" v="18275" actId="1076"/>
          <ac:spMkLst>
            <pc:docMk/>
            <pc:sldMk cId="2404987394" sldId="319"/>
            <ac:spMk id="2" creationId="{CC0B6CEC-A22E-19A2-EE7C-2E7B86A70B56}"/>
          </ac:spMkLst>
        </pc:spChg>
        <pc:spChg chg="add del mod">
          <ac:chgData name="Muchahary, Frankle" userId="0f2bf491-0617-4378-90b8-89af8fa381b9" providerId="ADAL" clId="{90877F19-00D2-4A00-8128-E78E36266C9A}" dt="2023-11-04T01:34:33.880" v="17904" actId="478"/>
          <ac:spMkLst>
            <pc:docMk/>
            <pc:sldMk cId="2404987394" sldId="319"/>
            <ac:spMk id="4" creationId="{E155C758-C108-92C7-0B2A-20AF05390E5F}"/>
          </ac:spMkLst>
        </pc:spChg>
        <pc:spChg chg="mod">
          <ac:chgData name="Muchahary, Frankle" userId="0f2bf491-0617-4378-90b8-89af8fa381b9" providerId="ADAL" clId="{90877F19-00D2-4A00-8128-E78E36266C9A}" dt="2023-11-04T01:35:20.544" v="17948"/>
          <ac:spMkLst>
            <pc:docMk/>
            <pc:sldMk cId="2404987394" sldId="319"/>
            <ac:spMk id="406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4:30.531" v="17886" actId="478"/>
          <ac:spMkLst>
            <pc:docMk/>
            <pc:sldMk cId="2404987394" sldId="319"/>
            <ac:spMk id="407" creationId="{00000000-0000-0000-0000-000000000000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8T05:46:46.214" v="163041" actId="1076"/>
          <ac:graphicFrameMkLst>
            <pc:docMk/>
            <pc:sldMk cId="2404987394" sldId="319"/>
            <ac:graphicFrameMk id="5" creationId="{F23C8DCB-A6CB-2BCB-98EB-507000458B68}"/>
          </ac:graphicFrameMkLst>
        </pc:graphicFrameChg>
      </pc:sldChg>
      <pc:sldChg chg="addSp delSp modSp mod modAnim">
        <pc:chgData name="Muchahary, Frankle" userId="0f2bf491-0617-4378-90b8-89af8fa381b9" providerId="ADAL" clId="{90877F19-00D2-4A00-8128-E78E36266C9A}" dt="2023-11-08T06:11:02.158" v="163811" actId="20577"/>
        <pc:sldMkLst>
          <pc:docMk/>
          <pc:sldMk cId="3941455084" sldId="320"/>
        </pc:sldMkLst>
        <pc:spChg chg="del mod">
          <ac:chgData name="Muchahary, Frankle" userId="0f2bf491-0617-4378-90b8-89af8fa381b9" providerId="ADAL" clId="{90877F19-00D2-4A00-8128-E78E36266C9A}" dt="2023-11-05T04:57:37.192" v="145584" actId="478"/>
          <ac:spMkLst>
            <pc:docMk/>
            <pc:sldMk cId="3941455084" sldId="320"/>
            <ac:spMk id="7" creationId="{4DD0EA55-226D-C5C2-0445-4E8EC91322C9}"/>
          </ac:spMkLst>
        </pc:spChg>
        <pc:spChg chg="mod">
          <ac:chgData name="Muchahary, Frankle" userId="0f2bf491-0617-4378-90b8-89af8fa381b9" providerId="ADAL" clId="{90877F19-00D2-4A00-8128-E78E36266C9A}" dt="2023-11-08T06:11:02.158" v="163811" actId="20577"/>
          <ac:spMkLst>
            <pc:docMk/>
            <pc:sldMk cId="3941455084" sldId="320"/>
            <ac:spMk id="8" creationId="{787CE212-0208-DF77-15E2-B8A9CB0C67C5}"/>
          </ac:spMkLst>
        </pc:spChg>
        <pc:spChg chg="del mod">
          <ac:chgData name="Muchahary, Frankle" userId="0f2bf491-0617-4378-90b8-89af8fa381b9" providerId="ADAL" clId="{90877F19-00D2-4A00-8128-E78E36266C9A}" dt="2023-11-05T04:57:01.038" v="145570" actId="478"/>
          <ac:spMkLst>
            <pc:docMk/>
            <pc:sldMk cId="3941455084" sldId="320"/>
            <ac:spMk id="11" creationId="{CB8F8AB1-D22B-76E6-B122-0AE820DDEE58}"/>
          </ac:spMkLst>
        </pc:spChg>
        <pc:spChg chg="del mod topLvl">
          <ac:chgData name="Muchahary, Frankle" userId="0f2bf491-0617-4378-90b8-89af8fa381b9" providerId="ADAL" clId="{90877F19-00D2-4A00-8128-E78E36266C9A}" dt="2023-11-05T05:01:41.208" v="145639" actId="478"/>
          <ac:spMkLst>
            <pc:docMk/>
            <pc:sldMk cId="3941455084" sldId="320"/>
            <ac:spMk id="13" creationId="{12E9C6C2-AF37-D957-662C-422FA2B9668B}"/>
          </ac:spMkLst>
        </pc:spChg>
        <pc:spChg chg="del">
          <ac:chgData name="Muchahary, Frankle" userId="0f2bf491-0617-4378-90b8-89af8fa381b9" providerId="ADAL" clId="{90877F19-00D2-4A00-8128-E78E36266C9A}" dt="2023-11-05T04:57:09.386" v="145573" actId="478"/>
          <ac:spMkLst>
            <pc:docMk/>
            <pc:sldMk cId="3941455084" sldId="320"/>
            <ac:spMk id="15" creationId="{85B459A8-545D-C50D-1976-F84A66156CF0}"/>
          </ac:spMkLst>
        </pc:spChg>
        <pc:spChg chg="del mod">
          <ac:chgData name="Muchahary, Frankle" userId="0f2bf491-0617-4378-90b8-89af8fa381b9" providerId="ADAL" clId="{90877F19-00D2-4A00-8128-E78E36266C9A}" dt="2023-11-05T04:57:32.409" v="145581" actId="478"/>
          <ac:spMkLst>
            <pc:docMk/>
            <pc:sldMk cId="3941455084" sldId="320"/>
            <ac:spMk id="17" creationId="{1AAAAB27-7821-2BEB-C5DE-C54705EE64E6}"/>
          </ac:spMkLst>
        </pc:spChg>
        <pc:spChg chg="del mod">
          <ac:chgData name="Muchahary, Frankle" userId="0f2bf491-0617-4378-90b8-89af8fa381b9" providerId="ADAL" clId="{90877F19-00D2-4A00-8128-E78E36266C9A}" dt="2023-11-05T04:57:30.373" v="145580" actId="478"/>
          <ac:spMkLst>
            <pc:docMk/>
            <pc:sldMk cId="3941455084" sldId="320"/>
            <ac:spMk id="19" creationId="{484C2201-8322-B9EA-4FCA-76FA1EFFE09D}"/>
          </ac:spMkLst>
        </pc:spChg>
        <pc:spChg chg="del mod topLvl">
          <ac:chgData name="Muchahary, Frankle" userId="0f2bf491-0617-4378-90b8-89af8fa381b9" providerId="ADAL" clId="{90877F19-00D2-4A00-8128-E78E36266C9A}" dt="2023-11-05T05:00:32.145" v="145623" actId="478"/>
          <ac:spMkLst>
            <pc:docMk/>
            <pc:sldMk cId="3941455084" sldId="320"/>
            <ac:spMk id="20" creationId="{AE5C8D28-2AFD-05C4-53F8-09CAA8B00A06}"/>
          </ac:spMkLst>
        </pc:spChg>
        <pc:spChg chg="del mod">
          <ac:chgData name="Muchahary, Frankle" userId="0f2bf491-0617-4378-90b8-89af8fa381b9" providerId="ADAL" clId="{90877F19-00D2-4A00-8128-E78E36266C9A}" dt="2023-11-05T04:57:28.248" v="145579" actId="478"/>
          <ac:spMkLst>
            <pc:docMk/>
            <pc:sldMk cId="3941455084" sldId="320"/>
            <ac:spMk id="21" creationId="{EC5E42F1-5496-7AD2-1197-77ED18AF1572}"/>
          </ac:spMkLst>
        </pc:spChg>
        <pc:spChg chg="del mod topLvl">
          <ac:chgData name="Muchahary, Frankle" userId="0f2bf491-0617-4378-90b8-89af8fa381b9" providerId="ADAL" clId="{90877F19-00D2-4A00-8128-E78E36266C9A}" dt="2023-11-05T05:01:38.579" v="145638" actId="478"/>
          <ac:spMkLst>
            <pc:docMk/>
            <pc:sldMk cId="3941455084" sldId="320"/>
            <ac:spMk id="28" creationId="{81604103-407B-B4D9-16FF-9C33AB4F8731}"/>
          </ac:spMkLst>
        </pc:spChg>
        <pc:spChg chg="del mod topLvl">
          <ac:chgData name="Muchahary, Frankle" userId="0f2bf491-0617-4378-90b8-89af8fa381b9" providerId="ADAL" clId="{90877F19-00D2-4A00-8128-E78E36266C9A}" dt="2023-11-05T05:01:34.625" v="145636" actId="478"/>
          <ac:spMkLst>
            <pc:docMk/>
            <pc:sldMk cId="3941455084" sldId="320"/>
            <ac:spMk id="29" creationId="{1E5B9D43-156F-DF9B-F2A5-42BC3890280C}"/>
          </ac:spMkLst>
        </pc:spChg>
        <pc:spChg chg="del mod topLvl">
          <ac:chgData name="Muchahary, Frankle" userId="0f2bf491-0617-4378-90b8-89af8fa381b9" providerId="ADAL" clId="{90877F19-00D2-4A00-8128-E78E36266C9A}" dt="2023-11-05T05:01:32.752" v="145635" actId="478"/>
          <ac:spMkLst>
            <pc:docMk/>
            <pc:sldMk cId="3941455084" sldId="320"/>
            <ac:spMk id="30" creationId="{BF30A98D-CBAE-1E2A-7122-9A897B587B5E}"/>
          </ac:spMkLst>
        </pc:spChg>
        <pc:spChg chg="del mod topLvl">
          <ac:chgData name="Muchahary, Frankle" userId="0f2bf491-0617-4378-90b8-89af8fa381b9" providerId="ADAL" clId="{90877F19-00D2-4A00-8128-E78E36266C9A}" dt="2023-11-05T05:01:27.875" v="145632" actId="478"/>
          <ac:spMkLst>
            <pc:docMk/>
            <pc:sldMk cId="3941455084" sldId="320"/>
            <ac:spMk id="31" creationId="{B3DBBCD5-4EC9-3B63-C251-AAAD0AF42F0D}"/>
          </ac:spMkLst>
        </pc:spChg>
        <pc:spChg chg="del mod topLvl">
          <ac:chgData name="Muchahary, Frankle" userId="0f2bf491-0617-4378-90b8-89af8fa381b9" providerId="ADAL" clId="{90877F19-00D2-4A00-8128-E78E36266C9A}" dt="2023-11-05T05:01:36.626" v="145637" actId="478"/>
          <ac:spMkLst>
            <pc:docMk/>
            <pc:sldMk cId="3941455084" sldId="320"/>
            <ac:spMk id="33" creationId="{81358E12-AD60-BCB4-ED91-2C34CC41EB1F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34" creationId="{5CF1A474-C156-22E3-EA9C-DAEEEA6B7030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35" creationId="{130B9FA9-3215-41F8-9730-D66FF78F5500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36" creationId="{00D77F26-CFFB-C5D4-BF2E-C1BCCEC6A394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37" creationId="{B8332A99-FECF-91F2-87E3-E64A4B21A145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38" creationId="{13CE3DD1-D969-2058-EB9A-D053C04921B2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4" creationId="{D489C6E7-AAD7-10A9-EE68-218C778E067D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" creationId="{B622E691-372E-551E-2C07-2AD0E28DF2B9}"/>
          </ac:spMkLst>
        </pc:spChg>
        <pc:spChg chg="del mod topLvl">
          <ac:chgData name="Muchahary, Frankle" userId="0f2bf491-0617-4378-90b8-89af8fa381b9" providerId="ADAL" clId="{90877F19-00D2-4A00-8128-E78E36266C9A}" dt="2023-11-05T04:57:05.628" v="145571" actId="478"/>
          <ac:spMkLst>
            <pc:docMk/>
            <pc:sldMk cId="3941455084" sldId="320"/>
            <ac:spMk id="47" creationId="{149440DB-2FD6-9E9B-226F-91E10854C85D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8" creationId="{08202A21-6166-3B4E-5E0C-97F65EA95719}"/>
          </ac:spMkLst>
        </pc:spChg>
        <pc:spChg chg="del mod topLvl">
          <ac:chgData name="Muchahary, Frankle" userId="0f2bf491-0617-4378-90b8-89af8fa381b9" providerId="ADAL" clId="{90877F19-00D2-4A00-8128-E78E36266C9A}" dt="2023-11-05T04:57:07.988" v="145572" actId="478"/>
          <ac:spMkLst>
            <pc:docMk/>
            <pc:sldMk cId="3941455084" sldId="320"/>
            <ac:spMk id="49" creationId="{960B564F-14D0-D72F-DEF4-0568091A334A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50" creationId="{8D7281D8-3B60-9891-2DA7-B8D0B3FDE8C9}"/>
          </ac:spMkLst>
        </pc:spChg>
        <pc:spChg chg="del mod topLvl">
          <ac:chgData name="Muchahary, Frankle" userId="0f2bf491-0617-4378-90b8-89af8fa381b9" providerId="ADAL" clId="{90877F19-00D2-4A00-8128-E78E36266C9A}" dt="2023-11-05T04:57:15.252" v="145575" actId="478"/>
          <ac:spMkLst>
            <pc:docMk/>
            <pc:sldMk cId="3941455084" sldId="320"/>
            <ac:spMk id="51" creationId="{F9FCFBD5-9FEE-905A-1D0B-B209A0B37010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52" creationId="{1A4D78E2-0C14-C197-D1C8-DE78C6706B9E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53" creationId="{B6EFA74B-8FD6-EC27-04AE-16DD555AC099}"/>
          </ac:spMkLst>
        </pc:spChg>
        <pc:spChg chg="mod">
          <ac:chgData name="Muchahary, Frankle" userId="0f2bf491-0617-4378-90b8-89af8fa381b9" providerId="ADAL" clId="{90877F19-00D2-4A00-8128-E78E36266C9A}" dt="2023-11-05T04:53:25.964" v="145542" actId="165"/>
          <ac:spMkLst>
            <pc:docMk/>
            <pc:sldMk cId="3941455084" sldId="320"/>
            <ac:spMk id="54" creationId="{ACCBAE4B-6158-2FA7-A096-91B6E9728965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55" creationId="{7670B84A-D1F3-91CA-862E-AAEADF627994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57" creationId="{F410F8F6-5C43-D9D9-2FF7-1148B4D0201C}"/>
          </ac:spMkLst>
        </pc:spChg>
        <pc:spChg chg="mod topLvl">
          <ac:chgData name="Muchahary, Frankle" userId="0f2bf491-0617-4378-90b8-89af8fa381b9" providerId="ADAL" clId="{90877F19-00D2-4A00-8128-E78E36266C9A}" dt="2023-11-05T04:59:45.925" v="145615" actId="164"/>
          <ac:spMkLst>
            <pc:docMk/>
            <pc:sldMk cId="3941455084" sldId="320"/>
            <ac:spMk id="423" creationId="{149440DB-2FD6-9E9B-226F-91E10854C85D}"/>
          </ac:spMkLst>
        </pc:spChg>
        <pc:spChg chg="mod topLvl">
          <ac:chgData name="Muchahary, Frankle" userId="0f2bf491-0617-4378-90b8-89af8fa381b9" providerId="ADAL" clId="{90877F19-00D2-4A00-8128-E78E36266C9A}" dt="2023-11-05T04:58:37.916" v="145596" actId="164"/>
          <ac:spMkLst>
            <pc:docMk/>
            <pc:sldMk cId="3941455084" sldId="320"/>
            <ac:spMk id="424" creationId="{960B564F-14D0-D72F-DEF4-0568091A334A}"/>
          </ac:spMkLst>
        </pc:spChg>
        <pc:spChg chg="add del mod topLvl">
          <ac:chgData name="Muchahary, Frankle" userId="0f2bf491-0617-4378-90b8-89af8fa381b9" providerId="ADAL" clId="{90877F19-00D2-4A00-8128-E78E36266C9A}" dt="2023-11-05T05:00:53.695" v="145630" actId="164"/>
          <ac:spMkLst>
            <pc:docMk/>
            <pc:sldMk cId="3941455084" sldId="320"/>
            <ac:spMk id="425" creationId="{F9FCFBD5-9FEE-905A-1D0B-B209A0B37010}"/>
          </ac:spMkLst>
        </pc:spChg>
        <pc:spChg chg="add del 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27" creationId="{ACCBAE4B-6158-2FA7-A096-91B6E9728965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33" creationId="{4DD0EA55-226D-C5C2-0445-4E8EC91322C9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36" creationId="{12E9C6C2-AF37-D957-662C-422FA2B9668B}"/>
          </ac:spMkLst>
        </pc:spChg>
        <pc:spChg chg="add del mod">
          <ac:chgData name="Muchahary, Frankle" userId="0f2bf491-0617-4378-90b8-89af8fa381b9" providerId="ADAL" clId="{90877F19-00D2-4A00-8128-E78E36266C9A}" dt="2023-11-05T05:04:43.025" v="145647" actId="14861"/>
          <ac:spMkLst>
            <pc:docMk/>
            <pc:sldMk cId="3941455084" sldId="320"/>
            <ac:spMk id="438" creationId="{1AAAAB27-7821-2BEB-C5DE-C54705EE64E6}"/>
          </ac:spMkLst>
        </pc:spChg>
        <pc:spChg chg="mod">
          <ac:chgData name="Muchahary, Frankle" userId="0f2bf491-0617-4378-90b8-89af8fa381b9" providerId="ADAL" clId="{90877F19-00D2-4A00-8128-E78E36266C9A}" dt="2023-11-05T05:04:51.656" v="145649" actId="14861"/>
          <ac:spMkLst>
            <pc:docMk/>
            <pc:sldMk cId="3941455084" sldId="320"/>
            <ac:spMk id="439" creationId="{484C2201-8322-B9EA-4FCA-76FA1EFFE09D}"/>
          </ac:spMkLst>
        </pc:spChg>
        <pc:spChg chg="mod">
          <ac:chgData name="Muchahary, Frankle" userId="0f2bf491-0617-4378-90b8-89af8fa381b9" providerId="ADAL" clId="{90877F19-00D2-4A00-8128-E78E36266C9A}" dt="2023-11-05T05:05:23.426" v="145651" actId="14861"/>
          <ac:spMkLst>
            <pc:docMk/>
            <pc:sldMk cId="3941455084" sldId="320"/>
            <ac:spMk id="440" creationId="{EC5E42F1-5496-7AD2-1197-77ED18AF1572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47" creationId="{81604103-407B-B4D9-16FF-9C33AB4F8731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48" creationId="{1E5B9D43-156F-DF9B-F2A5-42BC3890280C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49" creationId="{BF30A98D-CBAE-1E2A-7122-9A897B587B5E}"/>
          </ac:spMkLst>
        </pc:spChg>
        <pc:spChg chg="add del mod">
          <ac:chgData name="Muchahary, Frankle" userId="0f2bf491-0617-4378-90b8-89af8fa381b9" providerId="ADAL" clId="{90877F19-00D2-4A00-8128-E78E36266C9A}" dt="2023-11-05T05:01:30.554" v="145634" actId="478"/>
          <ac:spMkLst>
            <pc:docMk/>
            <pc:sldMk cId="3941455084" sldId="320"/>
            <ac:spMk id="450" creationId="{B3DBBCD5-4EC9-3B63-C251-AAAD0AF42F0D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2" creationId="{81358E12-AD60-BCB4-ED91-2C34CC41EB1F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3" creationId="{5CF1A474-C156-22E3-EA9C-DAEEEA6B7030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4" creationId="{130B9FA9-3215-41F8-9730-D66FF78F5500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5" creationId="{00D77F26-CFFB-C5D4-BF2E-C1BCCEC6A394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6" creationId="{B8332A99-FECF-91F2-87E3-E64A4B21A145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57" creationId="{13CE3DD1-D969-2058-EB9A-D053C04921B2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4" creationId="{D489C6E7-AAD7-10A9-EE68-218C778E067D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6" creationId="{B622E691-372E-551E-2C07-2AD0E28DF2B9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7" creationId="{08202A21-6166-3B4E-5E0C-97F65EA95719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8" creationId="{8D7281D8-3B60-9891-2DA7-B8D0B3FDE8C9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69" creationId="{1A4D78E2-0C14-C197-D1C8-DE78C6706B9E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70" creationId="{B6EFA74B-8FD6-EC27-04AE-16DD555AC099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71" creationId="{7670B84A-D1F3-91CA-862E-AAEADF627994}"/>
          </ac:spMkLst>
        </pc:spChg>
        <pc:spChg chg="mod">
          <ac:chgData name="Muchahary, Frankle" userId="0f2bf491-0617-4378-90b8-89af8fa381b9" providerId="ADAL" clId="{90877F19-00D2-4A00-8128-E78E36266C9A}" dt="2023-11-05T04:58:20.309" v="145595" actId="165"/>
          <ac:spMkLst>
            <pc:docMk/>
            <pc:sldMk cId="3941455084" sldId="320"/>
            <ac:spMk id="472" creationId="{F410F8F6-5C43-D9D9-2FF7-1148B4D0201C}"/>
          </ac:spMkLst>
        </pc:spChg>
        <pc:spChg chg="mod topLvl">
          <ac:chgData name="Muchahary, Frankle" userId="0f2bf491-0617-4378-90b8-89af8fa381b9" providerId="ADAL" clId="{90877F19-00D2-4A00-8128-E78E36266C9A}" dt="2023-11-05T04:59:45.925" v="145615" actId="164"/>
          <ac:spMkLst>
            <pc:docMk/>
            <pc:sldMk cId="3941455084" sldId="320"/>
            <ac:spMk id="478" creationId="{CB8F8AB1-D22B-76E6-B122-0AE820DDEE58}"/>
          </ac:spMkLst>
        </pc:spChg>
        <pc:spChg chg="mod topLvl">
          <ac:chgData name="Muchahary, Frankle" userId="0f2bf491-0617-4378-90b8-89af8fa381b9" providerId="ADAL" clId="{90877F19-00D2-4A00-8128-E78E36266C9A}" dt="2023-11-05T04:58:37.916" v="145596" actId="164"/>
          <ac:spMkLst>
            <pc:docMk/>
            <pc:sldMk cId="3941455084" sldId="320"/>
            <ac:spMk id="480" creationId="{85B459A8-545D-C50D-1976-F84A66156CF0}"/>
          </ac:spMkLst>
        </pc:spChg>
        <pc:spChg chg="add del mod topLvl">
          <ac:chgData name="Muchahary, Frankle" userId="0f2bf491-0617-4378-90b8-89af8fa381b9" providerId="ADAL" clId="{90877F19-00D2-4A00-8128-E78E36266C9A}" dt="2023-11-05T05:00:53.695" v="145630" actId="164"/>
          <ac:spMkLst>
            <pc:docMk/>
            <pc:sldMk cId="3941455084" sldId="320"/>
            <ac:spMk id="482" creationId="{AE5C8D28-2AFD-05C4-53F8-09CAA8B00A06}"/>
          </ac:spMkLst>
        </pc:spChg>
        <pc:grpChg chg="del mod topLvl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3" creationId="{5B44041F-3E1C-E4AC-A295-D263EC6AEDF0}"/>
          </ac:grpSpMkLst>
        </pc:grpChg>
        <pc:grpChg chg="del mod">
          <ac:chgData name="Muchahary, Frankle" userId="0f2bf491-0617-4378-90b8-89af8fa381b9" providerId="ADAL" clId="{90877F19-00D2-4A00-8128-E78E36266C9A}" dt="2023-11-05T04:58:12.117" v="145594" actId="165"/>
          <ac:grpSpMkLst>
            <pc:docMk/>
            <pc:sldMk cId="3941455084" sldId="320"/>
            <ac:grpSpMk id="4" creationId="{DAABF02C-9D92-C8B9-5D81-9FF95110E941}"/>
          </ac:grpSpMkLst>
        </pc:grpChg>
        <pc:grpChg chg="del mod topLvl">
          <ac:chgData name="Muchahary, Frankle" userId="0f2bf491-0617-4378-90b8-89af8fa381b9" providerId="ADAL" clId="{90877F19-00D2-4A00-8128-E78E36266C9A}" dt="2023-11-05T04:57:37.192" v="145584" actId="478"/>
          <ac:grpSpMkLst>
            <pc:docMk/>
            <pc:sldMk cId="3941455084" sldId="320"/>
            <ac:grpSpMk id="5" creationId="{8A32AFBF-10C1-CC2D-944A-B935F567FE58}"/>
          </ac:grpSpMkLst>
        </pc:grpChg>
        <pc:grpChg chg="del">
          <ac:chgData name="Muchahary, Frankle" userId="0f2bf491-0617-4378-90b8-89af8fa381b9" providerId="ADAL" clId="{90877F19-00D2-4A00-8128-E78E36266C9A}" dt="2023-11-05T04:53:25.964" v="145542" actId="165"/>
          <ac:grpSpMkLst>
            <pc:docMk/>
            <pc:sldMk cId="3941455084" sldId="320"/>
            <ac:grpSpMk id="9" creationId="{5B44041F-3E1C-E4AC-A295-D263EC6AEDF0}"/>
          </ac:grpSpMkLst>
        </pc:grpChg>
        <pc:grpChg chg="mod topLvl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16" creationId="{87F00C46-202C-EDF1-117B-2FFDD61C5D97}"/>
          </ac:grpSpMkLst>
        </pc:grpChg>
        <pc:grpChg chg="mod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39" creationId="{4B287431-2A37-B246-C82D-906A8CC5BC75}"/>
          </ac:grpSpMkLst>
        </pc:grpChg>
        <pc:grpChg chg="mod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45" creationId="{3A918266-4106-A8D4-092C-195ED5494C3A}"/>
          </ac:grpSpMkLst>
        </pc:grpChg>
        <pc:grpChg chg="del mod topLvl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56" creationId="{2C152EC9-0D4E-B986-BE11-6F44B085850E}"/>
          </ac:grpSpMkLst>
        </pc:grpChg>
        <pc:grpChg chg="add del mod">
          <ac:chgData name="Muchahary, Frankle" userId="0f2bf491-0617-4378-90b8-89af8fa381b9" providerId="ADAL" clId="{90877F19-00D2-4A00-8128-E78E36266C9A}" dt="2023-11-05T04:57:05.628" v="145571" actId="478"/>
          <ac:grpSpMkLst>
            <pc:docMk/>
            <pc:sldMk cId="3941455084" sldId="320"/>
            <ac:grpSpMk id="58" creationId="{F32A3E2E-4327-337D-194E-3A6306705E95}"/>
          </ac:grpSpMkLst>
        </pc:grpChg>
        <pc:grpChg chg="add del mod">
          <ac:chgData name="Muchahary, Frankle" userId="0f2bf491-0617-4378-90b8-89af8fa381b9" providerId="ADAL" clId="{90877F19-00D2-4A00-8128-E78E36266C9A}" dt="2023-11-05T04:57:41.418" v="145585" actId="478"/>
          <ac:grpSpMkLst>
            <pc:docMk/>
            <pc:sldMk cId="3941455084" sldId="320"/>
            <ac:grpSpMk id="59" creationId="{A9DC4E75-3C13-4F26-8BAC-AD8D7188ABE6}"/>
          </ac:grpSpMkLst>
        </pc:grpChg>
        <pc:grpChg chg="add del mod">
          <ac:chgData name="Muchahary, Frankle" userId="0f2bf491-0617-4378-90b8-89af8fa381b9" providerId="ADAL" clId="{90877F19-00D2-4A00-8128-E78E36266C9A}" dt="2023-11-05T04:57:07.988" v="145572" actId="478"/>
          <ac:grpSpMkLst>
            <pc:docMk/>
            <pc:sldMk cId="3941455084" sldId="320"/>
            <ac:grpSpMk id="60" creationId="{CB111E7C-A988-4BD8-2183-1EDEC1A48CFE}"/>
          </ac:grpSpMkLst>
        </pc:grpChg>
        <pc:grpChg chg="add del mod">
          <ac:chgData name="Muchahary, Frankle" userId="0f2bf491-0617-4378-90b8-89af8fa381b9" providerId="ADAL" clId="{90877F19-00D2-4A00-8128-E78E36266C9A}" dt="2023-11-05T04:57:23.731" v="145578" actId="478"/>
          <ac:grpSpMkLst>
            <pc:docMk/>
            <pc:sldMk cId="3941455084" sldId="320"/>
            <ac:grpSpMk id="61" creationId="{E84F637E-1139-72B7-7879-BF192E61F042}"/>
          </ac:grpSpMkLst>
        </pc:grpChg>
        <pc:grpChg chg="add mod">
          <ac:chgData name="Muchahary, Frankle" userId="0f2bf491-0617-4378-90b8-89af8fa381b9" providerId="ADAL" clId="{90877F19-00D2-4A00-8128-E78E36266C9A}" dt="2023-11-05T04:54:49.323" v="145550" actId="164"/>
          <ac:grpSpMkLst>
            <pc:docMk/>
            <pc:sldMk cId="3941455084" sldId="320"/>
            <ac:grpSpMk id="62" creationId="{AAD90601-847F-71CD-8C05-E324E61062CD}"/>
          </ac:grpSpMkLst>
        </pc:grpChg>
        <pc:grpChg chg="add del mod">
          <ac:chgData name="Muchahary, Frankle" userId="0f2bf491-0617-4378-90b8-89af8fa381b9" providerId="ADAL" clId="{90877F19-00D2-4A00-8128-E78E36266C9A}" dt="2023-11-05T04:58:12.117" v="145594" actId="165"/>
          <ac:grpSpMkLst>
            <pc:docMk/>
            <pc:sldMk cId="3941455084" sldId="320"/>
            <ac:grpSpMk id="63" creationId="{C0478C83-D1F3-7B1F-8761-6C492E97A2D1}"/>
          </ac:grpSpMkLst>
        </pc:grpChg>
        <pc:grpChg chg="mod topLvl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428" creationId="{2C152EC9-0D4E-B986-BE11-6F44B085850E}"/>
          </ac:grpSpMkLst>
        </pc:grpChg>
        <pc:grpChg chg="mod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437" creationId="{87F00C46-202C-EDF1-117B-2FFDD61C5D97}"/>
          </ac:grpSpMkLst>
        </pc:grpChg>
        <pc:grpChg chg="mod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458" creationId="{4B287431-2A37-B246-C82D-906A8CC5BC75}"/>
          </ac:grpSpMkLst>
        </pc:grpChg>
        <pc:grpChg chg="add mod">
          <ac:chgData name="Muchahary, Frankle" userId="0f2bf491-0617-4378-90b8-89af8fa381b9" providerId="ADAL" clId="{90877F19-00D2-4A00-8128-E78E36266C9A}" dt="2023-11-05T04:58:37.916" v="145596" actId="164"/>
          <ac:grpSpMkLst>
            <pc:docMk/>
            <pc:sldMk cId="3941455084" sldId="320"/>
            <ac:grpSpMk id="462" creationId="{6E393097-3893-D898-63A9-94AFFE6D9781}"/>
          </ac:grpSpMkLst>
        </pc:grpChg>
        <pc:grpChg chg="mod">
          <ac:chgData name="Muchahary, Frankle" userId="0f2bf491-0617-4378-90b8-89af8fa381b9" providerId="ADAL" clId="{90877F19-00D2-4A00-8128-E78E36266C9A}" dt="2023-11-05T04:58:20.309" v="145595" actId="165"/>
          <ac:grpSpMkLst>
            <pc:docMk/>
            <pc:sldMk cId="3941455084" sldId="320"/>
            <ac:grpSpMk id="465" creationId="{3A918266-4106-A8D4-092C-195ED5494C3A}"/>
          </ac:grpSpMkLst>
        </pc:grpChg>
        <pc:grpChg chg="add del mod">
          <ac:chgData name="Muchahary, Frankle" userId="0f2bf491-0617-4378-90b8-89af8fa381b9" providerId="ADAL" clId="{90877F19-00D2-4A00-8128-E78E36266C9A}" dt="2023-11-05T05:00:28.370" v="145622" actId="165"/>
          <ac:grpSpMkLst>
            <pc:docMk/>
            <pc:sldMk cId="3941455084" sldId="320"/>
            <ac:grpSpMk id="473" creationId="{183AE9A7-ED40-DD1E-8F04-FC30615C07A7}"/>
          </ac:grpSpMkLst>
        </pc:grpChg>
        <pc:grpChg chg="add mod">
          <ac:chgData name="Muchahary, Frankle" userId="0f2bf491-0617-4378-90b8-89af8fa381b9" providerId="ADAL" clId="{90877F19-00D2-4A00-8128-E78E36266C9A}" dt="2023-11-05T04:59:45.925" v="145615" actId="164"/>
          <ac:grpSpMkLst>
            <pc:docMk/>
            <pc:sldMk cId="3941455084" sldId="320"/>
            <ac:grpSpMk id="474" creationId="{2047AE4B-543B-852C-3617-AB19F7AEC131}"/>
          </ac:grpSpMkLst>
        </pc:grpChg>
        <pc:grpChg chg="add del mod topLvl">
          <ac:chgData name="Muchahary, Frankle" userId="0f2bf491-0617-4378-90b8-89af8fa381b9" providerId="ADAL" clId="{90877F19-00D2-4A00-8128-E78E36266C9A}" dt="2023-11-05T04:59:57.498" v="145616" actId="164"/>
          <ac:grpSpMkLst>
            <pc:docMk/>
            <pc:sldMk cId="3941455084" sldId="320"/>
            <ac:grpSpMk id="475" creationId="{8A32AFBF-10C1-CC2D-944A-B935F567FE58}"/>
          </ac:grpSpMkLst>
        </pc:grpChg>
        <pc:grpChg chg="add mod">
          <ac:chgData name="Muchahary, Frankle" userId="0f2bf491-0617-4378-90b8-89af8fa381b9" providerId="ADAL" clId="{90877F19-00D2-4A00-8128-E78E36266C9A}" dt="2023-11-05T04:59:57.498" v="145616" actId="164"/>
          <ac:grpSpMkLst>
            <pc:docMk/>
            <pc:sldMk cId="3941455084" sldId="320"/>
            <ac:grpSpMk id="477" creationId="{D5E83378-BBE6-EBB1-654E-CC6055FF8751}"/>
          </ac:grpSpMkLst>
        </pc:grpChg>
        <pc:grpChg chg="add mod">
          <ac:chgData name="Muchahary, Frankle" userId="0f2bf491-0617-4378-90b8-89af8fa381b9" providerId="ADAL" clId="{90877F19-00D2-4A00-8128-E78E36266C9A}" dt="2023-11-05T05:00:53.695" v="145630" actId="164"/>
          <ac:grpSpMkLst>
            <pc:docMk/>
            <pc:sldMk cId="3941455084" sldId="320"/>
            <ac:grpSpMk id="483" creationId="{76B8BE02-FBFA-E495-4A9E-EDBBB7EC014E}"/>
          </ac:grpSpMkLst>
        </pc:grpChg>
        <pc:picChg chg="mod topLvl">
          <ac:chgData name="Muchahary, Frankle" userId="0f2bf491-0617-4378-90b8-89af8fa381b9" providerId="ADAL" clId="{90877F19-00D2-4A00-8128-E78E36266C9A}" dt="2023-11-05T04:58:12.117" v="145594" actId="165"/>
          <ac:picMkLst>
            <pc:docMk/>
            <pc:sldMk cId="3941455084" sldId="320"/>
            <ac:picMk id="2" creationId="{F04F6B89-CD0A-DF62-CA13-4155C40C6DF1}"/>
          </ac:picMkLst>
        </pc:picChg>
        <pc:picChg chg="mod topLvl">
          <ac:chgData name="Muchahary, Frankle" userId="0f2bf491-0617-4378-90b8-89af8fa381b9" providerId="ADAL" clId="{90877F19-00D2-4A00-8128-E78E36266C9A}" dt="2023-11-05T04:58:12.117" v="145594" actId="165"/>
          <ac:picMkLst>
            <pc:docMk/>
            <pc:sldMk cId="3941455084" sldId="320"/>
            <ac:picMk id="6" creationId="{F04F6B89-CD0A-DF62-CA13-4155C40C6DF1}"/>
          </ac:picMkLst>
        </pc:picChg>
        <pc:picChg chg="mod topLvl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32" creationId="{1262260D-ABEF-DAF7-9476-CD32DDEDE396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0" creationId="{C951DB81-4450-3EB6-436F-A70ADE9A4DEA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1" creationId="{70C5B48C-826F-6EF8-38E4-D073FCAF8A8D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2" creationId="{738DA000-053F-7F70-17C4-432A1F11CA92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3" creationId="{FC8FAEF3-4A7B-0463-FD1F-304741D3C1D1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51" creationId="{1262260D-ABEF-DAF7-9476-CD32DDEDE396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59" creationId="{C951DB81-4450-3EB6-436F-A70ADE9A4DEA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60" creationId="{70C5B48C-826F-6EF8-38E4-D073FCAF8A8D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61" creationId="{738DA000-053F-7F70-17C4-432A1F11CA92}"/>
          </ac:picMkLst>
        </pc:picChg>
        <pc:picChg chg="mod">
          <ac:chgData name="Muchahary, Frankle" userId="0f2bf491-0617-4378-90b8-89af8fa381b9" providerId="ADAL" clId="{90877F19-00D2-4A00-8128-E78E36266C9A}" dt="2023-11-05T04:58:20.309" v="145595" actId="165"/>
          <ac:picMkLst>
            <pc:docMk/>
            <pc:sldMk cId="3941455084" sldId="320"/>
            <ac:picMk id="463" creationId="{FC8FAEF3-4A7B-0463-FD1F-304741D3C1D1}"/>
          </ac:picMkLst>
        </pc:picChg>
        <pc:cxnChg chg="mod topLvl">
          <ac:chgData name="Muchahary, Frankle" userId="0f2bf491-0617-4378-90b8-89af8fa381b9" providerId="ADAL" clId="{90877F19-00D2-4A00-8128-E78E36266C9A}" dt="2023-11-05T04:57:05.628" v="145571" actId="478"/>
          <ac:cxnSpMkLst>
            <pc:docMk/>
            <pc:sldMk cId="3941455084" sldId="320"/>
            <ac:cxnSpMk id="10" creationId="{64AEB822-099A-570D-48D9-91F696790A41}"/>
          </ac:cxnSpMkLst>
        </pc:cxnChg>
        <pc:cxnChg chg="mod topLvl">
          <ac:chgData name="Muchahary, Frankle" userId="0f2bf491-0617-4378-90b8-89af8fa381b9" providerId="ADAL" clId="{90877F19-00D2-4A00-8128-E78E36266C9A}" dt="2023-11-05T04:53:49.577" v="145544" actId="164"/>
          <ac:cxnSpMkLst>
            <pc:docMk/>
            <pc:sldMk cId="3941455084" sldId="320"/>
            <ac:cxnSpMk id="12" creationId="{4730823D-42D1-CFDD-15BE-4FDE66848197}"/>
          </ac:cxnSpMkLst>
        </pc:cxnChg>
        <pc:cxnChg chg="del mod topLvl">
          <ac:chgData name="Muchahary, Frankle" userId="0f2bf491-0617-4378-90b8-89af8fa381b9" providerId="ADAL" clId="{90877F19-00D2-4A00-8128-E78E36266C9A}" dt="2023-11-05T04:57:11.255" v="145574" actId="478"/>
          <ac:cxnSpMkLst>
            <pc:docMk/>
            <pc:sldMk cId="3941455084" sldId="320"/>
            <ac:cxnSpMk id="14" creationId="{2427C19F-3B02-7746-A7BA-CC3B2617E9EF}"/>
          </ac:cxnSpMkLst>
        </pc:cxnChg>
        <pc:cxnChg chg="del mod topLvl">
          <ac:chgData name="Muchahary, Frankle" userId="0f2bf491-0617-4378-90b8-89af8fa381b9" providerId="ADAL" clId="{90877F19-00D2-4A00-8128-E78E36266C9A}" dt="2023-11-05T04:57:23.731" v="145578" actId="478"/>
          <ac:cxnSpMkLst>
            <pc:docMk/>
            <pc:sldMk cId="3941455084" sldId="320"/>
            <ac:cxnSpMk id="18" creationId="{D29B9386-EFAB-E5B0-AC62-4B723945F9CB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2" creationId="{7C5EF178-1677-A134-1A78-9D955C0A087C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3" creationId="{376492FC-5957-454C-DD5B-CAEDDB3B033E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4" creationId="{FD37DF63-F8FC-BD75-410C-9A220A99146E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5" creationId="{E8335308-AE80-1993-F4C4-6BFB2C362E9B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6" creationId="{4EAF7784-CBFB-BEA2-A30F-C7FDE8D36DF6}"/>
          </ac:cxnSpMkLst>
        </pc:cxnChg>
        <pc:cxnChg chg="mod topLvl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27" creationId="{25B0FE2E-7CEE-2F26-4994-C20DC22A5916}"/>
          </ac:cxnSpMkLst>
        </pc:cxnChg>
        <pc:cxnChg chg="add del mod topLvl">
          <ac:chgData name="Muchahary, Frankle" userId="0f2bf491-0617-4378-90b8-89af8fa381b9" providerId="ADAL" clId="{90877F19-00D2-4A00-8128-E78E36266C9A}" dt="2023-11-05T04:59:57.498" v="145616" actId="164"/>
          <ac:cxnSpMkLst>
            <pc:docMk/>
            <pc:sldMk cId="3941455084" sldId="320"/>
            <ac:cxnSpMk id="435" creationId="{4730823D-42D1-CFDD-15BE-4FDE66848197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1" creationId="{7C5EF178-1677-A134-1A78-9D955C0A087C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2" creationId="{376492FC-5957-454C-DD5B-CAEDDB3B033E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3" creationId="{FD37DF63-F8FC-BD75-410C-9A220A99146E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4" creationId="{E8335308-AE80-1993-F4C4-6BFB2C362E9B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5" creationId="{4EAF7784-CBFB-BEA2-A30F-C7FDE8D36DF6}"/>
          </ac:cxnSpMkLst>
        </pc:cxnChg>
        <pc:cxnChg chg="mod">
          <ac:chgData name="Muchahary, Frankle" userId="0f2bf491-0617-4378-90b8-89af8fa381b9" providerId="ADAL" clId="{90877F19-00D2-4A00-8128-E78E36266C9A}" dt="2023-11-05T04:58:20.309" v="145595" actId="165"/>
          <ac:cxnSpMkLst>
            <pc:docMk/>
            <pc:sldMk cId="3941455084" sldId="320"/>
            <ac:cxnSpMk id="446" creationId="{25B0FE2E-7CEE-2F26-4994-C20DC22A5916}"/>
          </ac:cxnSpMkLst>
        </pc:cxnChg>
        <pc:cxnChg chg="mod topLvl">
          <ac:chgData name="Muchahary, Frankle" userId="0f2bf491-0617-4378-90b8-89af8fa381b9" providerId="ADAL" clId="{90877F19-00D2-4A00-8128-E78E36266C9A}" dt="2023-11-05T04:59:45.925" v="145615" actId="164"/>
          <ac:cxnSpMkLst>
            <pc:docMk/>
            <pc:sldMk cId="3941455084" sldId="320"/>
            <ac:cxnSpMk id="476" creationId="{64AEB822-099A-570D-48D9-91F696790A41}"/>
          </ac:cxnSpMkLst>
        </pc:cxnChg>
        <pc:cxnChg chg="mod topLvl">
          <ac:chgData name="Muchahary, Frankle" userId="0f2bf491-0617-4378-90b8-89af8fa381b9" providerId="ADAL" clId="{90877F19-00D2-4A00-8128-E78E36266C9A}" dt="2023-11-05T04:58:37.916" v="145596" actId="164"/>
          <ac:cxnSpMkLst>
            <pc:docMk/>
            <pc:sldMk cId="3941455084" sldId="320"/>
            <ac:cxnSpMk id="479" creationId="{2427C19F-3B02-7746-A7BA-CC3B2617E9EF}"/>
          </ac:cxnSpMkLst>
        </pc:cxnChg>
        <pc:cxnChg chg="mod topLvl">
          <ac:chgData name="Muchahary, Frankle" userId="0f2bf491-0617-4378-90b8-89af8fa381b9" providerId="ADAL" clId="{90877F19-00D2-4A00-8128-E78E36266C9A}" dt="2023-11-05T05:00:53.695" v="145630" actId="164"/>
          <ac:cxnSpMkLst>
            <pc:docMk/>
            <pc:sldMk cId="3941455084" sldId="320"/>
            <ac:cxnSpMk id="481" creationId="{D29B9386-EFAB-E5B0-AC62-4B723945F9CB}"/>
          </ac:cxnSpMkLst>
        </pc:cxnChg>
      </pc:sldChg>
      <pc:sldChg chg="addSp delSp modSp add del mod modTransition modShow">
        <pc:chgData name="Muchahary, Frankle" userId="0f2bf491-0617-4378-90b8-89af8fa381b9" providerId="ADAL" clId="{90877F19-00D2-4A00-8128-E78E36266C9A}" dt="2023-11-08T05:49:20.028" v="163070" actId="47"/>
        <pc:sldMkLst>
          <pc:docMk/>
          <pc:sldMk cId="4199821620" sldId="321"/>
        </pc:sldMkLst>
        <pc:spChg chg="add del mod">
          <ac:chgData name="Muchahary, Frankle" userId="0f2bf491-0617-4378-90b8-89af8fa381b9" providerId="ADAL" clId="{90877F19-00D2-4A00-8128-E78E36266C9A}" dt="2023-11-04T01:39:14.942" v="18114" actId="478"/>
          <ac:spMkLst>
            <pc:docMk/>
            <pc:sldMk cId="4199821620" sldId="321"/>
            <ac:spMk id="3" creationId="{C6873A12-A302-2CE9-3F4C-491CBEDAFFDC}"/>
          </ac:spMkLst>
        </pc:spChg>
        <pc:spChg chg="mod">
          <ac:chgData name="Muchahary, Frankle" userId="0f2bf491-0617-4378-90b8-89af8fa381b9" providerId="ADAL" clId="{90877F19-00D2-4A00-8128-E78E36266C9A}" dt="2023-11-04T01:39:47.924" v="18188" actId="20577"/>
          <ac:spMkLst>
            <pc:docMk/>
            <pc:sldMk cId="4199821620" sldId="321"/>
            <ac:spMk id="395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9:12.913" v="18113" actId="478"/>
          <ac:spMkLst>
            <pc:docMk/>
            <pc:sldMk cId="4199821620" sldId="321"/>
            <ac:spMk id="396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9:20.101" v="18119" actId="478"/>
          <ac:spMkLst>
            <pc:docMk/>
            <pc:sldMk cId="4199821620" sldId="321"/>
            <ac:spMk id="397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9:21.020" v="18120" actId="478"/>
          <ac:spMkLst>
            <pc:docMk/>
            <pc:sldMk cId="4199821620" sldId="321"/>
            <ac:spMk id="398" creationId="{00000000-0000-0000-0000-000000000000}"/>
          </ac:spMkLst>
        </pc:spChg>
        <pc:spChg chg="del mod">
          <ac:chgData name="Muchahary, Frankle" userId="0f2bf491-0617-4378-90b8-89af8fa381b9" providerId="ADAL" clId="{90877F19-00D2-4A00-8128-E78E36266C9A}" dt="2023-11-04T01:39:16.116" v="18116" actId="478"/>
          <ac:spMkLst>
            <pc:docMk/>
            <pc:sldMk cId="4199821620" sldId="321"/>
            <ac:spMk id="399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9:19.052" v="18118" actId="478"/>
          <ac:spMkLst>
            <pc:docMk/>
            <pc:sldMk cId="4199821620" sldId="321"/>
            <ac:spMk id="400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4T01:39:18.209" v="18117" actId="478"/>
          <ac:spMkLst>
            <pc:docMk/>
            <pc:sldMk cId="4199821620" sldId="321"/>
            <ac:spMk id="401" creationId="{00000000-0000-0000-0000-000000000000}"/>
          </ac:spMkLst>
        </pc:spChg>
        <pc:grpChg chg="del">
          <ac:chgData name="Muchahary, Frankle" userId="0f2bf491-0617-4378-90b8-89af8fa381b9" providerId="ADAL" clId="{90877F19-00D2-4A00-8128-E78E36266C9A}" dt="2023-11-04T01:39:10.886" v="18112" actId="478"/>
          <ac:grpSpMkLst>
            <pc:docMk/>
            <pc:sldMk cId="4199821620" sldId="321"/>
            <ac:grpSpMk id="319" creationId="{00000000-0000-0000-0000-000000000000}"/>
          </ac:grpSpMkLst>
        </pc:grpChg>
        <pc:graphicFrameChg chg="add mod ord modVis replST">
          <ac:chgData name="Muchahary, Frankle" userId="0f2bf491-0617-4378-90b8-89af8fa381b9" providerId="ADAL" clId="{90877F19-00D2-4A00-8128-E78E36266C9A}" dt="2023-11-04T01:39:48.433" v="18192"/>
          <ac:graphicFrameMkLst>
            <pc:docMk/>
            <pc:sldMk cId="4199821620" sldId="321"/>
            <ac:graphicFrameMk id="4" creationId="{7C9901FB-2A89-2D85-159B-1FB9E077CF79}"/>
          </ac:graphicFrameMkLst>
        </pc:graphicFrameChg>
      </pc:sldChg>
      <pc:sldChg chg="addSp delSp modSp add del mod">
        <pc:chgData name="Muchahary, Frankle" userId="0f2bf491-0617-4378-90b8-89af8fa381b9" providerId="ADAL" clId="{90877F19-00D2-4A00-8128-E78E36266C9A}" dt="2023-11-08T05:49:43.243" v="163074" actId="47"/>
        <pc:sldMkLst>
          <pc:docMk/>
          <pc:sldMk cId="1865461754" sldId="322"/>
        </pc:sldMkLst>
        <pc:spChg chg="mod">
          <ac:chgData name="Muchahary, Frankle" userId="0f2bf491-0617-4378-90b8-89af8fa381b9" providerId="ADAL" clId="{90877F19-00D2-4A00-8128-E78E36266C9A}" dt="2023-11-04T21:55:29.420" v="120332"/>
          <ac:spMkLst>
            <pc:docMk/>
            <pc:sldMk cId="1865461754" sldId="322"/>
            <ac:spMk id="3" creationId="{AA68A82A-01C2-6E80-B3D7-BBE1B67E1262}"/>
          </ac:spMkLst>
        </pc:spChg>
        <pc:spChg chg="mod">
          <ac:chgData name="Muchahary, Frankle" userId="0f2bf491-0617-4378-90b8-89af8fa381b9" providerId="ADAL" clId="{90877F19-00D2-4A00-8128-E78E36266C9A}" dt="2023-11-04T21:55:29.420" v="120332"/>
          <ac:spMkLst>
            <pc:docMk/>
            <pc:sldMk cId="1865461754" sldId="322"/>
            <ac:spMk id="5" creationId="{FD1BCE1C-65BB-1249-FD22-946DA2B31847}"/>
          </ac:spMkLst>
        </pc:spChg>
        <pc:spChg chg="mod">
          <ac:chgData name="Muchahary, Frankle" userId="0f2bf491-0617-4378-90b8-89af8fa381b9" providerId="ADAL" clId="{90877F19-00D2-4A00-8128-E78E36266C9A}" dt="2023-11-04T21:55:29.420" v="120332"/>
          <ac:spMkLst>
            <pc:docMk/>
            <pc:sldMk cId="1865461754" sldId="322"/>
            <ac:spMk id="6" creationId="{07DEBF60-C0F9-8EA4-DD73-9C460432576E}"/>
          </ac:spMkLst>
        </pc:spChg>
        <pc:spChg chg="mod">
          <ac:chgData name="Muchahary, Frankle" userId="0f2bf491-0617-4378-90b8-89af8fa381b9" providerId="ADAL" clId="{90877F19-00D2-4A00-8128-E78E36266C9A}" dt="2023-11-04T21:55:29.420" v="120332"/>
          <ac:spMkLst>
            <pc:docMk/>
            <pc:sldMk cId="1865461754" sldId="322"/>
            <ac:spMk id="7" creationId="{25906C14-6640-BB9C-CD87-70DE66A9DF62}"/>
          </ac:spMkLst>
        </pc:spChg>
        <pc:spChg chg="mod">
          <ac:chgData name="Muchahary, Frankle" userId="0f2bf491-0617-4378-90b8-89af8fa381b9" providerId="ADAL" clId="{90877F19-00D2-4A00-8128-E78E36266C9A}" dt="2023-11-04T21:55:47.246" v="120340"/>
          <ac:spMkLst>
            <pc:docMk/>
            <pc:sldMk cId="1865461754" sldId="322"/>
            <ac:spMk id="9" creationId="{16CCFA07-8006-97B2-9CCA-CA57AD55693A}"/>
          </ac:spMkLst>
        </pc:spChg>
        <pc:spChg chg="mod">
          <ac:chgData name="Muchahary, Frankle" userId="0f2bf491-0617-4378-90b8-89af8fa381b9" providerId="ADAL" clId="{90877F19-00D2-4A00-8128-E78E36266C9A}" dt="2023-11-04T21:55:47.246" v="120340"/>
          <ac:spMkLst>
            <pc:docMk/>
            <pc:sldMk cId="1865461754" sldId="322"/>
            <ac:spMk id="10" creationId="{7B029998-BBFA-3B2D-56C7-5197BDBDBD3D}"/>
          </ac:spMkLst>
        </pc:spChg>
        <pc:spChg chg="mod">
          <ac:chgData name="Muchahary, Frankle" userId="0f2bf491-0617-4378-90b8-89af8fa381b9" providerId="ADAL" clId="{90877F19-00D2-4A00-8128-E78E36266C9A}" dt="2023-11-04T21:55:47.246" v="120340"/>
          <ac:spMkLst>
            <pc:docMk/>
            <pc:sldMk cId="1865461754" sldId="322"/>
            <ac:spMk id="11" creationId="{53F9763A-02F7-AB2E-0430-624E1F33EB6A}"/>
          </ac:spMkLst>
        </pc:spChg>
        <pc:spChg chg="mod">
          <ac:chgData name="Muchahary, Frankle" userId="0f2bf491-0617-4378-90b8-89af8fa381b9" providerId="ADAL" clId="{90877F19-00D2-4A00-8128-E78E36266C9A}" dt="2023-11-04T21:55:47.246" v="120340"/>
          <ac:spMkLst>
            <pc:docMk/>
            <pc:sldMk cId="1865461754" sldId="322"/>
            <ac:spMk id="12" creationId="{D770767E-BE0A-7520-1CD2-2EFEC03ED40D}"/>
          </ac:spMkLst>
        </pc:spChg>
        <pc:spChg chg="mod">
          <ac:chgData name="Muchahary, Frankle" userId="0f2bf491-0617-4378-90b8-89af8fa381b9" providerId="ADAL" clId="{90877F19-00D2-4A00-8128-E78E36266C9A}" dt="2023-11-04T01:39:59.399" v="18215" actId="20577"/>
          <ac:spMkLst>
            <pc:docMk/>
            <pc:sldMk cId="1865461754" sldId="322"/>
            <ac:spMk id="395" creationId="{00000000-0000-0000-0000-000000000000}"/>
          </ac:spMkLst>
        </pc:spChg>
        <pc:grpChg chg="add del mod">
          <ac:chgData name="Muchahary, Frankle" userId="0f2bf491-0617-4378-90b8-89af8fa381b9" providerId="ADAL" clId="{90877F19-00D2-4A00-8128-E78E36266C9A}" dt="2023-11-04T21:55:30.295" v="120333"/>
          <ac:grpSpMkLst>
            <pc:docMk/>
            <pc:sldMk cId="1865461754" sldId="322"/>
            <ac:grpSpMk id="2" creationId="{DC146E41-E8EA-962A-9D0F-6D0B7147FFA2}"/>
          </ac:grpSpMkLst>
        </pc:grpChg>
        <pc:grpChg chg="add del mod">
          <ac:chgData name="Muchahary, Frankle" userId="0f2bf491-0617-4378-90b8-89af8fa381b9" providerId="ADAL" clId="{90877F19-00D2-4A00-8128-E78E36266C9A}" dt="2023-11-04T21:55:48.606" v="120341" actId="21"/>
          <ac:grpSpMkLst>
            <pc:docMk/>
            <pc:sldMk cId="1865461754" sldId="322"/>
            <ac:grpSpMk id="8" creationId="{6AA96C1A-8C56-9875-C7EB-82506A8C77D0}"/>
          </ac:grpSpMkLst>
        </pc:grpChg>
        <pc:graphicFrameChg chg="mod">
          <ac:chgData name="Muchahary, Frankle" userId="0f2bf491-0617-4378-90b8-89af8fa381b9" providerId="ADAL" clId="{90877F19-00D2-4A00-8128-E78E36266C9A}" dt="2023-11-04T01:39:59.905" v="18219"/>
          <ac:graphicFrameMkLst>
            <pc:docMk/>
            <pc:sldMk cId="1865461754" sldId="322"/>
            <ac:graphicFrameMk id="4" creationId="{7C9901FB-2A89-2D85-159B-1FB9E077CF79}"/>
          </ac:graphicFrameMkLst>
        </pc:graphicFrameChg>
      </pc:sldChg>
      <pc:sldChg chg="add del">
        <pc:chgData name="Muchahary, Frankle" userId="0f2bf491-0617-4378-90b8-89af8fa381b9" providerId="ADAL" clId="{90877F19-00D2-4A00-8128-E78E36266C9A}" dt="2023-11-04T01:39:37" v="18175" actId="47"/>
        <pc:sldMkLst>
          <pc:docMk/>
          <pc:sldMk cId="3701871156" sldId="322"/>
        </pc:sldMkLst>
      </pc:sldChg>
      <pc:sldChg chg="modSp add del mod modClrScheme chgLayout">
        <pc:chgData name="Muchahary, Frankle" userId="0f2bf491-0617-4378-90b8-89af8fa381b9" providerId="ADAL" clId="{90877F19-00D2-4A00-8128-E78E36266C9A}" dt="2023-11-08T05:47:43.111" v="163046" actId="47"/>
        <pc:sldMkLst>
          <pc:docMk/>
          <pc:sldMk cId="2080970467" sldId="323"/>
        </pc:sldMkLst>
        <pc:spChg chg="mod ord">
          <ac:chgData name="Muchahary, Frankle" userId="0f2bf491-0617-4378-90b8-89af8fa381b9" providerId="ADAL" clId="{90877F19-00D2-4A00-8128-E78E36266C9A}" dt="2023-11-04T01:44:08.326" v="18314" actId="20577"/>
          <ac:spMkLst>
            <pc:docMk/>
            <pc:sldMk cId="2080970467" sldId="323"/>
            <ac:spMk id="407" creationId="{00000000-0000-0000-0000-000000000000}"/>
          </ac:spMkLst>
        </pc:spChg>
        <pc:graphicFrameChg chg="mod">
          <ac:chgData name="Muchahary, Frankle" userId="0f2bf491-0617-4378-90b8-89af8fa381b9" providerId="ADAL" clId="{90877F19-00D2-4A00-8128-E78E36266C9A}" dt="2023-11-04T01:44:08.844" v="18318"/>
          <ac:graphicFrameMkLst>
            <pc:docMk/>
            <pc:sldMk cId="2080970467" sldId="323"/>
            <ac:graphicFrameMk id="2" creationId="{AD821E07-0C78-9EAC-03E8-B886F21594F7}"/>
          </ac:graphicFrameMkLst>
        </pc:graphicFrameChg>
      </pc:sldChg>
      <pc:sldChg chg="modSp mod">
        <pc:chgData name="Muchahary, Frankle" userId="0f2bf491-0617-4378-90b8-89af8fa381b9" providerId="ADAL" clId="{90877F19-00D2-4A00-8128-E78E36266C9A}" dt="2023-11-04T03:41:04.048" v="44346" actId="14100"/>
        <pc:sldMkLst>
          <pc:docMk/>
          <pc:sldMk cId="2730515923" sldId="324"/>
        </pc:sldMkLst>
        <pc:grpChg chg="mod">
          <ac:chgData name="Muchahary, Frankle" userId="0f2bf491-0617-4378-90b8-89af8fa381b9" providerId="ADAL" clId="{90877F19-00D2-4A00-8128-E78E36266C9A}" dt="2023-11-04T03:41:04.048" v="44346" actId="14100"/>
          <ac:grpSpMkLst>
            <pc:docMk/>
            <pc:sldMk cId="2730515923" sldId="324"/>
            <ac:grpSpMk id="53" creationId="{CF119613-64C6-DAE8-844A-048F6624F31F}"/>
          </ac:grpSpMkLst>
        </pc:grpChg>
      </pc:sldChg>
      <pc:sldChg chg="addSp delSp modSp add del mod modClrScheme chgLayout">
        <pc:chgData name="Muchahary, Frankle" userId="0f2bf491-0617-4378-90b8-89af8fa381b9" providerId="ADAL" clId="{90877F19-00D2-4A00-8128-E78E36266C9A}" dt="2023-11-04T06:06:57.205" v="46109" actId="2696"/>
        <pc:sldMkLst>
          <pc:docMk/>
          <pc:sldMk cId="1462455439" sldId="325"/>
        </pc:sldMkLst>
        <pc:spChg chg="add del mod modVis">
          <ac:chgData name="Muchahary, Frankle" userId="0f2bf491-0617-4378-90b8-89af8fa381b9" providerId="ADAL" clId="{90877F19-00D2-4A00-8128-E78E36266C9A}" dt="2023-11-04T03:08:36.494" v="43872"/>
          <ac:spMkLst>
            <pc:docMk/>
            <pc:sldMk cId="1462455439" sldId="325"/>
            <ac:spMk id="2" creationId="{063F19F1-C755-790E-4B78-A1D9F5FF94B9}"/>
          </ac:spMkLst>
        </pc:spChg>
        <pc:spChg chg="add del mod modVis">
          <ac:chgData name="Muchahary, Frankle" userId="0f2bf491-0617-4378-90b8-89af8fa381b9" providerId="ADAL" clId="{90877F19-00D2-4A00-8128-E78E36266C9A}" dt="2023-11-04T02:09:35.925" v="35825"/>
          <ac:spMkLst>
            <pc:docMk/>
            <pc:sldMk cId="1462455439" sldId="325"/>
            <ac:spMk id="2" creationId="{69010501-BAE9-C1FC-F8E3-EC80E2A33293}"/>
          </ac:spMkLst>
        </pc:spChg>
        <pc:spChg chg="mod or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5" creationId="{9A815435-CE91-6F4C-7209-EDE14B183BF2}"/>
          </ac:spMkLst>
        </pc:spChg>
        <pc:spChg chg="add del mod replST">
          <ac:chgData name="Muchahary, Frankle" userId="0f2bf491-0617-4378-90b8-89af8fa381b9" providerId="ADAL" clId="{90877F19-00D2-4A00-8128-E78E36266C9A}" dt="2023-11-04T02:09:43.985" v="35874"/>
          <ac:spMkLst>
            <pc:docMk/>
            <pc:sldMk cId="1462455439" sldId="325"/>
            <ac:spMk id="5" creationId="{BA5955CE-7C12-273A-BBAA-C77C76E6C307}"/>
          </ac:spMkLst>
        </pc:spChg>
        <pc:spChg chg="add del mod modVis">
          <ac:chgData name="Muchahary, Frankle" userId="0f2bf491-0617-4378-90b8-89af8fa381b9" providerId="ADAL" clId="{90877F19-00D2-4A00-8128-E78E36266C9A}" dt="2023-11-04T02:09:44.032" v="35925"/>
          <ac:spMkLst>
            <pc:docMk/>
            <pc:sldMk cId="1462455439" sldId="325"/>
            <ac:spMk id="7" creationId="{120C9AA3-62D5-FEEA-C566-46501394BBCF}"/>
          </ac:spMkLst>
        </pc:spChg>
        <pc:spChg chg="add del mod modVis">
          <ac:chgData name="Muchahary, Frankle" userId="0f2bf491-0617-4378-90b8-89af8fa381b9" providerId="ADAL" clId="{90877F19-00D2-4A00-8128-E78E36266C9A}" dt="2023-11-04T02:09:47.133" v="36099"/>
          <ac:spMkLst>
            <pc:docMk/>
            <pc:sldMk cId="1462455439" sldId="325"/>
            <ac:spMk id="9" creationId="{5173B279-AC48-DAAD-5A14-8EC979D05C46}"/>
          </ac:spMkLst>
        </pc:spChg>
        <pc:spChg chg="add del mod replST">
          <ac:chgData name="Muchahary, Frankle" userId="0f2bf491-0617-4378-90b8-89af8fa381b9" providerId="ADAL" clId="{90877F19-00D2-4A00-8128-E78E36266C9A}" dt="2023-11-04T02:10:01.648" v="36550"/>
          <ac:spMkLst>
            <pc:docMk/>
            <pc:sldMk cId="1462455439" sldId="325"/>
            <ac:spMk id="10" creationId="{7944F048-AAC4-1CFA-8135-D7B1107C4E69}"/>
          </ac:spMkLst>
        </pc:spChg>
        <pc:spChg chg="add del mod modVis">
          <ac:chgData name="Muchahary, Frankle" userId="0f2bf491-0617-4378-90b8-89af8fa381b9" providerId="ADAL" clId="{90877F19-00D2-4A00-8128-E78E36266C9A}" dt="2023-11-04T02:09:47.355" v="36199"/>
          <ac:spMkLst>
            <pc:docMk/>
            <pc:sldMk cId="1462455439" sldId="325"/>
            <ac:spMk id="12" creationId="{DD48C440-E173-870B-3E21-4452C9FA7CEE}"/>
          </ac:spMkLst>
        </pc:spChg>
        <pc:spChg chg="add del mod modVis">
          <ac:chgData name="Muchahary, Frankle" userId="0f2bf491-0617-4378-90b8-89af8fa381b9" providerId="ADAL" clId="{90877F19-00D2-4A00-8128-E78E36266C9A}" dt="2023-11-04T02:09:47.558" v="36299"/>
          <ac:spMkLst>
            <pc:docMk/>
            <pc:sldMk cId="1462455439" sldId="325"/>
            <ac:spMk id="14" creationId="{2456D71F-2A1F-0333-649B-B3B827D0EA1C}"/>
          </ac:spMkLst>
        </pc:spChg>
        <pc:spChg chg="add del mod modVis">
          <ac:chgData name="Muchahary, Frankle" userId="0f2bf491-0617-4378-90b8-89af8fa381b9" providerId="ADAL" clId="{90877F19-00D2-4A00-8128-E78E36266C9A}" dt="2023-11-04T02:09:47.770" v="36399"/>
          <ac:spMkLst>
            <pc:docMk/>
            <pc:sldMk cId="1462455439" sldId="325"/>
            <ac:spMk id="16" creationId="{CC4E6BC3-A361-A4BC-1D83-17E085CD1740}"/>
          </ac:spMkLst>
        </pc:spChg>
        <pc:spChg chg="add del mod modVis">
          <ac:chgData name="Muchahary, Frankle" userId="0f2bf491-0617-4378-90b8-89af8fa381b9" providerId="ADAL" clId="{90877F19-00D2-4A00-8128-E78E36266C9A}" dt="2023-11-04T02:10:01.031" v="36501"/>
          <ac:spMkLst>
            <pc:docMk/>
            <pc:sldMk cId="1462455439" sldId="325"/>
            <ac:spMk id="18" creationId="{52C03E24-F69C-8EE2-4762-8D65A9D95A13}"/>
          </ac:spMkLst>
        </pc:spChg>
        <pc:spChg chg="add del mod modVis">
          <ac:chgData name="Muchahary, Frankle" userId="0f2bf491-0617-4378-90b8-89af8fa381b9" providerId="ADAL" clId="{90877F19-00D2-4A00-8128-E78E36266C9A}" dt="2023-11-04T02:10:01.695" v="36601"/>
          <ac:spMkLst>
            <pc:docMk/>
            <pc:sldMk cId="1462455439" sldId="325"/>
            <ac:spMk id="20" creationId="{3A34E5A1-084E-0E3E-6BDD-9162B8B8797D}"/>
          </ac:spMkLst>
        </pc:spChg>
        <pc:spChg chg="add del mod modVis">
          <ac:chgData name="Muchahary, Frankle" userId="0f2bf491-0617-4378-90b8-89af8fa381b9" providerId="ADAL" clId="{90877F19-00D2-4A00-8128-E78E36266C9A}" dt="2023-11-04T02:10:04.972" v="36735"/>
          <ac:spMkLst>
            <pc:docMk/>
            <pc:sldMk cId="1462455439" sldId="325"/>
            <ac:spMk id="22" creationId="{3847882B-A4A8-E08F-8566-D44838D1E9CC}"/>
          </ac:spMkLst>
        </pc:spChg>
        <pc:spChg chg="mod">
          <ac:chgData name="Muchahary, Frankle" userId="0f2bf491-0617-4378-90b8-89af8fa381b9" providerId="ADAL" clId="{90877F19-00D2-4A00-8128-E78E36266C9A}" dt="2023-11-04T04:09:16.208" v="44754"/>
          <ac:spMkLst>
            <pc:docMk/>
            <pc:sldMk cId="1462455439" sldId="325"/>
            <ac:spMk id="25" creationId="{A8C7F538-E7B0-CC28-516B-987926A962E8}"/>
          </ac:spMkLst>
        </pc:spChg>
        <pc:spChg chg="mod">
          <ac:chgData name="Muchahary, Frankle" userId="0f2bf491-0617-4378-90b8-89af8fa381b9" providerId="ADAL" clId="{90877F19-00D2-4A00-8128-E78E36266C9A}" dt="2023-11-04T04:09:16.210" v="44755"/>
          <ac:spMkLst>
            <pc:docMk/>
            <pc:sldMk cId="1462455439" sldId="325"/>
            <ac:spMk id="27" creationId="{C4E6FDA9-26A9-E30B-3874-9940AA858ABD}"/>
          </ac:spMkLst>
        </pc:spChg>
        <pc:spChg chg="mod">
          <ac:chgData name="Muchahary, Frankle" userId="0f2bf491-0617-4378-90b8-89af8fa381b9" providerId="ADAL" clId="{90877F19-00D2-4A00-8128-E78E36266C9A}" dt="2023-11-04T04:09:16.210" v="44756"/>
          <ac:spMkLst>
            <pc:docMk/>
            <pc:sldMk cId="1462455439" sldId="325"/>
            <ac:spMk id="28" creationId="{1ADEE2F2-209E-5A9E-E809-2248A04C03A3}"/>
          </ac:spMkLst>
        </pc:spChg>
        <pc:spChg chg="add del mod modVis">
          <ac:chgData name="Muchahary, Frankle" userId="0f2bf491-0617-4378-90b8-89af8fa381b9" providerId="ADAL" clId="{90877F19-00D2-4A00-8128-E78E36266C9A}" dt="2023-11-04T02:10:12.712" v="37027"/>
          <ac:spMkLst>
            <pc:docMk/>
            <pc:sldMk cId="1462455439" sldId="325"/>
            <ac:spMk id="31" creationId="{527F6FF9-1FCA-9E92-830F-F1CF075E2FEC}"/>
          </ac:spMkLst>
        </pc:spChg>
        <pc:spChg chg="add del mod modVis">
          <ac:chgData name="Muchahary, Frankle" userId="0f2bf491-0617-4378-90b8-89af8fa381b9" providerId="ADAL" clId="{90877F19-00D2-4A00-8128-E78E36266C9A}" dt="2023-11-04T02:10:15.213" v="37176"/>
          <ac:spMkLst>
            <pc:docMk/>
            <pc:sldMk cId="1462455439" sldId="325"/>
            <ac:spMk id="33" creationId="{2CD3DAD8-E791-5BAB-5855-58E58C7A630F}"/>
          </ac:spMkLst>
        </pc:spChg>
        <pc:spChg chg="add del mod modVis">
          <ac:chgData name="Muchahary, Frankle" userId="0f2bf491-0617-4378-90b8-89af8fa381b9" providerId="ADAL" clId="{90877F19-00D2-4A00-8128-E78E36266C9A}" dt="2023-11-04T02:10:16.867" v="37313"/>
          <ac:spMkLst>
            <pc:docMk/>
            <pc:sldMk cId="1462455439" sldId="325"/>
            <ac:spMk id="35" creationId="{452F5C83-CE14-A0D4-1512-0722719A82F1}"/>
          </ac:spMkLst>
        </pc:spChg>
        <pc:spChg chg="mod">
          <ac:chgData name="Muchahary, Frankle" userId="0f2bf491-0617-4378-90b8-89af8fa381b9" providerId="ADAL" clId="{90877F19-00D2-4A00-8128-E78E36266C9A}" dt="2023-11-04T04:09:16.210" v="44757"/>
          <ac:spMkLst>
            <pc:docMk/>
            <pc:sldMk cId="1462455439" sldId="325"/>
            <ac:spMk id="45" creationId="{A3A2DE02-66BD-6306-848B-E6B12A825C58}"/>
          </ac:spMkLst>
        </pc:spChg>
        <pc:spChg chg="add del mod modVis">
          <ac:chgData name="Muchahary, Frankle" userId="0f2bf491-0617-4378-90b8-89af8fa381b9" providerId="ADAL" clId="{90877F19-00D2-4A00-8128-E78E36266C9A}" dt="2023-11-04T02:10:54.768" v="38112"/>
          <ac:spMkLst>
            <pc:docMk/>
            <pc:sldMk cId="1462455439" sldId="325"/>
            <ac:spMk id="49" creationId="{8E779F76-A664-F39C-C942-0390039FB2BE}"/>
          </ac:spMkLst>
        </pc:spChg>
        <pc:spChg chg="mod">
          <ac:chgData name="Muchahary, Frankle" userId="0f2bf491-0617-4378-90b8-89af8fa381b9" providerId="ADAL" clId="{90877F19-00D2-4A00-8128-E78E36266C9A}" dt="2023-11-04T04:09:16.211" v="44758"/>
          <ac:spMkLst>
            <pc:docMk/>
            <pc:sldMk cId="1462455439" sldId="325"/>
            <ac:spMk id="50" creationId="{83AB9063-8ACB-512C-24BB-B17BBA415C1B}"/>
          </ac:spMkLst>
        </pc:spChg>
        <pc:spChg chg="add del mod modVis">
          <ac:chgData name="Muchahary, Frankle" userId="0f2bf491-0617-4378-90b8-89af8fa381b9" providerId="ADAL" clId="{90877F19-00D2-4A00-8128-E78E36266C9A}" dt="2023-11-04T02:11:42.740" v="38256"/>
          <ac:spMkLst>
            <pc:docMk/>
            <pc:sldMk cId="1462455439" sldId="325"/>
            <ac:spMk id="52" creationId="{4123E1BA-F0E0-E16E-32D2-714CB6FD3F76}"/>
          </ac:spMkLst>
        </pc:spChg>
        <pc:spChg chg="mod">
          <ac:chgData name="Muchahary, Frankle" userId="0f2bf491-0617-4378-90b8-89af8fa381b9" providerId="ADAL" clId="{90877F19-00D2-4A00-8128-E78E36266C9A}" dt="2023-11-04T04:09:16.211" v="44759"/>
          <ac:spMkLst>
            <pc:docMk/>
            <pc:sldMk cId="1462455439" sldId="325"/>
            <ac:spMk id="55" creationId="{81F04892-2CBE-05E8-1FF2-2F3C18C79DDA}"/>
          </ac:spMkLst>
        </pc:spChg>
        <pc:spChg chg="add del mod modVis">
          <ac:chgData name="Muchahary, Frankle" userId="0f2bf491-0617-4378-90b8-89af8fa381b9" providerId="ADAL" clId="{90877F19-00D2-4A00-8128-E78E36266C9A}" dt="2023-11-04T02:11:51.994" v="38426"/>
          <ac:spMkLst>
            <pc:docMk/>
            <pc:sldMk cId="1462455439" sldId="325"/>
            <ac:spMk id="56" creationId="{D4BBD12C-22E8-D5A5-085F-6227F7925A57}"/>
          </ac:spMkLst>
        </pc:spChg>
        <pc:spChg chg="add del mod modVis">
          <ac:chgData name="Muchahary, Frankle" userId="0f2bf491-0617-4378-90b8-89af8fa381b9" providerId="ADAL" clId="{90877F19-00D2-4A00-8128-E78E36266C9A}" dt="2023-11-04T02:11:53.414" v="38594"/>
          <ac:spMkLst>
            <pc:docMk/>
            <pc:sldMk cId="1462455439" sldId="325"/>
            <ac:spMk id="60" creationId="{583A17CE-F6E7-1698-2E96-1F7D261A51CB}"/>
          </ac:spMkLst>
        </pc:spChg>
        <pc:spChg chg="add del mod modVis">
          <ac:chgData name="Muchahary, Frankle" userId="0f2bf491-0617-4378-90b8-89af8fa381b9" providerId="ADAL" clId="{90877F19-00D2-4A00-8128-E78E36266C9A}" dt="2023-11-04T02:11:54.480" v="38762"/>
          <ac:spMkLst>
            <pc:docMk/>
            <pc:sldMk cId="1462455439" sldId="325"/>
            <ac:spMk id="63" creationId="{AC33F573-1BD7-1D47-385B-341EA4C01074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11" creationId="{B3ED5D1D-3A10-6FF1-AAE5-D85346506BB1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15" creationId="{D945528C-F8C3-B95E-6C97-3E1211C284D1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16" creationId="{47EC9AC6-BCCC-223D-9039-76C6E2E600E9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17" creationId="{7E95A5CB-9B2F-97C1-FC1D-A712101F58AF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18" creationId="{636CA115-C575-48CA-37D2-287435EDEB9A}"/>
          </ac:spMkLst>
        </pc:spChg>
        <pc:spChg chg="mo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438" creationId="{84FAB29A-455F-08B2-B433-78FF60A92CE4}"/>
          </ac:spMkLst>
        </pc:spChg>
        <pc:spChg chg="del mod">
          <ac:chgData name="Muchahary, Frankle" userId="0f2bf491-0617-4378-90b8-89af8fa381b9" providerId="ADAL" clId="{90877F19-00D2-4A00-8128-E78E36266C9A}" dt="2023-11-04T02:10:54.736" v="38061"/>
          <ac:spMkLst>
            <pc:docMk/>
            <pc:sldMk cId="1462455439" sldId="325"/>
            <ac:spMk id="562" creationId="{BFAE1C44-A8C0-B514-6416-052BDDF41428}"/>
          </ac:spMkLst>
        </pc:spChg>
        <pc:spChg chg="mod ord">
          <ac:chgData name="Muchahary, Frankle" userId="0f2bf491-0617-4378-90b8-89af8fa381b9" providerId="ADAL" clId="{90877F19-00D2-4A00-8128-E78E36266C9A}" dt="2023-11-04T04:09:18.325" v="44847"/>
          <ac:spMkLst>
            <pc:docMk/>
            <pc:sldMk cId="1462455439" sldId="325"/>
            <ac:spMk id="705" creationId="{2BAB8A09-998F-FECB-0657-889582B1FE9C}"/>
          </ac:spMkLst>
        </pc:spChg>
        <pc:spChg chg="mod">
          <ac:chgData name="Muchahary, Frankle" userId="0f2bf491-0617-4378-90b8-89af8fa381b9" providerId="ADAL" clId="{90877F19-00D2-4A00-8128-E78E36266C9A}" dt="2023-11-04T04:09:16.208" v="44753"/>
          <ac:spMkLst>
            <pc:docMk/>
            <pc:sldMk cId="1462455439" sldId="325"/>
            <ac:spMk id="798" creationId="{FD338F2F-C25D-7662-9579-080DDD3D2F87}"/>
          </ac:spMkLst>
        </pc:spChg>
        <pc:spChg chg="del">
          <ac:chgData name="Muchahary, Frankle" userId="0f2bf491-0617-4378-90b8-89af8fa381b9" providerId="ADAL" clId="{90877F19-00D2-4A00-8128-E78E36266C9A}" dt="2023-11-04T02:09:33.855" v="35477" actId="478"/>
          <ac:spMkLst>
            <pc:docMk/>
            <pc:sldMk cId="1462455439" sldId="325"/>
            <ac:spMk id="898" creationId="{11FED061-3C46-C825-773C-FF776F34B758}"/>
          </ac:spMkLst>
        </pc:spChg>
        <pc:spChg chg="add del mod modVis">
          <ac:chgData name="Muchahary, Frankle" userId="0f2bf491-0617-4378-90b8-89af8fa381b9" providerId="ADAL" clId="{90877F19-00D2-4A00-8128-E78E36266C9A}" dt="2023-11-04T02:11:55.726" v="38926"/>
          <ac:spMkLst>
            <pc:docMk/>
            <pc:sldMk cId="1462455439" sldId="325"/>
            <ac:spMk id="899" creationId="{D17DF390-7ECF-C495-B5A4-1CDBE8E56113}"/>
          </ac:spMkLst>
        </pc:spChg>
        <pc:spChg chg="add del mod modVis">
          <ac:chgData name="Muchahary, Frankle" userId="0f2bf491-0617-4378-90b8-89af8fa381b9" providerId="ADAL" clId="{90877F19-00D2-4A00-8128-E78E36266C9A}" dt="2023-11-04T02:11:56.933" v="39096"/>
          <ac:spMkLst>
            <pc:docMk/>
            <pc:sldMk cId="1462455439" sldId="325"/>
            <ac:spMk id="902" creationId="{07B8E6F7-B39D-4457-4843-64745ED5C798}"/>
          </ac:spMkLst>
        </pc:spChg>
        <pc:spChg chg="add del mod modVis">
          <ac:chgData name="Muchahary, Frankle" userId="0f2bf491-0617-4378-90b8-89af8fa381b9" providerId="ADAL" clId="{90877F19-00D2-4A00-8128-E78E36266C9A}" dt="2023-11-04T02:11:58.158" v="39266"/>
          <ac:spMkLst>
            <pc:docMk/>
            <pc:sldMk cId="1462455439" sldId="325"/>
            <ac:spMk id="905" creationId="{41E95235-4686-81D6-BCF6-93DA046833AE}"/>
          </ac:spMkLst>
        </pc:spChg>
        <pc:spChg chg="add del mod modVis">
          <ac:chgData name="Muchahary, Frankle" userId="0f2bf491-0617-4378-90b8-89af8fa381b9" providerId="ADAL" clId="{90877F19-00D2-4A00-8128-E78E36266C9A}" dt="2023-11-04T02:12:10.801" v="39497"/>
          <ac:spMkLst>
            <pc:docMk/>
            <pc:sldMk cId="1462455439" sldId="325"/>
            <ac:spMk id="909" creationId="{CE3D1A0B-F3F7-F47D-3F3F-F9CC7662866A}"/>
          </ac:spMkLst>
        </pc:spChg>
        <pc:spChg chg="add del mod modVis">
          <ac:chgData name="Muchahary, Frankle" userId="0f2bf491-0617-4378-90b8-89af8fa381b9" providerId="ADAL" clId="{90877F19-00D2-4A00-8128-E78E36266C9A}" dt="2023-11-04T02:12:12.747" v="39667"/>
          <ac:spMkLst>
            <pc:docMk/>
            <pc:sldMk cId="1462455439" sldId="325"/>
            <ac:spMk id="912" creationId="{F41D8CFC-2939-321D-0C78-D87ABC43A4C4}"/>
          </ac:spMkLst>
        </pc:spChg>
        <pc:spChg chg="add del mod modVis">
          <ac:chgData name="Muchahary, Frankle" userId="0f2bf491-0617-4378-90b8-89af8fa381b9" providerId="ADAL" clId="{90877F19-00D2-4A00-8128-E78E36266C9A}" dt="2023-11-04T02:12:14.292" v="39837"/>
          <ac:spMkLst>
            <pc:docMk/>
            <pc:sldMk cId="1462455439" sldId="325"/>
            <ac:spMk id="915" creationId="{80C15492-47D2-66F0-E0BB-645D03CB4E72}"/>
          </ac:spMkLst>
        </pc:spChg>
        <pc:spChg chg="add del mod modVis">
          <ac:chgData name="Muchahary, Frankle" userId="0f2bf491-0617-4378-90b8-89af8fa381b9" providerId="ADAL" clId="{90877F19-00D2-4A00-8128-E78E36266C9A}" dt="2023-11-04T02:12:20.035" v="39983"/>
          <ac:spMkLst>
            <pc:docMk/>
            <pc:sldMk cId="1462455439" sldId="325"/>
            <ac:spMk id="919" creationId="{0697D6A9-F8C3-960A-4EFD-DE9C6985B1EA}"/>
          </ac:spMkLst>
        </pc:spChg>
        <pc:spChg chg="add del mod modVis">
          <ac:chgData name="Muchahary, Frankle" userId="0f2bf491-0617-4378-90b8-89af8fa381b9" providerId="ADAL" clId="{90877F19-00D2-4A00-8128-E78E36266C9A}" dt="2023-11-04T02:12:52.448" v="40332"/>
          <ac:spMkLst>
            <pc:docMk/>
            <pc:sldMk cId="1462455439" sldId="325"/>
            <ac:spMk id="924" creationId="{5DD97A9F-AB84-C940-6B55-73D5910138BC}"/>
          </ac:spMkLst>
        </pc:spChg>
        <pc:graphicFrameChg chg="mod">
          <ac:chgData name="Muchahary, Frankle" userId="0f2bf491-0617-4378-90b8-89af8fa381b9" providerId="ADAL" clId="{90877F19-00D2-4A00-8128-E78E36266C9A}" dt="2023-11-04T04:09:18.342" v="44849"/>
          <ac:graphicFrameMkLst>
            <pc:docMk/>
            <pc:sldMk cId="1462455439" sldId="325"/>
            <ac:graphicFrameMk id="4" creationId="{FD4A65FB-339A-B2BC-4155-257FFC3BBBB9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4T04:09:18.325" v="44847"/>
          <ac:graphicFrameMkLst>
            <pc:docMk/>
            <pc:sldMk cId="1462455439" sldId="325"/>
            <ac:graphicFrameMk id="6" creationId="{4F0FFEC9-7853-5380-3E03-3740A0CF252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44.001" v="35877"/>
          <ac:graphicFrameMkLst>
            <pc:docMk/>
            <pc:sldMk cId="1462455439" sldId="325"/>
            <ac:graphicFrameMk id="6" creationId="{D355A0BF-F5A6-B566-D94F-AAD2D09F976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47.086" v="36041"/>
          <ac:graphicFrameMkLst>
            <pc:docMk/>
            <pc:sldMk cId="1462455439" sldId="325"/>
            <ac:graphicFrameMk id="8" creationId="{638E41CB-3718-EA7F-A726-23224E16D31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47.310" v="36150"/>
          <ac:graphicFrameMkLst>
            <pc:docMk/>
            <pc:sldMk cId="1462455439" sldId="325"/>
            <ac:graphicFrameMk id="11" creationId="{0F970604-332A-EBFF-48D7-A8F6B678E6D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47.513" v="36250"/>
          <ac:graphicFrameMkLst>
            <pc:docMk/>
            <pc:sldMk cId="1462455439" sldId="325"/>
            <ac:graphicFrameMk id="13" creationId="{4225DBB4-6ADE-B008-6F25-07B4CDB3A6F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09:47.723" v="36350"/>
          <ac:graphicFrameMkLst>
            <pc:docMk/>
            <pc:sldMk cId="1462455439" sldId="325"/>
            <ac:graphicFrameMk id="15" creationId="{61F6C8DE-93EB-6CA1-6574-27E2DFCCD51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00.985" v="36452"/>
          <ac:graphicFrameMkLst>
            <pc:docMk/>
            <pc:sldMk cId="1462455439" sldId="325"/>
            <ac:graphicFrameMk id="17" creationId="{1A351167-9E96-B211-6BFF-8D886B84B7E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01.648" v="36553"/>
          <ac:graphicFrameMkLst>
            <pc:docMk/>
            <pc:sldMk cId="1462455439" sldId="325"/>
            <ac:graphicFrameMk id="19" creationId="{02BD08F6-7A41-C893-B15B-8D5D7B5E222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12.681" v="36979"/>
          <ac:graphicFrameMkLst>
            <pc:docMk/>
            <pc:sldMk cId="1462455439" sldId="325"/>
            <ac:graphicFrameMk id="21" creationId="{B0A01FBF-B73B-7A0F-C6D0-4C7907AD782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06.249" v="36758"/>
          <ac:graphicFrameMkLst>
            <pc:docMk/>
            <pc:sldMk cId="1462455439" sldId="325"/>
            <ac:graphicFrameMk id="23" creationId="{84F46973-A7C7-ABBA-F2CD-C9FA6F542E5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09.670" v="36832"/>
          <ac:graphicFrameMkLst>
            <pc:docMk/>
            <pc:sldMk cId="1462455439" sldId="325"/>
            <ac:graphicFrameMk id="24" creationId="{15AA9A2A-F341-7424-2DD0-46724FF7980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22.499" v="37348"/>
          <ac:graphicFrameMkLst>
            <pc:docMk/>
            <pc:sldMk cId="1462455439" sldId="325"/>
            <ac:graphicFrameMk id="26" creationId="{82B73822-BE27-5E28-78B0-3BBF9BA729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15.166" v="37128"/>
          <ac:graphicFrameMkLst>
            <pc:docMk/>
            <pc:sldMk cId="1462455439" sldId="325"/>
            <ac:graphicFrameMk id="32" creationId="{2627310C-7006-6E1B-B1C1-6EC3A948D56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16.836" v="37265"/>
          <ac:graphicFrameMkLst>
            <pc:docMk/>
            <pc:sldMk cId="1462455439" sldId="325"/>
            <ac:graphicFrameMk id="34" creationId="{4BFB3372-6ABF-C97F-2D6A-48D4A7D76A7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54.736" v="38065"/>
          <ac:graphicFrameMkLst>
            <pc:docMk/>
            <pc:sldMk cId="1462455439" sldId="325"/>
            <ac:graphicFrameMk id="36" creationId="{806DEBCD-B732-ACB2-E318-5E8A6F7643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24.534" v="37417"/>
          <ac:graphicFrameMkLst>
            <pc:docMk/>
            <pc:sldMk cId="1462455439" sldId="325"/>
            <ac:graphicFrameMk id="37" creationId="{83BFF69B-63C6-817D-B328-63A1C2D416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25.218" v="37486"/>
          <ac:graphicFrameMkLst>
            <pc:docMk/>
            <pc:sldMk cId="1462455439" sldId="325"/>
            <ac:graphicFrameMk id="38" creationId="{0E04D07A-1245-1273-A760-A3CF73197BC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27.954" v="37555"/>
          <ac:graphicFrameMkLst>
            <pc:docMk/>
            <pc:sldMk cId="1462455439" sldId="325"/>
            <ac:graphicFrameMk id="39" creationId="{ABB1694A-2895-D92D-BEAA-AE351A99DB6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30.504" v="37624"/>
          <ac:graphicFrameMkLst>
            <pc:docMk/>
            <pc:sldMk cId="1462455439" sldId="325"/>
            <ac:graphicFrameMk id="40" creationId="{04BD2E4C-F16A-F97A-67A4-6F6A1E30C00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32.530" v="37694"/>
          <ac:graphicFrameMkLst>
            <pc:docMk/>
            <pc:sldMk cId="1462455439" sldId="325"/>
            <ac:graphicFrameMk id="41" creationId="{C0DDD117-BFAB-0146-812C-0ADE3655480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35.627" v="37763"/>
          <ac:graphicFrameMkLst>
            <pc:docMk/>
            <pc:sldMk cId="1462455439" sldId="325"/>
            <ac:graphicFrameMk id="42" creationId="{8A9997D4-43D6-185A-882F-BFAFB8A43F5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43.029" v="37831"/>
          <ac:graphicFrameMkLst>
            <pc:docMk/>
            <pc:sldMk cId="1462455439" sldId="325"/>
            <ac:graphicFrameMk id="43" creationId="{30F37A50-E794-7E3A-2E04-989987FF471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45.126" v="37899"/>
          <ac:graphicFrameMkLst>
            <pc:docMk/>
            <pc:sldMk cId="1462455439" sldId="325"/>
            <ac:graphicFrameMk id="44" creationId="{5A7745B9-D911-71BC-1E7E-F237CADD700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0:47.161" v="37967"/>
          <ac:graphicFrameMkLst>
            <pc:docMk/>
            <pc:sldMk cId="1462455439" sldId="325"/>
            <ac:graphicFrameMk id="46" creationId="{4AA7599B-472D-EA9D-DE37-87D8AE2C375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1.966" v="38379"/>
          <ac:graphicFrameMkLst>
            <pc:docMk/>
            <pc:sldMk cId="1462455439" sldId="325"/>
            <ac:graphicFrameMk id="47" creationId="{A4994F2B-5EF9-99A3-EA29-773718176FD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42.714" v="38209"/>
          <ac:graphicFrameMkLst>
            <pc:docMk/>
            <pc:sldMk cId="1462455439" sldId="325"/>
            <ac:graphicFrameMk id="51" creationId="{2E9A36BC-6CF5-C602-7A2D-CBBEEF4D2FE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1.920" v="38353"/>
          <ac:graphicFrameMkLst>
            <pc:docMk/>
            <pc:sldMk cId="1462455439" sldId="325"/>
            <ac:graphicFrameMk id="54" creationId="{EA2A80D7-A002-EB12-2B2F-EA1339C15AA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3.346" v="38521"/>
          <ac:graphicFrameMkLst>
            <pc:docMk/>
            <pc:sldMk cId="1462455439" sldId="325"/>
            <ac:graphicFrameMk id="57" creationId="{6DBFCA9A-4A9F-5F03-DA4C-46C9059B4BF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3.382" v="38547"/>
          <ac:graphicFrameMkLst>
            <pc:docMk/>
            <pc:sldMk cId="1462455439" sldId="325"/>
            <ac:graphicFrameMk id="59" creationId="{F48FA2FD-5583-E5D6-7F67-905FEE9BE9E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4.400" v="38689"/>
          <ac:graphicFrameMkLst>
            <pc:docMk/>
            <pc:sldMk cId="1462455439" sldId="325"/>
            <ac:graphicFrameMk id="61" creationId="{8A6BAA8B-90FF-717F-5947-3D4D252718E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4.441" v="38715"/>
          <ac:graphicFrameMkLst>
            <pc:docMk/>
            <pc:sldMk cId="1462455439" sldId="325"/>
            <ac:graphicFrameMk id="62" creationId="{98F7463C-1C65-CA7D-0C48-7BA4E21C6B1F}"/>
          </ac:graphicFrameMkLst>
        </pc:graphicFrameChg>
        <pc:graphicFrameChg chg="del mod ord">
          <ac:chgData name="Muchahary, Frankle" userId="0f2bf491-0617-4378-90b8-89af8fa381b9" providerId="ADAL" clId="{90877F19-00D2-4A00-8128-E78E36266C9A}" dt="2023-11-04T02:10:04.924" v="36687"/>
          <ac:graphicFrameMkLst>
            <pc:docMk/>
            <pc:sldMk cId="1462455439" sldId="325"/>
            <ac:graphicFrameMk id="870" creationId="{706EC6EE-F8D0-ACB5-49FA-6B35A52F418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5.647" v="38853"/>
          <ac:graphicFrameMkLst>
            <pc:docMk/>
            <pc:sldMk cId="1462455439" sldId="325"/>
            <ac:graphicFrameMk id="896" creationId="{075DBDD9-9EE8-2C6B-105F-D910532A027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5.682" v="38879"/>
          <ac:graphicFrameMkLst>
            <pc:docMk/>
            <pc:sldMk cId="1462455439" sldId="325"/>
            <ac:graphicFrameMk id="897" creationId="{5A85CD90-8B6D-FAAC-2787-2084338CCB5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6.852" v="39023"/>
          <ac:graphicFrameMkLst>
            <pc:docMk/>
            <pc:sldMk cId="1462455439" sldId="325"/>
            <ac:graphicFrameMk id="900" creationId="{EA9FC948-2EF4-C038-34A2-C3C447CC405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6.887" v="39049"/>
          <ac:graphicFrameMkLst>
            <pc:docMk/>
            <pc:sldMk cId="1462455439" sldId="325"/>
            <ac:graphicFrameMk id="901" creationId="{A83CFAF4-1DDA-12C2-FF63-5695DCC3E66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8.083" v="39193"/>
          <ac:graphicFrameMkLst>
            <pc:docMk/>
            <pc:sldMk cId="1462455439" sldId="325"/>
            <ac:graphicFrameMk id="903" creationId="{82ACD1AC-C86D-596F-BA43-63C8D866CC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1:58.111" v="39219"/>
          <ac:graphicFrameMkLst>
            <pc:docMk/>
            <pc:sldMk cId="1462455439" sldId="325"/>
            <ac:graphicFrameMk id="904" creationId="{DAC51A53-73B1-0A86-D706-8FA6164472B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0.723" v="39424"/>
          <ac:graphicFrameMkLst>
            <pc:docMk/>
            <pc:sldMk cId="1462455439" sldId="325"/>
            <ac:graphicFrameMk id="906" creationId="{5E801CC7-62EE-7328-A47A-5FD1C6B1C3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05.845" v="39277"/>
          <ac:graphicFrameMkLst>
            <pc:docMk/>
            <pc:sldMk cId="1462455439" sldId="325"/>
            <ac:graphicFrameMk id="907" creationId="{A5F9CD69-CD44-8895-3FB8-5F22A038C33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0.770" v="39450"/>
          <ac:graphicFrameMkLst>
            <pc:docMk/>
            <pc:sldMk cId="1462455439" sldId="325"/>
            <ac:graphicFrameMk id="908" creationId="{A095F08D-856F-21D0-DD51-0A1F951C1F3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2.679" v="39594"/>
          <ac:graphicFrameMkLst>
            <pc:docMk/>
            <pc:sldMk cId="1462455439" sldId="325"/>
            <ac:graphicFrameMk id="910" creationId="{3B01D9C0-7C15-3B9B-E64C-95BF470DEC3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2.718" v="39620"/>
          <ac:graphicFrameMkLst>
            <pc:docMk/>
            <pc:sldMk cId="1462455439" sldId="325"/>
            <ac:graphicFrameMk id="911" creationId="{C7A7465E-CC73-42A1-89EE-41567CC9356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4.210" v="39764"/>
          <ac:graphicFrameMkLst>
            <pc:docMk/>
            <pc:sldMk cId="1462455439" sldId="325"/>
            <ac:graphicFrameMk id="913" creationId="{2C37B5EA-C9B2-D07C-588B-648AD0EC8C1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4.241" v="39790"/>
          <ac:graphicFrameMkLst>
            <pc:docMk/>
            <pc:sldMk cId="1462455439" sldId="325"/>
            <ac:graphicFrameMk id="914" creationId="{AB81A905-AA11-4740-3922-8718BBFE459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19.999" v="39936"/>
          <ac:graphicFrameMkLst>
            <pc:docMk/>
            <pc:sldMk cId="1462455439" sldId="325"/>
            <ac:graphicFrameMk id="916" creationId="{8CBACEC0-4E53-B10A-1921-23427CE42E6E}"/>
          </ac:graphicFrameMkLst>
        </pc:graphicFrameChg>
        <pc:graphicFrameChg chg="del">
          <ac:chgData name="Muchahary, Frankle" userId="0f2bf491-0617-4378-90b8-89af8fa381b9" providerId="ADAL" clId="{90877F19-00D2-4A00-8128-E78E36266C9A}" dt="2023-11-04T02:09:35.871" v="35767"/>
          <ac:graphicFrameMkLst>
            <pc:docMk/>
            <pc:sldMk cId="1462455439" sldId="325"/>
            <ac:graphicFrameMk id="917" creationId="{3BDFF779-15E1-7005-2655-F8CEA89E9EA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25.166" v="40006"/>
          <ac:graphicFrameMkLst>
            <pc:docMk/>
            <pc:sldMk cId="1462455439" sldId="325"/>
            <ac:graphicFrameMk id="918" creationId="{4463F1DF-C2E0-56BB-4A21-F5532730AF5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52.412" v="40285"/>
          <ac:graphicFrameMkLst>
            <pc:docMk/>
            <pc:sldMk cId="1462455439" sldId="325"/>
            <ac:graphicFrameMk id="920" creationId="{2B23CF28-E7EF-A025-2B6C-0507B7B341D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26.928" v="40074"/>
          <ac:graphicFrameMkLst>
            <pc:docMk/>
            <pc:sldMk cId="1462455439" sldId="325"/>
            <ac:graphicFrameMk id="921" creationId="{CD062C51-D06A-A5D7-66B3-ADE0EE0D564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30.353" v="40142"/>
          <ac:graphicFrameMkLst>
            <pc:docMk/>
            <pc:sldMk cId="1462455439" sldId="325"/>
            <ac:graphicFrameMk id="922" creationId="{808F39FD-BC79-F21D-9C54-0FBDCF2AADC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2:59.724" v="40355"/>
          <ac:graphicFrameMkLst>
            <pc:docMk/>
            <pc:sldMk cId="1462455439" sldId="325"/>
            <ac:graphicFrameMk id="923" creationId="{B6382AC6-4A0F-F80E-0ACB-3565C59FAB57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4T04:09:18.325" v="44847"/>
          <ac:graphicFrameMkLst>
            <pc:docMk/>
            <pc:sldMk cId="1462455439" sldId="325"/>
            <ac:graphicFrameMk id="925" creationId="{B27CDB98-0B2F-C4D5-D862-F9D00A66989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3:01.145" v="40423"/>
          <ac:graphicFrameMkLst>
            <pc:docMk/>
            <pc:sldMk cId="1462455439" sldId="325"/>
            <ac:graphicFrameMk id="926" creationId="{B32E5AED-32F7-6613-C068-37961A8A17E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3:04.050" v="40496"/>
          <ac:graphicFrameMkLst>
            <pc:docMk/>
            <pc:sldMk cId="1462455439" sldId="325"/>
            <ac:graphicFrameMk id="927" creationId="{DF3782E8-4399-B58E-A11A-12A8C74DEC0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2:13:05.208" v="40564"/>
          <ac:graphicFrameMkLst>
            <pc:docMk/>
            <pc:sldMk cId="1462455439" sldId="325"/>
            <ac:graphicFrameMk id="928" creationId="{6E1B35A3-4C88-5481-8892-0E1DD36EA69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4T04:09:18.325" v="44847"/>
          <ac:graphicFrameMkLst>
            <pc:docMk/>
            <pc:sldMk cId="1462455439" sldId="325"/>
            <ac:graphicFrameMk id="929" creationId="{7ABD2F32-CADA-746C-26C5-ED16469DBD8D}"/>
          </ac:graphicFrameMkLst>
        </pc:graphicFrameChg>
        <pc:graphicFrameChg chg="add del">
          <ac:chgData name="Muchahary, Frankle" userId="0f2bf491-0617-4378-90b8-89af8fa381b9" providerId="ADAL" clId="{90877F19-00D2-4A00-8128-E78E36266C9A}" dt="2023-11-04T02:13:56.531" v="40613"/>
          <ac:graphicFrameMkLst>
            <pc:docMk/>
            <pc:sldMk cId="1462455439" sldId="325"/>
            <ac:graphicFrameMk id="930" creationId="{1023BB5E-D547-963D-8559-5C32530EFC64}"/>
          </ac:graphicFrameMkLst>
        </pc:graphicFrame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29" creationId="{F2295E77-40E2-5087-4E73-AE5952D8E523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30" creationId="{991F2E8C-2A22-B0B0-19A8-C1C7726291CF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48" creationId="{5FFF1E2B-3CD3-452D-9566-44CD44CD4F4A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53" creationId="{F07D8070-18B2-7BCA-982E-E5420F7D03F1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58" creationId="{40C7A6BC-3F9E-0E9F-E754-89AE45F21FAC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707" creationId="{D4820B4D-9B7C-2510-5EAD-0EF62DFA8123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708" creationId="{EBFCB9C1-0B3E-EBD3-0584-CDD6D689DC1F}"/>
          </ac:cxnSpMkLst>
        </pc:cxnChg>
        <pc:cxnChg chg="mod ord">
          <ac:chgData name="Muchahary, Frankle" userId="0f2bf491-0617-4378-90b8-89af8fa381b9" providerId="ADAL" clId="{90877F19-00D2-4A00-8128-E78E36266C9A}" dt="2023-11-04T04:09:18.325" v="44847"/>
          <ac:cxnSpMkLst>
            <pc:docMk/>
            <pc:sldMk cId="1462455439" sldId="325"/>
            <ac:cxnSpMk id="709" creationId="{8DBE1CD4-2B70-58D2-D203-BBF62683D1A9}"/>
          </ac:cxnSpMkLst>
        </pc:cxnChg>
      </pc:sldChg>
      <pc:sldChg chg="add del mod modTransition modShow">
        <pc:chgData name="Muchahary, Frankle" userId="0f2bf491-0617-4378-90b8-89af8fa381b9" providerId="ADAL" clId="{90877F19-00D2-4A00-8128-E78E36266C9A}" dt="2023-11-08T05:49:47.671" v="163075" actId="47"/>
        <pc:sldMkLst>
          <pc:docMk/>
          <pc:sldMk cId="3289686221" sldId="325"/>
        </pc:sldMkLst>
      </pc:sldChg>
      <pc:sldChg chg="addSp delSp modSp add mod modClrScheme chgLayout modNotesTx">
        <pc:chgData name="Muchahary, Frankle" userId="0f2bf491-0617-4378-90b8-89af8fa381b9" providerId="ADAL" clId="{90877F19-00D2-4A00-8128-E78E36266C9A}" dt="2023-11-08T07:19:47.433" v="171286"/>
        <pc:sldMkLst>
          <pc:docMk/>
          <pc:sldMk cId="1761573872" sldId="326"/>
        </pc:sldMkLst>
        <pc:spChg chg="add del mod modVis">
          <ac:chgData name="Muchahary, Frankle" userId="0f2bf491-0617-4378-90b8-89af8fa381b9" providerId="ADAL" clId="{90877F19-00D2-4A00-8128-E78E36266C9A}" dt="2023-11-04T02:14:05.450" v="40665"/>
          <ac:spMkLst>
            <pc:docMk/>
            <pc:sldMk cId="1761573872" sldId="326"/>
            <ac:spMk id="2" creationId="{3072B35D-B025-CA5F-2D61-4A71B2813BDA}"/>
          </ac:spMkLst>
        </pc:spChg>
        <pc:spChg chg="add del mod modVis">
          <ac:chgData name="Muchahary, Frankle" userId="0f2bf491-0617-4378-90b8-89af8fa381b9" providerId="ADAL" clId="{90877F19-00D2-4A00-8128-E78E36266C9A}" dt="2023-11-04T03:08:39.594" v="43900"/>
          <ac:spMkLst>
            <pc:docMk/>
            <pc:sldMk cId="1761573872" sldId="326"/>
            <ac:spMk id="2" creationId="{B44DB235-7F34-B143-BD7C-C6D28581A359}"/>
          </ac:spMkLst>
        </pc:spChg>
        <pc:spChg chg="mod ord">
          <ac:chgData name="Muchahary, Frankle" userId="0f2bf491-0617-4378-90b8-89af8fa381b9" providerId="ADAL" clId="{90877F19-00D2-4A00-8128-E78E36266C9A}" dt="2023-11-08T07:19:47.394" v="171261" actId="948"/>
          <ac:spMkLst>
            <pc:docMk/>
            <pc:sldMk cId="1761573872" sldId="326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8T07:18:53.048" v="170999"/>
          <ac:spMkLst>
            <pc:docMk/>
            <pc:sldMk cId="1761573872" sldId="326"/>
            <ac:spMk id="5" creationId="{05BD1A82-97F8-C818-9744-21A8DBA6693A}"/>
          </ac:spMkLst>
        </pc:spChg>
        <pc:spChg chg="add del mod modVis">
          <ac:chgData name="Muchahary, Frankle" userId="0f2bf491-0617-4378-90b8-89af8fa381b9" providerId="ADAL" clId="{90877F19-00D2-4A00-8128-E78E36266C9A}" dt="2023-11-04T02:14:20.791" v="40726"/>
          <ac:spMkLst>
            <pc:docMk/>
            <pc:sldMk cId="1761573872" sldId="326"/>
            <ac:spMk id="5" creationId="{3915187A-7345-D73D-09C4-BA44C98EE639}"/>
          </ac:spMkLst>
        </pc:spChg>
        <pc:spChg chg="add del mod modVis">
          <ac:chgData name="Muchahary, Frankle" userId="0f2bf491-0617-4378-90b8-89af8fa381b9" providerId="ADAL" clId="{90877F19-00D2-4A00-8128-E78E36266C9A}" dt="2023-11-05T18:13:05.760" v="150596"/>
          <ac:spMkLst>
            <pc:docMk/>
            <pc:sldMk cId="1761573872" sldId="326"/>
            <ac:spMk id="5" creationId="{4A5A1961-CE1E-B15D-DFDF-DE7F816B9B37}"/>
          </ac:spMkLst>
        </pc:spChg>
        <pc:spChg chg="add del mod modVis">
          <ac:chgData name="Muchahary, Frankle" userId="0f2bf491-0617-4378-90b8-89af8fa381b9" providerId="ADAL" clId="{90877F19-00D2-4A00-8128-E78E36266C9A}" dt="2023-11-04T21:37:37.386" v="120324"/>
          <ac:spMkLst>
            <pc:docMk/>
            <pc:sldMk cId="1761573872" sldId="326"/>
            <ac:spMk id="5" creationId="{D4DB16D8-EE5D-84DB-0972-45BAD89F4A52}"/>
          </ac:spMkLst>
        </pc:spChg>
        <pc:spChg chg="add del mod modVis">
          <ac:chgData name="Muchahary, Frankle" userId="0f2bf491-0617-4378-90b8-89af8fa381b9" providerId="ADAL" clId="{90877F19-00D2-4A00-8128-E78E36266C9A}" dt="2023-11-04T02:14:22.925" v="40763"/>
          <ac:spMkLst>
            <pc:docMk/>
            <pc:sldMk cId="1761573872" sldId="326"/>
            <ac:spMk id="6" creationId="{7D8F03AC-FA02-CDA1-272B-014A2699EBBF}"/>
          </ac:spMkLst>
        </pc:spChg>
        <pc:spChg chg="add del mod modVis">
          <ac:chgData name="Muchahary, Frankle" userId="0f2bf491-0617-4378-90b8-89af8fa381b9" providerId="ADAL" clId="{90877F19-00D2-4A00-8128-E78E36266C9A}" dt="2023-11-08T07:18:57.349" v="171026"/>
          <ac:spMkLst>
            <pc:docMk/>
            <pc:sldMk cId="1761573872" sldId="326"/>
            <ac:spMk id="7" creationId="{530537BD-073E-88D1-0B5C-4B376E16D25D}"/>
          </ac:spMkLst>
        </pc:spChg>
        <pc:spChg chg="add del mod modVis">
          <ac:chgData name="Muchahary, Frankle" userId="0f2bf491-0617-4378-90b8-89af8fa381b9" providerId="ADAL" clId="{90877F19-00D2-4A00-8128-E78E36266C9A}" dt="2023-11-04T02:14:24.819" v="40796"/>
          <ac:spMkLst>
            <pc:docMk/>
            <pc:sldMk cId="1761573872" sldId="326"/>
            <ac:spMk id="7" creationId="{94AA7A6D-4887-4DD4-CDA6-A9D0A57DB172}"/>
          </ac:spMkLst>
        </pc:spChg>
        <pc:spChg chg="add del mod modVis">
          <ac:chgData name="Muchahary, Frankle" userId="0f2bf491-0617-4378-90b8-89af8fa381b9" providerId="ADAL" clId="{90877F19-00D2-4A00-8128-E78E36266C9A}" dt="2023-11-08T07:19:17.160" v="171065"/>
          <ac:spMkLst>
            <pc:docMk/>
            <pc:sldMk cId="1761573872" sldId="326"/>
            <ac:spMk id="8" creationId="{A4559BD5-B0DE-9AA2-E3EB-9187BA36B582}"/>
          </ac:spMkLst>
        </pc:spChg>
        <pc:spChg chg="add del mod modVis">
          <ac:chgData name="Muchahary, Frankle" userId="0f2bf491-0617-4378-90b8-89af8fa381b9" providerId="ADAL" clId="{90877F19-00D2-4A00-8128-E78E36266C9A}" dt="2023-11-04T02:14:27.250" v="40831"/>
          <ac:spMkLst>
            <pc:docMk/>
            <pc:sldMk cId="1761573872" sldId="326"/>
            <ac:spMk id="8" creationId="{B5C69001-DAD4-C20D-A2FD-F8609592B60F}"/>
          </ac:spMkLst>
        </pc:spChg>
        <pc:spChg chg="add del mod modVis">
          <ac:chgData name="Muchahary, Frankle" userId="0f2bf491-0617-4378-90b8-89af8fa381b9" providerId="ADAL" clId="{90877F19-00D2-4A00-8128-E78E36266C9A}" dt="2023-11-08T07:19:25.384" v="171136"/>
          <ac:spMkLst>
            <pc:docMk/>
            <pc:sldMk cId="1761573872" sldId="326"/>
            <ac:spMk id="9" creationId="{0CAFF577-A37B-9967-8667-8C927D4556BD}"/>
          </ac:spMkLst>
        </pc:spChg>
        <pc:spChg chg="add del mod modVis">
          <ac:chgData name="Muchahary, Frankle" userId="0f2bf491-0617-4378-90b8-89af8fa381b9" providerId="ADAL" clId="{90877F19-00D2-4A00-8128-E78E36266C9A}" dt="2023-11-04T02:14:30.065" v="40858"/>
          <ac:spMkLst>
            <pc:docMk/>
            <pc:sldMk cId="1761573872" sldId="326"/>
            <ac:spMk id="9" creationId="{D888FA1F-8B42-E667-E12E-8A77A4586D6D}"/>
          </ac:spMkLst>
        </pc:spChg>
        <pc:spChg chg="add del mod modVis">
          <ac:chgData name="Muchahary, Frankle" userId="0f2bf491-0617-4378-90b8-89af8fa381b9" providerId="ADAL" clId="{90877F19-00D2-4A00-8128-E78E36266C9A}" dt="2023-11-04T02:14:38.322" v="40952"/>
          <ac:spMkLst>
            <pc:docMk/>
            <pc:sldMk cId="1761573872" sldId="326"/>
            <ac:spMk id="10" creationId="{EB193465-5E5D-9159-210B-AF19393F710C}"/>
          </ac:spMkLst>
        </pc:spChg>
        <pc:spChg chg="add mod">
          <ac:chgData name="Muchahary, Frankle" userId="0f2bf491-0617-4378-90b8-89af8fa381b9" providerId="ADAL" clId="{90877F19-00D2-4A00-8128-E78E36266C9A}" dt="2023-11-05T21:29:07.744" v="152806" actId="164"/>
          <ac:spMkLst>
            <pc:docMk/>
            <pc:sldMk cId="1761573872" sldId="326"/>
            <ac:spMk id="10" creationId="{F8136A88-10DE-82DC-FB17-E86BB3269468}"/>
          </ac:spMkLst>
        </pc:spChg>
        <pc:spChg chg="add del mod modVis">
          <ac:chgData name="Muchahary, Frankle" userId="0f2bf491-0617-4378-90b8-89af8fa381b9" providerId="ADAL" clId="{90877F19-00D2-4A00-8128-E78E36266C9A}" dt="2023-11-04T02:14:40.451" v="40979"/>
          <ac:spMkLst>
            <pc:docMk/>
            <pc:sldMk cId="1761573872" sldId="326"/>
            <ac:spMk id="11" creationId="{2E655A60-75DC-F3B7-5433-D19B8ACDFF1F}"/>
          </ac:spMkLst>
        </pc:spChg>
        <pc:spChg chg="add del mod modVis">
          <ac:chgData name="Muchahary, Frankle" userId="0f2bf491-0617-4378-90b8-89af8fa381b9" providerId="ADAL" clId="{90877F19-00D2-4A00-8128-E78E36266C9A}" dt="2023-11-08T07:19:29.420" v="171163"/>
          <ac:spMkLst>
            <pc:docMk/>
            <pc:sldMk cId="1761573872" sldId="326"/>
            <ac:spMk id="11" creationId="{87C7166C-CA83-3FF6-0FFA-48BBDADC776F}"/>
          </ac:spMkLst>
        </pc:spChg>
        <pc:spChg chg="add del mod modVis">
          <ac:chgData name="Muchahary, Frankle" userId="0f2bf491-0617-4378-90b8-89af8fa381b9" providerId="ADAL" clId="{90877F19-00D2-4A00-8128-E78E36266C9A}" dt="2023-11-04T02:14:46.200" v="41045"/>
          <ac:spMkLst>
            <pc:docMk/>
            <pc:sldMk cId="1761573872" sldId="326"/>
            <ac:spMk id="12" creationId="{62F9C8CD-8567-2342-08B4-8B7BFC99A0A7}"/>
          </ac:spMkLst>
        </pc:spChg>
        <pc:spChg chg="add mod">
          <ac:chgData name="Muchahary, Frankle" userId="0f2bf491-0617-4378-90b8-89af8fa381b9" providerId="ADAL" clId="{90877F19-00D2-4A00-8128-E78E36266C9A}" dt="2023-11-05T21:29:07.744" v="152806" actId="164"/>
          <ac:spMkLst>
            <pc:docMk/>
            <pc:sldMk cId="1761573872" sldId="326"/>
            <ac:spMk id="12" creationId="{BCE29131-0850-F4BF-E67D-4FB987DE8FCA}"/>
          </ac:spMkLst>
        </pc:spChg>
        <pc:spChg chg="add del mod modVis">
          <ac:chgData name="Muchahary, Frankle" userId="0f2bf491-0617-4378-90b8-89af8fa381b9" providerId="ADAL" clId="{90877F19-00D2-4A00-8128-E78E36266C9A}" dt="2023-11-04T02:14:48.407" v="41078"/>
          <ac:spMkLst>
            <pc:docMk/>
            <pc:sldMk cId="1761573872" sldId="326"/>
            <ac:spMk id="13" creationId="{C6BDCE06-B2BC-1678-2376-5995709E6B6A}"/>
          </ac:spMkLst>
        </pc:spChg>
        <pc:spChg chg="add del mod modVis">
          <ac:chgData name="Muchahary, Frankle" userId="0f2bf491-0617-4378-90b8-89af8fa381b9" providerId="ADAL" clId="{90877F19-00D2-4A00-8128-E78E36266C9A}" dt="2023-11-04T02:14:50.753" v="41107"/>
          <ac:spMkLst>
            <pc:docMk/>
            <pc:sldMk cId="1761573872" sldId="326"/>
            <ac:spMk id="14" creationId="{C3AA209D-C83E-502E-7BC9-AF30807096D3}"/>
          </ac:spMkLst>
        </pc:spChg>
        <pc:spChg chg="add del mod modVis">
          <ac:chgData name="Muchahary, Frankle" userId="0f2bf491-0617-4378-90b8-89af8fa381b9" providerId="ADAL" clId="{90877F19-00D2-4A00-8128-E78E36266C9A}" dt="2023-11-04T02:14:56.198" v="41143"/>
          <ac:spMkLst>
            <pc:docMk/>
            <pc:sldMk cId="1761573872" sldId="326"/>
            <ac:spMk id="15" creationId="{3F25BFED-B056-A293-700C-C5D62F4F0251}"/>
          </ac:spMkLst>
        </pc:spChg>
        <pc:spChg chg="add del mod modVis">
          <ac:chgData name="Muchahary, Frankle" userId="0f2bf491-0617-4378-90b8-89af8fa381b9" providerId="ADAL" clId="{90877F19-00D2-4A00-8128-E78E36266C9A}" dt="2023-11-04T02:14:56.904" v="41171"/>
          <ac:spMkLst>
            <pc:docMk/>
            <pc:sldMk cId="1761573872" sldId="326"/>
            <ac:spMk id="16" creationId="{04BB758F-C07E-AB88-DE30-096645832E69}"/>
          </ac:spMkLst>
        </pc:spChg>
        <pc:spChg chg="add del mod modVis">
          <ac:chgData name="Muchahary, Frankle" userId="0f2bf491-0617-4378-90b8-89af8fa381b9" providerId="ADAL" clId="{90877F19-00D2-4A00-8128-E78E36266C9A}" dt="2023-11-04T02:14:58.188" v="41202"/>
          <ac:spMkLst>
            <pc:docMk/>
            <pc:sldMk cId="1761573872" sldId="326"/>
            <ac:spMk id="17" creationId="{FF3AC32C-3783-BF04-7920-79DDEA9C2757}"/>
          </ac:spMkLst>
        </pc:spChg>
        <pc:spChg chg="add del mod modVis">
          <ac:chgData name="Muchahary, Frankle" userId="0f2bf491-0617-4378-90b8-89af8fa381b9" providerId="ADAL" clId="{90877F19-00D2-4A00-8128-E78E36266C9A}" dt="2023-11-04T02:15:00.560" v="41230"/>
          <ac:spMkLst>
            <pc:docMk/>
            <pc:sldMk cId="1761573872" sldId="326"/>
            <ac:spMk id="18" creationId="{42308F8F-3714-BC00-1FB6-8E9F84768BAA}"/>
          </ac:spMkLst>
        </pc:spChg>
        <pc:spChg chg="add del mod modVis">
          <ac:chgData name="Muchahary, Frankle" userId="0f2bf491-0617-4378-90b8-89af8fa381b9" providerId="ADAL" clId="{90877F19-00D2-4A00-8128-E78E36266C9A}" dt="2023-11-04T02:15:01.826" v="41259"/>
          <ac:spMkLst>
            <pc:docMk/>
            <pc:sldMk cId="1761573872" sldId="326"/>
            <ac:spMk id="19" creationId="{8BECF705-7A8F-2193-D54B-E2D040A80A5D}"/>
          </ac:spMkLst>
        </pc:spChg>
        <pc:spChg chg="add del mod modVis">
          <ac:chgData name="Muchahary, Frankle" userId="0f2bf491-0617-4378-90b8-89af8fa381b9" providerId="ADAL" clId="{90877F19-00D2-4A00-8128-E78E36266C9A}" dt="2023-11-08T07:19:35.194" v="171192"/>
          <ac:spMkLst>
            <pc:docMk/>
            <pc:sldMk cId="1761573872" sldId="326"/>
            <ac:spMk id="20" creationId="{84A8E5D2-9ECE-020A-7E33-F90F18128840}"/>
          </ac:spMkLst>
        </pc:spChg>
        <pc:spChg chg="add del mod modVis">
          <ac:chgData name="Muchahary, Frankle" userId="0f2bf491-0617-4378-90b8-89af8fa381b9" providerId="ADAL" clId="{90877F19-00D2-4A00-8128-E78E36266C9A}" dt="2023-11-04T04:41:53.498" v="45410"/>
          <ac:spMkLst>
            <pc:docMk/>
            <pc:sldMk cId="1761573872" sldId="326"/>
            <ac:spMk id="20" creationId="{A0509208-EF71-E393-9BB4-48FAF133A836}"/>
          </ac:spMkLst>
        </pc:spChg>
        <pc:spChg chg="add del mod modVis">
          <ac:chgData name="Muchahary, Frankle" userId="0f2bf491-0617-4378-90b8-89af8fa381b9" providerId="ADAL" clId="{90877F19-00D2-4A00-8128-E78E36266C9A}" dt="2023-11-04T02:15:03.457" v="41290"/>
          <ac:spMkLst>
            <pc:docMk/>
            <pc:sldMk cId="1761573872" sldId="326"/>
            <ac:spMk id="20" creationId="{C09F28AE-78CD-70AF-BDD0-6EAEB50BB90F}"/>
          </ac:spMkLst>
        </pc:spChg>
        <pc:spChg chg="add del mod modVis">
          <ac:chgData name="Muchahary, Frankle" userId="0f2bf491-0617-4378-90b8-89af8fa381b9" providerId="ADAL" clId="{90877F19-00D2-4A00-8128-E78E36266C9A}" dt="2023-11-04T02:15:10.681" v="41359"/>
          <ac:spMkLst>
            <pc:docMk/>
            <pc:sldMk cId="1761573872" sldId="326"/>
            <ac:spMk id="21" creationId="{4A0E4472-780F-2E5A-B8BA-EEFE5CC98D0D}"/>
          </ac:spMkLst>
        </pc:spChg>
        <pc:spChg chg="add del mod modVis">
          <ac:chgData name="Muchahary, Frankle" userId="0f2bf491-0617-4378-90b8-89af8fa381b9" providerId="ADAL" clId="{90877F19-00D2-4A00-8128-E78E36266C9A}" dt="2023-11-04T04:50:11.459" v="45640"/>
          <ac:spMkLst>
            <pc:docMk/>
            <pc:sldMk cId="1761573872" sldId="326"/>
            <ac:spMk id="21" creationId="{8DF708BC-7D0F-62E5-9D1F-C2FEB379F353}"/>
          </ac:spMkLst>
        </pc:spChg>
        <pc:spChg chg="add del mod modVis">
          <ac:chgData name="Muchahary, Frankle" userId="0f2bf491-0617-4378-90b8-89af8fa381b9" providerId="ADAL" clId="{90877F19-00D2-4A00-8128-E78E36266C9A}" dt="2023-11-08T07:19:37.489" v="171221"/>
          <ac:spMkLst>
            <pc:docMk/>
            <pc:sldMk cId="1761573872" sldId="326"/>
            <ac:spMk id="21" creationId="{9DC1E18F-C22E-4B6A-26B8-3F295D3DD271}"/>
          </ac:spMkLst>
        </pc:spChg>
        <pc:spChg chg="add del mod modVis">
          <ac:chgData name="Muchahary, Frankle" userId="0f2bf491-0617-4378-90b8-89af8fa381b9" providerId="ADAL" clId="{90877F19-00D2-4A00-8128-E78E36266C9A}" dt="2023-11-04T04:51:03.989" v="45718" actId="478"/>
          <ac:spMkLst>
            <pc:docMk/>
            <pc:sldMk cId="1761573872" sldId="326"/>
            <ac:spMk id="22" creationId="{1CAF8790-40DB-2984-3FFB-009217D706FE}"/>
          </ac:spMkLst>
        </pc:spChg>
        <pc:spChg chg="add del mod modVis">
          <ac:chgData name="Muchahary, Frankle" userId="0f2bf491-0617-4378-90b8-89af8fa381b9" providerId="ADAL" clId="{90877F19-00D2-4A00-8128-E78E36266C9A}" dt="2023-11-04T02:15:12.309" v="41391"/>
          <ac:spMkLst>
            <pc:docMk/>
            <pc:sldMk cId="1761573872" sldId="326"/>
            <ac:spMk id="22" creationId="{8910F5A8-930F-D84A-E573-184C48C11E1F}"/>
          </ac:spMkLst>
        </pc:spChg>
        <pc:spChg chg="add del mod modVis">
          <ac:chgData name="Muchahary, Frankle" userId="0f2bf491-0617-4378-90b8-89af8fa381b9" providerId="ADAL" clId="{90877F19-00D2-4A00-8128-E78E36266C9A}" dt="2023-11-08T07:19:41.928" v="171248"/>
          <ac:spMkLst>
            <pc:docMk/>
            <pc:sldMk cId="1761573872" sldId="326"/>
            <ac:spMk id="22" creationId="{C77B6B1F-9AF9-929E-62D9-31B5543D17D9}"/>
          </ac:spMkLst>
        </pc:spChg>
        <pc:spChg chg="add del mod modVis">
          <ac:chgData name="Muchahary, Frankle" userId="0f2bf491-0617-4378-90b8-89af8fa381b9" providerId="ADAL" clId="{90877F19-00D2-4A00-8128-E78E36266C9A}" dt="2023-11-04T04:51:07.872" v="45746"/>
          <ac:spMkLst>
            <pc:docMk/>
            <pc:sldMk cId="1761573872" sldId="326"/>
            <ac:spMk id="23" creationId="{846D9426-87AB-4B37-C37B-43F1A5FE89A3}"/>
          </ac:spMkLst>
        </pc:spChg>
        <pc:spChg chg="add del mod modVis">
          <ac:chgData name="Muchahary, Frankle" userId="0f2bf491-0617-4378-90b8-89af8fa381b9" providerId="ADAL" clId="{90877F19-00D2-4A00-8128-E78E36266C9A}" dt="2023-11-04T02:15:13.044" v="41419"/>
          <ac:spMkLst>
            <pc:docMk/>
            <pc:sldMk cId="1761573872" sldId="326"/>
            <ac:spMk id="23" creationId="{8E7BA362-A601-595D-9666-C90A9413F157}"/>
          </ac:spMkLst>
        </pc:spChg>
        <pc:spChg chg="add del mod modVis">
          <ac:chgData name="Muchahary, Frankle" userId="0f2bf491-0617-4378-90b8-89af8fa381b9" providerId="ADAL" clId="{90877F19-00D2-4A00-8128-E78E36266C9A}" dt="2023-11-08T07:19:47.430" v="171284"/>
          <ac:spMkLst>
            <pc:docMk/>
            <pc:sldMk cId="1761573872" sldId="326"/>
            <ac:spMk id="23" creationId="{CA11DF74-2394-BB8F-AA3B-2B4210D673E7}"/>
          </ac:spMkLst>
        </pc:spChg>
        <pc:spChg chg="add del mod modVis">
          <ac:chgData name="Muchahary, Frankle" userId="0f2bf491-0617-4378-90b8-89af8fa381b9" providerId="ADAL" clId="{90877F19-00D2-4A00-8128-E78E36266C9A}" dt="2023-11-04T02:15:16.182" v="41457"/>
          <ac:spMkLst>
            <pc:docMk/>
            <pc:sldMk cId="1761573872" sldId="326"/>
            <ac:spMk id="24" creationId="{0681069D-B81C-3517-1674-A717922E581D}"/>
          </ac:spMkLst>
        </pc:spChg>
        <pc:spChg chg="add del mod modVis">
          <ac:chgData name="Muchahary, Frankle" userId="0f2bf491-0617-4378-90b8-89af8fa381b9" providerId="ADAL" clId="{90877F19-00D2-4A00-8128-E78E36266C9A}" dt="2023-11-04T04:51:13.107" v="45773"/>
          <ac:spMkLst>
            <pc:docMk/>
            <pc:sldMk cId="1761573872" sldId="326"/>
            <ac:spMk id="24" creationId="{46C660EF-3AD5-9D36-C7B8-01E0F44DC47A}"/>
          </ac:spMkLst>
        </pc:spChg>
        <pc:spChg chg="add del mod modVis">
          <ac:chgData name="Muchahary, Frankle" userId="0f2bf491-0617-4378-90b8-89af8fa381b9" providerId="ADAL" clId="{90877F19-00D2-4A00-8128-E78E36266C9A}" dt="2023-11-04T04:51:19.601" v="45800"/>
          <ac:spMkLst>
            <pc:docMk/>
            <pc:sldMk cId="1761573872" sldId="326"/>
            <ac:spMk id="25" creationId="{1E7AFFF0-7708-30EE-BB87-7088DF37DAB1}"/>
          </ac:spMkLst>
        </pc:spChg>
        <pc:spChg chg="del">
          <ac:chgData name="Muchahary, Frankle" userId="0f2bf491-0617-4378-90b8-89af8fa381b9" providerId="ADAL" clId="{90877F19-00D2-4A00-8128-E78E36266C9A}" dt="2023-11-04T02:14:05.403" v="40638"/>
          <ac:spMkLst>
            <pc:docMk/>
            <pc:sldMk cId="1761573872" sldId="326"/>
            <ac:spMk id="25" creationId="{A8C7F538-E7B0-CC28-516B-987926A962E8}"/>
          </ac:spMkLst>
        </pc:spChg>
        <pc:spChg chg="add del mod modVis">
          <ac:chgData name="Muchahary, Frankle" userId="0f2bf491-0617-4378-90b8-89af8fa381b9" providerId="ADAL" clId="{90877F19-00D2-4A00-8128-E78E36266C9A}" dt="2023-11-04T04:51:22.167" v="45827"/>
          <ac:spMkLst>
            <pc:docMk/>
            <pc:sldMk cId="1761573872" sldId="326"/>
            <ac:spMk id="26" creationId="{05BCA71F-ADE6-5378-245E-B1751722E165}"/>
          </ac:spMkLst>
        </pc:spChg>
        <pc:spChg chg="add del mod modVis">
          <ac:chgData name="Muchahary, Frankle" userId="0f2bf491-0617-4378-90b8-89af8fa381b9" providerId="ADAL" clId="{90877F19-00D2-4A00-8128-E78E36266C9A}" dt="2023-11-04T02:15:17.952" v="41487"/>
          <ac:spMkLst>
            <pc:docMk/>
            <pc:sldMk cId="1761573872" sldId="326"/>
            <ac:spMk id="26" creationId="{4BE2FCAF-3B1C-06C1-3522-1EF750D434FA}"/>
          </ac:spMkLst>
        </pc:spChg>
        <pc:spChg chg="add del mod">
          <ac:chgData name="Muchahary, Frankle" userId="0f2bf491-0617-4378-90b8-89af8fa381b9" providerId="ADAL" clId="{90877F19-00D2-4A00-8128-E78E36266C9A}" dt="2023-11-04T19:53:56.356" v="66169" actId="478"/>
          <ac:spMkLst>
            <pc:docMk/>
            <pc:sldMk cId="1761573872" sldId="326"/>
            <ac:spMk id="27" creationId="{28E7A58B-1D9F-0A48-2CD7-984555CBA2B0}"/>
          </ac:spMkLst>
        </pc:spChg>
        <pc:spChg chg="del">
          <ac:chgData name="Muchahary, Frankle" userId="0f2bf491-0617-4378-90b8-89af8fa381b9" providerId="ADAL" clId="{90877F19-00D2-4A00-8128-E78E36266C9A}" dt="2023-11-04T02:14:05.403" v="40637"/>
          <ac:spMkLst>
            <pc:docMk/>
            <pc:sldMk cId="1761573872" sldId="326"/>
            <ac:spMk id="27" creationId="{C4E6FDA9-26A9-E30B-3874-9940AA858ABD}"/>
          </ac:spMkLst>
        </pc:spChg>
        <pc:spChg chg="del">
          <ac:chgData name="Muchahary, Frankle" userId="0f2bf491-0617-4378-90b8-89af8fa381b9" providerId="ADAL" clId="{90877F19-00D2-4A00-8128-E78E36266C9A}" dt="2023-11-04T02:14:05.403" v="40634"/>
          <ac:spMkLst>
            <pc:docMk/>
            <pc:sldMk cId="1761573872" sldId="326"/>
            <ac:spMk id="28" creationId="{1ADEE2F2-209E-5A9E-E809-2248A04C03A3}"/>
          </ac:spMkLst>
        </pc:spChg>
        <pc:spChg chg="add mod">
          <ac:chgData name="Muchahary, Frankle" userId="0f2bf491-0617-4378-90b8-89af8fa381b9" providerId="ADAL" clId="{90877F19-00D2-4A00-8128-E78E36266C9A}" dt="2023-11-05T21:29:07.744" v="152806" actId="164"/>
          <ac:spMkLst>
            <pc:docMk/>
            <pc:sldMk cId="1761573872" sldId="326"/>
            <ac:spMk id="28" creationId="{52BB2A96-E1DD-23AC-DD87-ED2861B705AA}"/>
          </ac:spMkLst>
        </pc:spChg>
        <pc:spChg chg="add mod">
          <ac:chgData name="Muchahary, Frankle" userId="0f2bf491-0617-4378-90b8-89af8fa381b9" providerId="ADAL" clId="{90877F19-00D2-4A00-8128-E78E36266C9A}" dt="2023-11-05T21:29:14.170" v="152807" actId="164"/>
          <ac:spMkLst>
            <pc:docMk/>
            <pc:sldMk cId="1761573872" sldId="326"/>
            <ac:spMk id="30" creationId="{194E85F2-4586-7A0B-589E-51952A338E03}"/>
          </ac:spMkLst>
        </pc:spChg>
        <pc:spChg chg="add del mod modVis">
          <ac:chgData name="Muchahary, Frankle" userId="0f2bf491-0617-4378-90b8-89af8fa381b9" providerId="ADAL" clId="{90877F19-00D2-4A00-8128-E78E36266C9A}" dt="2023-11-04T02:15:19.517" v="41514"/>
          <ac:spMkLst>
            <pc:docMk/>
            <pc:sldMk cId="1761573872" sldId="326"/>
            <ac:spMk id="31" creationId="{CDC47353-D7E1-D71E-53E9-DBA8E5F7BD1B}"/>
          </ac:spMkLst>
        </pc:spChg>
        <pc:spChg chg="add del mod modVis">
          <ac:chgData name="Muchahary, Frankle" userId="0f2bf491-0617-4378-90b8-89af8fa381b9" providerId="ADAL" clId="{90877F19-00D2-4A00-8128-E78E36266C9A}" dt="2023-11-04T02:15:22.187" v="41555"/>
          <ac:spMkLst>
            <pc:docMk/>
            <pc:sldMk cId="1761573872" sldId="326"/>
            <ac:spMk id="32" creationId="{73F5B4AD-0F1E-4ED9-6837-ECDAF8FCD5EF}"/>
          </ac:spMkLst>
        </pc:spChg>
        <pc:spChg chg="add del mod modVis">
          <ac:chgData name="Muchahary, Frankle" userId="0f2bf491-0617-4378-90b8-89af8fa381b9" providerId="ADAL" clId="{90877F19-00D2-4A00-8128-E78E36266C9A}" dt="2023-11-04T02:15:25.199" v="41587"/>
          <ac:spMkLst>
            <pc:docMk/>
            <pc:sldMk cId="1761573872" sldId="326"/>
            <ac:spMk id="33" creationId="{B12DB319-EB90-FCEB-96A0-FE303392B7D4}"/>
          </ac:spMkLst>
        </pc:spChg>
        <pc:spChg chg="add del mod modVis">
          <ac:chgData name="Muchahary, Frankle" userId="0f2bf491-0617-4378-90b8-89af8fa381b9" providerId="ADAL" clId="{90877F19-00D2-4A00-8128-E78E36266C9A}" dt="2023-11-04T02:15:25.793" v="41614"/>
          <ac:spMkLst>
            <pc:docMk/>
            <pc:sldMk cId="1761573872" sldId="326"/>
            <ac:spMk id="34" creationId="{2A3F9C6F-0426-E107-A92B-6AC59AE2A16D}"/>
          </ac:spMkLst>
        </pc:spChg>
        <pc:spChg chg="add del mod modVis">
          <ac:chgData name="Muchahary, Frankle" userId="0f2bf491-0617-4378-90b8-89af8fa381b9" providerId="ADAL" clId="{90877F19-00D2-4A00-8128-E78E36266C9A}" dt="2023-11-04T02:15:27.922" v="41655"/>
          <ac:spMkLst>
            <pc:docMk/>
            <pc:sldMk cId="1761573872" sldId="326"/>
            <ac:spMk id="35" creationId="{368FEFFD-EB2A-C1F3-8939-49F3A02BF247}"/>
          </ac:spMkLst>
        </pc:spChg>
        <pc:spChg chg="add del mod modVis">
          <ac:chgData name="Muchahary, Frankle" userId="0f2bf491-0617-4378-90b8-89af8fa381b9" providerId="ADAL" clId="{90877F19-00D2-4A00-8128-E78E36266C9A}" dt="2023-11-04T02:15:29.349" v="41688"/>
          <ac:spMkLst>
            <pc:docMk/>
            <pc:sldMk cId="1761573872" sldId="326"/>
            <ac:spMk id="36" creationId="{3E541C2B-F306-C5E1-B75E-E9BB53FAA5DC}"/>
          </ac:spMkLst>
        </pc:spChg>
        <pc:spChg chg="add del mod modVis">
          <ac:chgData name="Muchahary, Frankle" userId="0f2bf491-0617-4378-90b8-89af8fa381b9" providerId="ADAL" clId="{90877F19-00D2-4A00-8128-E78E36266C9A}" dt="2023-11-04T02:15:30.161" v="41716"/>
          <ac:spMkLst>
            <pc:docMk/>
            <pc:sldMk cId="1761573872" sldId="326"/>
            <ac:spMk id="37" creationId="{77D10396-B4A3-87A8-2F05-ABFA6A87B4B1}"/>
          </ac:spMkLst>
        </pc:spChg>
        <pc:spChg chg="add del mod modVis">
          <ac:chgData name="Muchahary, Frankle" userId="0f2bf491-0617-4378-90b8-89af8fa381b9" providerId="ADAL" clId="{90877F19-00D2-4A00-8128-E78E36266C9A}" dt="2023-11-04T02:15:31.683" v="41748"/>
          <ac:spMkLst>
            <pc:docMk/>
            <pc:sldMk cId="1761573872" sldId="326"/>
            <ac:spMk id="38" creationId="{6F3CDE8F-C1BC-DF38-09FB-0D426B0564CB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0"/>
          <ac:spMkLst>
            <pc:docMk/>
            <pc:sldMk cId="1761573872" sldId="326"/>
            <ac:spMk id="40" creationId="{07948C61-858F-4790-2C18-74DC4B9C0E4F}"/>
          </ac:spMkLst>
        </pc:spChg>
        <pc:spChg chg="add del mod modVis">
          <ac:chgData name="Muchahary, Frankle" userId="0f2bf491-0617-4378-90b8-89af8fa381b9" providerId="ADAL" clId="{90877F19-00D2-4A00-8128-E78E36266C9A}" dt="2023-11-04T02:18:47.343" v="43444"/>
          <ac:spMkLst>
            <pc:docMk/>
            <pc:sldMk cId="1761573872" sldId="326"/>
            <ac:spMk id="41" creationId="{5E7E4A98-206D-C50B-5B51-93816A2AC063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56"/>
          <ac:spMkLst>
            <pc:docMk/>
            <pc:sldMk cId="1761573872" sldId="326"/>
            <ac:spMk id="42" creationId="{C929432C-E20A-C70B-20E5-4AFF874A59DD}"/>
          </ac:spMkLst>
        </pc:spChg>
        <pc:spChg chg="add del mod replST">
          <ac:chgData name="Muchahary, Frankle" userId="0f2bf491-0617-4378-90b8-89af8fa381b9" providerId="ADAL" clId="{90877F19-00D2-4A00-8128-E78E36266C9A}" dt="2023-11-04T02:18:52.962" v="43453"/>
          <ac:spMkLst>
            <pc:docMk/>
            <pc:sldMk cId="1761573872" sldId="326"/>
            <ac:spMk id="43" creationId="{D8EB48CA-3718-6159-9D72-35629C6AA6CD}"/>
          </ac:spMkLst>
        </pc:spChg>
        <pc:spChg chg="add del mod replST">
          <ac:chgData name="Muchahary, Frankle" userId="0f2bf491-0617-4378-90b8-89af8fa381b9" providerId="ADAL" clId="{90877F19-00D2-4A00-8128-E78E36266C9A}" dt="2023-11-04T02:18:52.959" v="43452"/>
          <ac:spMkLst>
            <pc:docMk/>
            <pc:sldMk cId="1761573872" sldId="326"/>
            <ac:spMk id="44" creationId="{8A777211-7386-1D87-F553-7BBECA19FD58}"/>
          </ac:spMkLst>
        </pc:spChg>
        <pc:spChg chg="del">
          <ac:chgData name="Muchahary, Frankle" userId="0f2bf491-0617-4378-90b8-89af8fa381b9" providerId="ADAL" clId="{90877F19-00D2-4A00-8128-E78E36266C9A}" dt="2023-11-04T02:14:05.388" v="40631"/>
          <ac:spMkLst>
            <pc:docMk/>
            <pc:sldMk cId="1761573872" sldId="326"/>
            <ac:spMk id="45" creationId="{A3A2DE02-66BD-6306-848B-E6B12A825C58}"/>
          </ac:spMkLst>
        </pc:spChg>
        <pc:spChg chg="add del mod replST">
          <ac:chgData name="Muchahary, Frankle" userId="0f2bf491-0617-4378-90b8-89af8fa381b9" providerId="ADAL" clId="{90877F19-00D2-4A00-8128-E78E36266C9A}" dt="2023-11-04T02:18:52.959" v="43449"/>
          <ac:spMkLst>
            <pc:docMk/>
            <pc:sldMk cId="1761573872" sldId="326"/>
            <ac:spMk id="46" creationId="{2B39B3BC-721B-4BD9-8ED2-FC8EDB5B4986}"/>
          </ac:spMkLst>
        </pc:spChg>
        <pc:spChg chg="add del mod replST">
          <ac:chgData name="Muchahary, Frankle" userId="0f2bf491-0617-4378-90b8-89af8fa381b9" providerId="ADAL" clId="{90877F19-00D2-4A00-8128-E78E36266C9A}" dt="2023-11-04T02:18:52.958" v="43448"/>
          <ac:spMkLst>
            <pc:docMk/>
            <pc:sldMk cId="1761573872" sldId="326"/>
            <ac:spMk id="47" creationId="{169C674C-19A1-1215-EDFC-0A542995541B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6"/>
          <ac:spMkLst>
            <pc:docMk/>
            <pc:sldMk cId="1761573872" sldId="326"/>
            <ac:spMk id="49" creationId="{C8A20A45-8302-6071-A7B4-6637AA851E58}"/>
          </ac:spMkLst>
        </pc:spChg>
        <pc:spChg chg="del">
          <ac:chgData name="Muchahary, Frankle" userId="0f2bf491-0617-4378-90b8-89af8fa381b9" providerId="ADAL" clId="{90877F19-00D2-4A00-8128-E78E36266C9A}" dt="2023-11-04T02:14:05.388" v="40628"/>
          <ac:spMkLst>
            <pc:docMk/>
            <pc:sldMk cId="1761573872" sldId="326"/>
            <ac:spMk id="50" creationId="{83AB9063-8ACB-512C-24BB-B17BBA415C1B}"/>
          </ac:spMkLst>
        </pc:spChg>
        <pc:spChg chg="add del mod replST">
          <ac:chgData name="Muchahary, Frankle" userId="0f2bf491-0617-4378-90b8-89af8fa381b9" providerId="ADAL" clId="{90877F19-00D2-4A00-8128-E78E36266C9A}" dt="2023-11-04T02:18:47.103" v="43046"/>
          <ac:spMkLst>
            <pc:docMk/>
            <pc:sldMk cId="1761573872" sldId="326"/>
            <ac:spMk id="51" creationId="{07DF81E6-D32D-4FD5-7395-81906F57C51E}"/>
          </ac:spMkLst>
        </pc:spChg>
        <pc:spChg chg="add del mod replST">
          <ac:chgData name="Muchahary, Frankle" userId="0f2bf491-0617-4378-90b8-89af8fa381b9" providerId="ADAL" clId="{90877F19-00D2-4A00-8128-E78E36266C9A}" dt="2023-11-04T02:18:47.105" v="43047"/>
          <ac:spMkLst>
            <pc:docMk/>
            <pc:sldMk cId="1761573872" sldId="326"/>
            <ac:spMk id="52" creationId="{CC7B7B98-1A8A-11E0-E6B7-182C72FFF210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80"/>
          <ac:spMkLst>
            <pc:docMk/>
            <pc:sldMk cId="1761573872" sldId="326"/>
            <ac:spMk id="54" creationId="{AD81F0CD-DA7D-73CF-93A3-08C0DA6032CB}"/>
          </ac:spMkLst>
        </pc:spChg>
        <pc:spChg chg="del">
          <ac:chgData name="Muchahary, Frankle" userId="0f2bf491-0617-4378-90b8-89af8fa381b9" providerId="ADAL" clId="{90877F19-00D2-4A00-8128-E78E36266C9A}" dt="2023-11-04T02:14:05.388" v="40625"/>
          <ac:spMkLst>
            <pc:docMk/>
            <pc:sldMk cId="1761573872" sldId="326"/>
            <ac:spMk id="55" creationId="{81F04892-2CBE-05E8-1FF2-2F3C18C79DDA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9"/>
          <ac:spMkLst>
            <pc:docMk/>
            <pc:sldMk cId="1761573872" sldId="326"/>
            <ac:spMk id="56" creationId="{F3DB6822-ABFA-4AF4-7CFC-BF312431D6E2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8"/>
          <ac:spMkLst>
            <pc:docMk/>
            <pc:sldMk cId="1761573872" sldId="326"/>
            <ac:spMk id="57" creationId="{99E1C5E0-57D8-81F2-5B6B-CB5A51657DA5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7"/>
          <ac:spMkLst>
            <pc:docMk/>
            <pc:sldMk cId="1761573872" sldId="326"/>
            <ac:spMk id="59" creationId="{96BE381B-45E9-D8FD-44B8-79AE4789B264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6"/>
          <ac:spMkLst>
            <pc:docMk/>
            <pc:sldMk cId="1761573872" sldId="326"/>
            <ac:spMk id="60" creationId="{C6B506CB-9758-9B18-9ED5-8EBAEBC5DF54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5"/>
          <ac:spMkLst>
            <pc:docMk/>
            <pc:sldMk cId="1761573872" sldId="326"/>
            <ac:spMk id="61" creationId="{884C278C-DBF0-82A7-4D0C-C925B606702D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4"/>
          <ac:spMkLst>
            <pc:docMk/>
            <pc:sldMk cId="1761573872" sldId="326"/>
            <ac:spMk id="62" creationId="{BC8AED1E-0472-0F0A-87E6-E17A7381D8FC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73"/>
          <ac:spMkLst>
            <pc:docMk/>
            <pc:sldMk cId="1761573872" sldId="326"/>
            <ac:spMk id="63" creationId="{3C3E34AC-846F-F395-C83B-29690358F630}"/>
          </ac:spMkLst>
        </pc:spChg>
        <pc:spChg chg="del">
          <ac:chgData name="Muchahary, Frankle" userId="0f2bf491-0617-4378-90b8-89af8fa381b9" providerId="ADAL" clId="{90877F19-00D2-4A00-8128-E78E36266C9A}" dt="2023-11-04T02:14:07.225" v="40669"/>
          <ac:spMkLst>
            <pc:docMk/>
            <pc:sldMk cId="1761573872" sldId="326"/>
            <ac:spMk id="411" creationId="{B3ED5D1D-3A10-6FF1-AAE5-D85346506BB1}"/>
          </ac:spMkLst>
        </pc:spChg>
        <pc:spChg chg="del">
          <ac:chgData name="Muchahary, Frankle" userId="0f2bf491-0617-4378-90b8-89af8fa381b9" providerId="ADAL" clId="{90877F19-00D2-4A00-8128-E78E36266C9A}" dt="2023-11-04T02:14:07.225" v="40673"/>
          <ac:spMkLst>
            <pc:docMk/>
            <pc:sldMk cId="1761573872" sldId="326"/>
            <ac:spMk id="415" creationId="{D945528C-F8C3-B95E-6C97-3E1211C284D1}"/>
          </ac:spMkLst>
        </pc:spChg>
        <pc:spChg chg="del">
          <ac:chgData name="Muchahary, Frankle" userId="0f2bf491-0617-4378-90b8-89af8fa381b9" providerId="ADAL" clId="{90877F19-00D2-4A00-8128-E78E36266C9A}" dt="2023-11-04T02:14:07.225" v="40672"/>
          <ac:spMkLst>
            <pc:docMk/>
            <pc:sldMk cId="1761573872" sldId="326"/>
            <ac:spMk id="416" creationId="{47EC9AC6-BCCC-223D-9039-76C6E2E600E9}"/>
          </ac:spMkLst>
        </pc:spChg>
        <pc:spChg chg="del">
          <ac:chgData name="Muchahary, Frankle" userId="0f2bf491-0617-4378-90b8-89af8fa381b9" providerId="ADAL" clId="{90877F19-00D2-4A00-8128-E78E36266C9A}" dt="2023-11-04T02:14:07.225" v="40671"/>
          <ac:spMkLst>
            <pc:docMk/>
            <pc:sldMk cId="1761573872" sldId="326"/>
            <ac:spMk id="417" creationId="{7E95A5CB-9B2F-97C1-FC1D-A712101F58AF}"/>
          </ac:spMkLst>
        </pc:spChg>
        <pc:spChg chg="del">
          <ac:chgData name="Muchahary, Frankle" userId="0f2bf491-0617-4378-90b8-89af8fa381b9" providerId="ADAL" clId="{90877F19-00D2-4A00-8128-E78E36266C9A}" dt="2023-11-04T02:14:07.225" v="40668"/>
          <ac:spMkLst>
            <pc:docMk/>
            <pc:sldMk cId="1761573872" sldId="326"/>
            <ac:spMk id="418" creationId="{636CA115-C575-48CA-37D2-287435EDEB9A}"/>
          </ac:spMkLst>
        </pc:spChg>
        <pc:spChg chg="del">
          <ac:chgData name="Muchahary, Frankle" userId="0f2bf491-0617-4378-90b8-89af8fa381b9" providerId="ADAL" clId="{90877F19-00D2-4A00-8128-E78E36266C9A}" dt="2023-11-04T02:14:07.225" v="40670"/>
          <ac:spMkLst>
            <pc:docMk/>
            <pc:sldMk cId="1761573872" sldId="326"/>
            <ac:spMk id="438" creationId="{84FAB29A-455F-08B2-B433-78FF60A92CE4}"/>
          </ac:spMkLst>
        </pc:spChg>
        <pc:spChg chg="add del mod">
          <ac:chgData name="Muchahary, Frankle" userId="0f2bf491-0617-4378-90b8-89af8fa381b9" providerId="ADAL" clId="{90877F19-00D2-4A00-8128-E78E36266C9A}" dt="2023-11-04T02:48:56.323" v="43575"/>
          <ac:spMkLst>
            <pc:docMk/>
            <pc:sldMk cId="1761573872" sldId="326"/>
            <ac:spMk id="704" creationId="{ED57BF2F-006C-8E87-4915-2CB8426DFA9C}"/>
          </ac:spMkLst>
        </pc:spChg>
        <pc:spChg chg="del">
          <ac:chgData name="Muchahary, Frankle" userId="0f2bf491-0617-4378-90b8-89af8fa381b9" providerId="ADAL" clId="{90877F19-00D2-4A00-8128-E78E36266C9A}" dt="2023-11-04T02:14:05.388" v="40622"/>
          <ac:spMkLst>
            <pc:docMk/>
            <pc:sldMk cId="1761573872" sldId="326"/>
            <ac:spMk id="705" creationId="{2BAB8A09-998F-FECB-0657-889582B1FE9C}"/>
          </ac:spMkLst>
        </pc:spChg>
        <pc:spChg chg="add del mod">
          <ac:chgData name="Muchahary, Frankle" userId="0f2bf491-0617-4378-90b8-89af8fa381b9" providerId="ADAL" clId="{90877F19-00D2-4A00-8128-E78E36266C9A}" dt="2023-11-04T02:48:58.882" v="43578"/>
          <ac:spMkLst>
            <pc:docMk/>
            <pc:sldMk cId="1761573872" sldId="326"/>
            <ac:spMk id="706" creationId="{C23C9FF1-2F57-A1B2-9FF5-958693561419}"/>
          </ac:spMkLst>
        </pc:spChg>
        <pc:spChg chg="mod">
          <ac:chgData name="Muchahary, Frankle" userId="0f2bf491-0617-4378-90b8-89af8fa381b9" providerId="ADAL" clId="{90877F19-00D2-4A00-8128-E78E36266C9A}" dt="2023-11-04T02:49:07.394" v="43582"/>
          <ac:spMkLst>
            <pc:docMk/>
            <pc:sldMk cId="1761573872" sldId="326"/>
            <ac:spMk id="711" creationId="{C1C40028-0AB6-F3B9-D14B-1BCFDB163302}"/>
          </ac:spMkLst>
        </pc:spChg>
        <pc:spChg chg="mod">
          <ac:chgData name="Muchahary, Frankle" userId="0f2bf491-0617-4378-90b8-89af8fa381b9" providerId="ADAL" clId="{90877F19-00D2-4A00-8128-E78E36266C9A}" dt="2023-11-04T02:49:07.394" v="43582"/>
          <ac:spMkLst>
            <pc:docMk/>
            <pc:sldMk cId="1761573872" sldId="326"/>
            <ac:spMk id="712" creationId="{7E7BAB73-E3A1-6ECE-CA66-BABE89223401}"/>
          </ac:spMkLst>
        </pc:spChg>
        <pc:spChg chg="del">
          <ac:chgData name="Muchahary, Frankle" userId="0f2bf491-0617-4378-90b8-89af8fa381b9" providerId="ADAL" clId="{90877F19-00D2-4A00-8128-E78E36266C9A}" dt="2023-11-04T02:14:05.403" v="40639"/>
          <ac:spMkLst>
            <pc:docMk/>
            <pc:sldMk cId="1761573872" sldId="326"/>
            <ac:spMk id="798" creationId="{FD338F2F-C25D-7662-9579-080DDD3D2F87}"/>
          </ac:spMkLst>
        </pc:spChg>
        <pc:spChg chg="add del mod replST">
          <ac:chgData name="Muchahary, Frankle" userId="0f2bf491-0617-4378-90b8-89af8fa381b9" providerId="ADAL" clId="{90877F19-00D2-4A00-8128-E78E36266C9A}" dt="2023-11-04T02:18:52.973" v="43472"/>
          <ac:spMkLst>
            <pc:docMk/>
            <pc:sldMk cId="1761573872" sldId="326"/>
            <ac:spMk id="896" creationId="{A14A37AC-057B-5815-0A9C-37157B233FF3}"/>
          </ac:spMkLst>
        </pc:spChg>
        <pc:spChg chg="add del mod replST">
          <ac:chgData name="Muchahary, Frankle" userId="0f2bf491-0617-4378-90b8-89af8fa381b9" providerId="ADAL" clId="{90877F19-00D2-4A00-8128-E78E36266C9A}" dt="2023-11-04T02:18:52.972" v="43471"/>
          <ac:spMkLst>
            <pc:docMk/>
            <pc:sldMk cId="1761573872" sldId="326"/>
            <ac:spMk id="897" creationId="{828C40C3-D05E-5920-21E7-46BFC3701525}"/>
          </ac:spMkLst>
        </pc:spChg>
        <pc:spChg chg="add del mod replST">
          <ac:chgData name="Muchahary, Frankle" userId="0f2bf491-0617-4378-90b8-89af8fa381b9" providerId="ADAL" clId="{90877F19-00D2-4A00-8128-E78E36266C9A}" dt="2023-11-04T02:18:52.972" v="43470"/>
          <ac:spMkLst>
            <pc:docMk/>
            <pc:sldMk cId="1761573872" sldId="326"/>
            <ac:spMk id="898" creationId="{6CB4F32C-18AA-2E25-FB1C-98BA7BA75D8E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9"/>
          <ac:spMkLst>
            <pc:docMk/>
            <pc:sldMk cId="1761573872" sldId="326"/>
            <ac:spMk id="899" creationId="{7C099438-13A5-ED6F-7654-B1A90199A7B5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8"/>
          <ac:spMkLst>
            <pc:docMk/>
            <pc:sldMk cId="1761573872" sldId="326"/>
            <ac:spMk id="900" creationId="{B982AAEE-A125-668E-BE0D-98A2874DCD66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7"/>
          <ac:spMkLst>
            <pc:docMk/>
            <pc:sldMk cId="1761573872" sldId="326"/>
            <ac:spMk id="901" creationId="{7E3FA3AD-679D-8BAA-6F01-D580BD357B8E}"/>
          </ac:spMkLst>
        </pc:spChg>
        <pc:spChg chg="add del mod replST">
          <ac:chgData name="Muchahary, Frankle" userId="0f2bf491-0617-4378-90b8-89af8fa381b9" providerId="ADAL" clId="{90877F19-00D2-4A00-8128-E78E36266C9A}" dt="2023-11-04T02:18:52.979" v="43483"/>
          <ac:spMkLst>
            <pc:docMk/>
            <pc:sldMk cId="1761573872" sldId="326"/>
            <ac:spMk id="902" creationId="{32234259-5663-78E3-9E27-9BB4A6A28D1F}"/>
          </ac:spMkLst>
        </pc:spChg>
        <pc:spChg chg="add del mod replST">
          <ac:chgData name="Muchahary, Frankle" userId="0f2bf491-0617-4378-90b8-89af8fa381b9" providerId="ADAL" clId="{90877F19-00D2-4A00-8128-E78E36266C9A}" dt="2023-11-04T02:18:52.979" v="43482"/>
          <ac:spMkLst>
            <pc:docMk/>
            <pc:sldMk cId="1761573872" sldId="326"/>
            <ac:spMk id="903" creationId="{497B2AD1-4FF2-B22D-1276-3CFE96464A19}"/>
          </ac:spMkLst>
        </pc:spChg>
        <pc:spChg chg="add del mod replST">
          <ac:chgData name="Muchahary, Frankle" userId="0f2bf491-0617-4378-90b8-89af8fa381b9" providerId="ADAL" clId="{90877F19-00D2-4A00-8128-E78E36266C9A}" dt="2023-11-04T02:18:52.974" v="43481"/>
          <ac:spMkLst>
            <pc:docMk/>
            <pc:sldMk cId="1761573872" sldId="326"/>
            <ac:spMk id="904" creationId="{C53CD9F5-C374-53E1-2A13-AA9FD684A883}"/>
          </ac:spMkLst>
        </pc:spChg>
        <pc:spChg chg="add del mod replST">
          <ac:chgData name="Muchahary, Frankle" userId="0f2bf491-0617-4378-90b8-89af8fa381b9" providerId="ADAL" clId="{90877F19-00D2-4A00-8128-E78E36266C9A}" dt="2023-11-04T02:18:52.981" v="43485"/>
          <ac:spMkLst>
            <pc:docMk/>
            <pc:sldMk cId="1761573872" sldId="326"/>
            <ac:spMk id="905" creationId="{A58EF842-9DDC-4475-5218-FF1B56F2E066}"/>
          </ac:spMkLst>
        </pc:spChg>
        <pc:spChg chg="add del mod replST">
          <ac:chgData name="Muchahary, Frankle" userId="0f2bf491-0617-4378-90b8-89af8fa381b9" providerId="ADAL" clId="{90877F19-00D2-4A00-8128-E78E36266C9A}" dt="2023-11-04T02:18:52.980" v="43484"/>
          <ac:spMkLst>
            <pc:docMk/>
            <pc:sldMk cId="1761573872" sldId="326"/>
            <ac:spMk id="906" creationId="{EB010AE6-389B-D8B3-BEF0-0587B13212AB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65"/>
          <ac:spMkLst>
            <pc:docMk/>
            <pc:sldMk cId="1761573872" sldId="326"/>
            <ac:spMk id="907" creationId="{3609D298-1F34-742E-6B3E-77164C2E0DBE}"/>
          </ac:spMkLst>
        </pc:spChg>
        <pc:spChg chg="add del mod ord replST">
          <ac:chgData name="Muchahary, Frankle" userId="0f2bf491-0617-4378-90b8-89af8fa381b9" providerId="ADAL" clId="{90877F19-00D2-4A00-8128-E78E36266C9A}" dt="2023-11-04T02:18:52.963" v="43464"/>
          <ac:spMkLst>
            <pc:docMk/>
            <pc:sldMk cId="1761573872" sldId="326"/>
            <ac:spMk id="908" creationId="{C4EA44EA-144D-7FAD-929E-DD71023D29F8}"/>
          </ac:spMkLst>
        </pc:spChg>
        <pc:spChg chg="add del mod replST">
          <ac:chgData name="Muchahary, Frankle" userId="0f2bf491-0617-4378-90b8-89af8fa381b9" providerId="ADAL" clId="{90877F19-00D2-4A00-8128-E78E36266C9A}" dt="2023-11-04T02:18:52.963" v="43459"/>
          <ac:spMkLst>
            <pc:docMk/>
            <pc:sldMk cId="1761573872" sldId="326"/>
            <ac:spMk id="910" creationId="{B3B15972-7337-7B00-535D-CA086AB91A96}"/>
          </ac:spMkLst>
        </pc:spChg>
        <pc:spChg chg="add del mod ord replST">
          <ac:chgData name="Muchahary, Frankle" userId="0f2bf491-0617-4378-90b8-89af8fa381b9" providerId="ADAL" clId="{90877F19-00D2-4A00-8128-E78E36266C9A}" dt="2023-11-04T02:18:52.963" v="43458"/>
          <ac:spMkLst>
            <pc:docMk/>
            <pc:sldMk cId="1761573872" sldId="326"/>
            <ac:spMk id="911" creationId="{C6E99409-DE32-9ACE-2054-A6522E7D5D5E}"/>
          </ac:spMkLst>
        </pc:spChg>
        <pc:spChg chg="add del mod">
          <ac:chgData name="Muchahary, Frankle" userId="0f2bf491-0617-4378-90b8-89af8fa381b9" providerId="ADAL" clId="{90877F19-00D2-4A00-8128-E78E36266C9A}" dt="2023-11-04T02:45:51.712" v="43534" actId="478"/>
          <ac:spMkLst>
            <pc:docMk/>
            <pc:sldMk cId="1761573872" sldId="326"/>
            <ac:spMk id="936" creationId="{B89B7A3D-0C93-3799-3124-22C62858D641}"/>
          </ac:spMkLst>
        </pc:spChg>
        <pc:spChg chg="add del mod">
          <ac:chgData name="Muchahary, Frankle" userId="0f2bf491-0617-4378-90b8-89af8fa381b9" providerId="ADAL" clId="{90877F19-00D2-4A00-8128-E78E36266C9A}" dt="2023-11-04T19:54:47.735" v="66179" actId="478"/>
          <ac:spMkLst>
            <pc:docMk/>
            <pc:sldMk cId="1761573872" sldId="326"/>
            <ac:spMk id="937" creationId="{23F0194D-FA9E-198A-4727-E7CA554837DD}"/>
          </ac:spMkLst>
        </pc:spChg>
        <pc:spChg chg="add del mod">
          <ac:chgData name="Muchahary, Frankle" userId="0f2bf491-0617-4378-90b8-89af8fa381b9" providerId="ADAL" clId="{90877F19-00D2-4A00-8128-E78E36266C9A}" dt="2023-11-04T21:33:33.104" v="120200" actId="478"/>
          <ac:spMkLst>
            <pc:docMk/>
            <pc:sldMk cId="1761573872" sldId="326"/>
            <ac:spMk id="938" creationId="{E50C8C7A-C679-7175-2EE2-63E46D3AF28B}"/>
          </ac:spMkLst>
        </pc:spChg>
        <pc:spChg chg="mod">
          <ac:chgData name="Muchahary, Frankle" userId="0f2bf491-0617-4378-90b8-89af8fa381b9" providerId="ADAL" clId="{90877F19-00D2-4A00-8128-E78E36266C9A}" dt="2023-11-04T02:48:00.513" v="43553"/>
          <ac:spMkLst>
            <pc:docMk/>
            <pc:sldMk cId="1761573872" sldId="326"/>
            <ac:spMk id="940" creationId="{2D301512-014B-05D0-AF2F-80057EC4A8A8}"/>
          </ac:spMkLst>
        </pc:spChg>
        <pc:spChg chg="mod">
          <ac:chgData name="Muchahary, Frankle" userId="0f2bf491-0617-4378-90b8-89af8fa381b9" providerId="ADAL" clId="{90877F19-00D2-4A00-8128-E78E36266C9A}" dt="2023-11-04T02:48:00.513" v="43553"/>
          <ac:spMkLst>
            <pc:docMk/>
            <pc:sldMk cId="1761573872" sldId="326"/>
            <ac:spMk id="941" creationId="{BD3EDD3E-C0AC-2B41-BFE4-6198E6394BC2}"/>
          </ac:spMkLst>
        </pc:spChg>
        <pc:spChg chg="del mod">
          <ac:chgData name="Muchahary, Frankle" userId="0f2bf491-0617-4378-90b8-89af8fa381b9" providerId="ADAL" clId="{90877F19-00D2-4A00-8128-E78E36266C9A}" dt="2023-11-04T02:48:09.990" v="43557" actId="478"/>
          <ac:spMkLst>
            <pc:docMk/>
            <pc:sldMk cId="1761573872" sldId="326"/>
            <ac:spMk id="942" creationId="{DC125334-0923-EBA3-1700-DC97FD92025D}"/>
          </ac:spMkLst>
        </pc:spChg>
        <pc:spChg chg="del mod">
          <ac:chgData name="Muchahary, Frankle" userId="0f2bf491-0617-4378-90b8-89af8fa381b9" providerId="ADAL" clId="{90877F19-00D2-4A00-8128-E78E36266C9A}" dt="2023-11-04T02:48:08.646" v="43556" actId="478"/>
          <ac:spMkLst>
            <pc:docMk/>
            <pc:sldMk cId="1761573872" sldId="326"/>
            <ac:spMk id="943" creationId="{8292C958-D563-EF3E-0EA5-638ECC463AA5}"/>
          </ac:spMkLst>
        </pc:spChg>
        <pc:spChg chg="del mod">
          <ac:chgData name="Muchahary, Frankle" userId="0f2bf491-0617-4378-90b8-89af8fa381b9" providerId="ADAL" clId="{90877F19-00D2-4A00-8128-E78E36266C9A}" dt="2023-11-04T02:48:06.863" v="43555" actId="478"/>
          <ac:spMkLst>
            <pc:docMk/>
            <pc:sldMk cId="1761573872" sldId="326"/>
            <ac:spMk id="944" creationId="{773A6812-DECA-99F0-7C54-C5140B4EE387}"/>
          </ac:spMkLst>
        </pc:spChg>
        <pc:spChg chg="mod">
          <ac:chgData name="Muchahary, Frankle" userId="0f2bf491-0617-4378-90b8-89af8fa381b9" providerId="ADAL" clId="{90877F19-00D2-4A00-8128-E78E36266C9A}" dt="2023-11-04T02:48:21.513" v="43560"/>
          <ac:spMkLst>
            <pc:docMk/>
            <pc:sldMk cId="1761573872" sldId="326"/>
            <ac:spMk id="946" creationId="{29E3B1A8-E4E7-E662-4FB1-C348B7F4FA60}"/>
          </ac:spMkLst>
        </pc:spChg>
        <pc:spChg chg="mod">
          <ac:chgData name="Muchahary, Frankle" userId="0f2bf491-0617-4378-90b8-89af8fa381b9" providerId="ADAL" clId="{90877F19-00D2-4A00-8128-E78E36266C9A}" dt="2023-11-04T02:48:21.513" v="43560"/>
          <ac:spMkLst>
            <pc:docMk/>
            <pc:sldMk cId="1761573872" sldId="326"/>
            <ac:spMk id="947" creationId="{FFF36399-EEF6-39A6-2479-25AB97599C06}"/>
          </ac:spMkLst>
        </pc:spChg>
        <pc:spChg chg="mod">
          <ac:chgData name="Muchahary, Frankle" userId="0f2bf491-0617-4378-90b8-89af8fa381b9" providerId="ADAL" clId="{90877F19-00D2-4A00-8128-E78E36266C9A}" dt="2023-11-04T02:48:32.964" v="43562"/>
          <ac:spMkLst>
            <pc:docMk/>
            <pc:sldMk cId="1761573872" sldId="326"/>
            <ac:spMk id="949" creationId="{7479AEED-07C3-7258-767C-67AABD54CBC3}"/>
          </ac:spMkLst>
        </pc:spChg>
        <pc:spChg chg="mod">
          <ac:chgData name="Muchahary, Frankle" userId="0f2bf491-0617-4378-90b8-89af8fa381b9" providerId="ADAL" clId="{90877F19-00D2-4A00-8128-E78E36266C9A}" dt="2023-11-04T02:48:32.964" v="43562"/>
          <ac:spMkLst>
            <pc:docMk/>
            <pc:sldMk cId="1761573872" sldId="326"/>
            <ac:spMk id="950" creationId="{5B1367CA-5E40-4C2E-79B9-768C14573E70}"/>
          </ac:spMkLst>
        </pc:spChg>
        <pc:spChg chg="mod">
          <ac:chgData name="Muchahary, Frankle" userId="0f2bf491-0617-4378-90b8-89af8fa381b9" providerId="ADAL" clId="{90877F19-00D2-4A00-8128-E78E36266C9A}" dt="2023-11-04T02:48:32.964" v="43562"/>
          <ac:spMkLst>
            <pc:docMk/>
            <pc:sldMk cId="1761573872" sldId="326"/>
            <ac:spMk id="951" creationId="{80BB427E-05EC-1B31-97FC-B8BFE80C7306}"/>
          </ac:spMkLst>
        </pc:spChg>
        <pc:spChg chg="mod">
          <ac:chgData name="Muchahary, Frankle" userId="0f2bf491-0617-4378-90b8-89af8fa381b9" providerId="ADAL" clId="{90877F19-00D2-4A00-8128-E78E36266C9A}" dt="2023-11-04T02:48:32.964" v="43562"/>
          <ac:spMkLst>
            <pc:docMk/>
            <pc:sldMk cId="1761573872" sldId="326"/>
            <ac:spMk id="952" creationId="{1F79F52D-45AF-9880-BAB6-8CEB0A414C03}"/>
          </ac:spMkLst>
        </pc:spChg>
        <pc:spChg chg="mod">
          <ac:chgData name="Muchahary, Frankle" userId="0f2bf491-0617-4378-90b8-89af8fa381b9" providerId="ADAL" clId="{90877F19-00D2-4A00-8128-E78E36266C9A}" dt="2023-11-04T02:48:32.964" v="43562"/>
          <ac:spMkLst>
            <pc:docMk/>
            <pc:sldMk cId="1761573872" sldId="326"/>
            <ac:spMk id="953" creationId="{10C51088-5C43-814E-696E-669DC095E23C}"/>
          </ac:spMkLst>
        </pc:spChg>
        <pc:spChg chg="mod">
          <ac:chgData name="Muchahary, Frankle" userId="0f2bf491-0617-4378-90b8-89af8fa381b9" providerId="ADAL" clId="{90877F19-00D2-4A00-8128-E78E36266C9A}" dt="2023-11-04T02:48:42.216" v="43568"/>
          <ac:spMkLst>
            <pc:docMk/>
            <pc:sldMk cId="1761573872" sldId="326"/>
            <ac:spMk id="955" creationId="{A681E225-C5EF-2008-8574-8547F7166200}"/>
          </ac:spMkLst>
        </pc:spChg>
        <pc:spChg chg="mod">
          <ac:chgData name="Muchahary, Frankle" userId="0f2bf491-0617-4378-90b8-89af8fa381b9" providerId="ADAL" clId="{90877F19-00D2-4A00-8128-E78E36266C9A}" dt="2023-11-04T02:48:42.216" v="43568"/>
          <ac:spMkLst>
            <pc:docMk/>
            <pc:sldMk cId="1761573872" sldId="326"/>
            <ac:spMk id="956" creationId="{6CAC620B-9834-AD74-1FB0-0BC4C4E955CC}"/>
          </ac:spMkLst>
        </pc:spChg>
        <pc:spChg chg="del mod topLvl">
          <ac:chgData name="Muchahary, Frankle" userId="0f2bf491-0617-4378-90b8-89af8fa381b9" providerId="ADAL" clId="{90877F19-00D2-4A00-8128-E78E36266C9A}" dt="2023-11-04T02:51:56.379" v="43632" actId="478"/>
          <ac:spMkLst>
            <pc:docMk/>
            <pc:sldMk cId="1761573872" sldId="326"/>
            <ac:spMk id="958" creationId="{E979A62C-3C92-263E-D001-74534269B247}"/>
          </ac:spMkLst>
        </pc:spChg>
        <pc:spChg chg="del mod topLvl">
          <ac:chgData name="Muchahary, Frankle" userId="0f2bf491-0617-4378-90b8-89af8fa381b9" providerId="ADAL" clId="{90877F19-00D2-4A00-8128-E78E36266C9A}" dt="2023-11-04T02:51:55.199" v="43631" actId="478"/>
          <ac:spMkLst>
            <pc:docMk/>
            <pc:sldMk cId="1761573872" sldId="326"/>
            <ac:spMk id="959" creationId="{FECBE339-57A3-8E01-4C04-1C8AD79F4063}"/>
          </ac:spMkLst>
        </pc:spChg>
        <pc:grpChg chg="add del mod">
          <ac:chgData name="Muchahary, Frankle" userId="0f2bf491-0617-4378-90b8-89af8fa381b9" providerId="ADAL" clId="{90877F19-00D2-4A00-8128-E78E36266C9A}" dt="2023-11-04T04:16:16.404" v="44908" actId="478"/>
          <ac:grpSpMkLst>
            <pc:docMk/>
            <pc:sldMk cId="1761573872" sldId="326"/>
            <ac:grpSpMk id="6" creationId="{871D247B-4194-6217-7BB6-EEF49481B368}"/>
          </ac:grpSpMkLst>
        </pc:grpChg>
        <pc:grpChg chg="add mod">
          <ac:chgData name="Muchahary, Frankle" userId="0f2bf491-0617-4378-90b8-89af8fa381b9" providerId="ADAL" clId="{90877F19-00D2-4A00-8128-E78E36266C9A}" dt="2023-11-05T21:29:14.170" v="152807" actId="164"/>
          <ac:grpSpMkLst>
            <pc:docMk/>
            <pc:sldMk cId="1761573872" sldId="326"/>
            <ac:grpSpMk id="6" creationId="{9367085F-445A-948D-FD59-F88C8C00663B}"/>
          </ac:grpSpMkLst>
        </pc:grpChg>
        <pc:grpChg chg="add del mod">
          <ac:chgData name="Muchahary, Frankle" userId="0f2bf491-0617-4378-90b8-89af8fa381b9" providerId="ADAL" clId="{90877F19-00D2-4A00-8128-E78E36266C9A}" dt="2023-11-04T19:54:47.735" v="66179" actId="478"/>
          <ac:grpSpMkLst>
            <pc:docMk/>
            <pc:sldMk cId="1761573872" sldId="326"/>
            <ac:grpSpMk id="8" creationId="{094B0AD0-4E82-3D27-33DE-75D458A24465}"/>
          </ac:grpSpMkLst>
        </pc:grpChg>
        <pc:grpChg chg="add mod">
          <ac:chgData name="Muchahary, Frankle" userId="0f2bf491-0617-4378-90b8-89af8fa381b9" providerId="ADAL" clId="{90877F19-00D2-4A00-8128-E78E36266C9A}" dt="2023-11-05T21:29:07.744" v="152806" actId="164"/>
          <ac:grpSpMkLst>
            <pc:docMk/>
            <pc:sldMk cId="1761573872" sldId="326"/>
            <ac:grpSpMk id="13" creationId="{94202F71-9D25-CF88-CF8B-B8EA329E1D69}"/>
          </ac:grpSpMkLst>
        </pc:grpChg>
        <pc:grpChg chg="add mod">
          <ac:chgData name="Muchahary, Frankle" userId="0f2bf491-0617-4378-90b8-89af8fa381b9" providerId="ADAL" clId="{90877F19-00D2-4A00-8128-E78E36266C9A}" dt="2023-11-05T21:29:07.744" v="152806" actId="164"/>
          <ac:grpSpMkLst>
            <pc:docMk/>
            <pc:sldMk cId="1761573872" sldId="326"/>
            <ac:grpSpMk id="14" creationId="{A7FE6176-7D6A-07B3-57A5-F976CD30609D}"/>
          </ac:grpSpMkLst>
        </pc:grpChg>
        <pc:grpChg chg="mod">
          <ac:chgData name="Muchahary, Frankle" userId="0f2bf491-0617-4378-90b8-89af8fa381b9" providerId="ADAL" clId="{90877F19-00D2-4A00-8128-E78E36266C9A}" dt="2023-11-05T21:29:07.744" v="152806" actId="164"/>
          <ac:grpSpMkLst>
            <pc:docMk/>
            <pc:sldMk cId="1761573872" sldId="326"/>
            <ac:grpSpMk id="19" creationId="{871D247B-4194-6217-7BB6-EEF49481B368}"/>
          </ac:grpSpMkLst>
        </pc:grpChg>
        <pc:grpChg chg="add mod">
          <ac:chgData name="Muchahary, Frankle" userId="0f2bf491-0617-4378-90b8-89af8fa381b9" providerId="ADAL" clId="{90877F19-00D2-4A00-8128-E78E36266C9A}" dt="2023-11-05T21:29:14.170" v="152807" actId="164"/>
          <ac:grpSpMkLst>
            <pc:docMk/>
            <pc:sldMk cId="1761573872" sldId="326"/>
            <ac:grpSpMk id="29" creationId="{AC3315FF-A054-62D3-5AAE-EB867BE9ED14}"/>
          </ac:grpSpMkLst>
        </pc:grpChg>
        <pc:grpChg chg="add del mod">
          <ac:chgData name="Muchahary, Frankle" userId="0f2bf491-0617-4378-90b8-89af8fa381b9" providerId="ADAL" clId="{90877F19-00D2-4A00-8128-E78E36266C9A}" dt="2023-11-04T02:51:50.972" v="43629" actId="478"/>
          <ac:grpSpMkLst>
            <pc:docMk/>
            <pc:sldMk cId="1761573872" sldId="326"/>
            <ac:grpSpMk id="710" creationId="{CA1E27FA-8716-3C87-8726-AA6D3B91E486}"/>
          </ac:grpSpMkLst>
        </pc:grpChg>
        <pc:grpChg chg="add del mod">
          <ac:chgData name="Muchahary, Frankle" userId="0f2bf491-0617-4378-90b8-89af8fa381b9" providerId="ADAL" clId="{90877F19-00D2-4A00-8128-E78E36266C9A}" dt="2023-11-04T02:51:50.167" v="43628" actId="478"/>
          <ac:grpSpMkLst>
            <pc:docMk/>
            <pc:sldMk cId="1761573872" sldId="326"/>
            <ac:grpSpMk id="939" creationId="{BEFC1D34-47A0-8D52-EE1D-0E97683F3712}"/>
          </ac:grpSpMkLst>
        </pc:grpChg>
        <pc:grpChg chg="add del mod">
          <ac:chgData name="Muchahary, Frankle" userId="0f2bf491-0617-4378-90b8-89af8fa381b9" providerId="ADAL" clId="{90877F19-00D2-4A00-8128-E78E36266C9A}" dt="2023-11-04T02:48:22.535" v="43561"/>
          <ac:grpSpMkLst>
            <pc:docMk/>
            <pc:sldMk cId="1761573872" sldId="326"/>
            <ac:grpSpMk id="945" creationId="{9E5B9073-3C75-E180-12F4-975388FA534F}"/>
          </ac:grpSpMkLst>
        </pc:grpChg>
        <pc:grpChg chg="add del mod">
          <ac:chgData name="Muchahary, Frankle" userId="0f2bf491-0617-4378-90b8-89af8fa381b9" providerId="ADAL" clId="{90877F19-00D2-4A00-8128-E78E36266C9A}" dt="2023-11-04T02:48:39.088" v="43567"/>
          <ac:grpSpMkLst>
            <pc:docMk/>
            <pc:sldMk cId="1761573872" sldId="326"/>
            <ac:grpSpMk id="948" creationId="{4DE7A689-283C-CB71-EC12-CA93738E33E5}"/>
          </ac:grpSpMkLst>
        </pc:grpChg>
        <pc:grpChg chg="add del mod">
          <ac:chgData name="Muchahary, Frankle" userId="0f2bf491-0617-4378-90b8-89af8fa381b9" providerId="ADAL" clId="{90877F19-00D2-4A00-8128-E78E36266C9A}" dt="2023-11-04T02:51:52.703" v="43630" actId="478"/>
          <ac:grpSpMkLst>
            <pc:docMk/>
            <pc:sldMk cId="1761573872" sldId="326"/>
            <ac:grpSpMk id="954" creationId="{D1D3A79C-A167-B7D2-7E40-698EAA148967}"/>
          </ac:grpSpMkLst>
        </pc:grpChg>
        <pc:grpChg chg="add del mod">
          <ac:chgData name="Muchahary, Frankle" userId="0f2bf491-0617-4378-90b8-89af8fa381b9" providerId="ADAL" clId="{90877F19-00D2-4A00-8128-E78E36266C9A}" dt="2023-11-04T02:51:55.199" v="43631" actId="478"/>
          <ac:grpSpMkLst>
            <pc:docMk/>
            <pc:sldMk cId="1761573872" sldId="326"/>
            <ac:grpSpMk id="957" creationId="{9C471A29-4A2C-716A-9B67-3B113D6B2070}"/>
          </ac:grpSpMkLst>
        </pc:grpChg>
        <pc:graphicFrameChg chg="mod">
          <ac:chgData name="Muchahary, Frankle" userId="0f2bf491-0617-4378-90b8-89af8fa381b9" providerId="ADAL" clId="{90877F19-00D2-4A00-8128-E78E36266C9A}" dt="2023-11-08T07:19:47.433" v="171286"/>
          <ac:graphicFrameMkLst>
            <pc:docMk/>
            <pc:sldMk cId="1761573872" sldId="326"/>
            <ac:graphicFrameMk id="4" creationId="{FD4A65FB-339A-B2BC-4155-257FFC3BBBB9}"/>
          </ac:graphicFrameMkLst>
        </pc:graphicFrameChg>
        <pc:graphicFrameChg chg="mod modGraphic">
          <ac:chgData name="Muchahary, Frankle" userId="0f2bf491-0617-4378-90b8-89af8fa381b9" providerId="ADAL" clId="{90877F19-00D2-4A00-8128-E78E36266C9A}" dt="2023-11-05T21:29:07.744" v="152806" actId="164"/>
          <ac:graphicFrameMkLst>
            <pc:docMk/>
            <pc:sldMk cId="1761573872" sldId="326"/>
            <ac:graphicFrameMk id="16" creationId="{716F7044-D107-D586-512D-ABC865E673F6}"/>
          </ac:graphicFrameMkLst>
        </pc:graphicFrameChg>
        <pc:graphicFrameChg chg="add del mod">
          <ac:chgData name="Muchahary, Frankle" userId="0f2bf491-0617-4378-90b8-89af8fa381b9" providerId="ADAL" clId="{90877F19-00D2-4A00-8128-E78E36266C9A}" dt="2023-11-04T02:18:26.008" v="41756" actId="478"/>
          <ac:graphicFrameMkLst>
            <pc:docMk/>
            <pc:sldMk cId="1761573872" sldId="326"/>
            <ac:graphicFrameMk id="39" creationId="{C45033CB-CEAC-87A8-15E3-A5DD885B31CB}"/>
          </ac:graphicFrameMkLst>
        </pc:graphicFrameChg>
        <pc:graphicFrameChg chg="add del mod modGraphic">
          <ac:chgData name="Muchahary, Frankle" userId="0f2bf491-0617-4378-90b8-89af8fa381b9" providerId="ADAL" clId="{90877F19-00D2-4A00-8128-E78E36266C9A}" dt="2023-11-04T03:14:38.424" v="44123" actId="478"/>
          <ac:graphicFrameMkLst>
            <pc:docMk/>
            <pc:sldMk cId="1761573872" sldId="326"/>
            <ac:graphicFrameMk id="718" creationId="{716F7044-D107-D586-512D-ABC865E673F6}"/>
          </ac:graphicFrameMkLst>
        </pc:graphicFrameChg>
        <pc:graphicFrameChg chg="del">
          <ac:chgData name="Muchahary, Frankle" userId="0f2bf491-0617-4378-90b8-89af8fa381b9" providerId="ADAL" clId="{90877F19-00D2-4A00-8128-E78E36266C9A}" dt="2023-11-04T02:14:05.403" v="40641"/>
          <ac:graphicFrameMkLst>
            <pc:docMk/>
            <pc:sldMk cId="1761573872" sldId="326"/>
            <ac:graphicFrameMk id="925" creationId="{B27CDB98-0B2F-C4D5-D862-F9D00A669890}"/>
          </ac:graphicFrameMkLst>
        </pc:graphicFrameChg>
        <pc:graphicFrameChg chg="del">
          <ac:chgData name="Muchahary, Frankle" userId="0f2bf491-0617-4378-90b8-89af8fa381b9" providerId="ADAL" clId="{90877F19-00D2-4A00-8128-E78E36266C9A}" dt="2023-11-04T02:14:07.225" v="40675"/>
          <ac:graphicFrameMkLst>
            <pc:docMk/>
            <pc:sldMk cId="1761573872" sldId="326"/>
            <ac:graphicFrameMk id="929" creationId="{7ABD2F32-CADA-746C-26C5-ED16469DBD8D}"/>
          </ac:graphicFrameMkLst>
        </pc:graphicFrameChg>
        <pc:picChg chg="mod">
          <ac:chgData name="Muchahary, Frankle" userId="0f2bf491-0617-4378-90b8-89af8fa381b9" providerId="ADAL" clId="{90877F19-00D2-4A00-8128-E78E36266C9A}" dt="2023-11-05T21:29:07.744" v="152806" actId="164"/>
          <ac:picMkLst>
            <pc:docMk/>
            <pc:sldMk cId="1761573872" sldId="326"/>
            <ac:picMk id="2" creationId="{B19E7E1A-EBB0-6FA9-68A0-4CCD43A63E68}"/>
          </ac:picMkLst>
        </pc:picChg>
        <pc:picChg chg="add mod">
          <ac:chgData name="Muchahary, Frankle" userId="0f2bf491-0617-4378-90b8-89af8fa381b9" providerId="ADAL" clId="{90877F19-00D2-4A00-8128-E78E36266C9A}" dt="2023-11-04T03:09:15.416" v="43904" actId="164"/>
          <ac:picMkLst>
            <pc:docMk/>
            <pc:sldMk cId="1761573872" sldId="326"/>
            <ac:picMk id="5" creationId="{87255794-EC99-F45A-A8B0-6A7DF2649476}"/>
          </ac:picMkLst>
        </pc:picChg>
        <pc:picChg chg="add mod">
          <ac:chgData name="Muchahary, Frankle" userId="0f2bf491-0617-4378-90b8-89af8fa381b9" providerId="ADAL" clId="{90877F19-00D2-4A00-8128-E78E36266C9A}" dt="2023-11-04T03:09:15.416" v="43904" actId="164"/>
          <ac:picMkLst>
            <pc:docMk/>
            <pc:sldMk cId="1761573872" sldId="326"/>
            <ac:picMk id="7" creationId="{B19E7E1A-EBB0-6FA9-68A0-4CCD43A63E68}"/>
          </ac:picMkLst>
        </pc:picChg>
        <pc:picChg chg="add mod">
          <ac:chgData name="Muchahary, Frankle" userId="0f2bf491-0617-4378-90b8-89af8fa381b9" providerId="ADAL" clId="{90877F19-00D2-4A00-8128-E78E36266C9A}" dt="2023-11-04T03:09:15.416" v="43904" actId="164"/>
          <ac:picMkLst>
            <pc:docMk/>
            <pc:sldMk cId="1761573872" sldId="326"/>
            <ac:picMk id="9" creationId="{DDDBD587-3D5C-1D31-EC6E-9BC6FC4EA4D8}"/>
          </ac:picMkLst>
        </pc:picChg>
        <pc:picChg chg="add mod">
          <ac:chgData name="Muchahary, Frankle" userId="0f2bf491-0617-4378-90b8-89af8fa381b9" providerId="ADAL" clId="{90877F19-00D2-4A00-8128-E78E36266C9A}" dt="2023-11-04T03:09:15.416" v="43904" actId="164"/>
          <ac:picMkLst>
            <pc:docMk/>
            <pc:sldMk cId="1761573872" sldId="326"/>
            <ac:picMk id="11" creationId="{FBF33C18-4359-73CE-E5E3-D16CFD8F5320}"/>
          </ac:picMkLst>
        </pc:picChg>
        <pc:picChg chg="mod">
          <ac:chgData name="Muchahary, Frankle" userId="0f2bf491-0617-4378-90b8-89af8fa381b9" providerId="ADAL" clId="{90877F19-00D2-4A00-8128-E78E36266C9A}" dt="2023-11-05T21:29:07.744" v="152806" actId="164"/>
          <ac:picMkLst>
            <pc:docMk/>
            <pc:sldMk cId="1761573872" sldId="326"/>
            <ac:picMk id="15" creationId="{DDDBD587-3D5C-1D31-EC6E-9BC6FC4EA4D8}"/>
          </ac:picMkLst>
        </pc:picChg>
        <pc:picChg chg="mod">
          <ac:chgData name="Muchahary, Frankle" userId="0f2bf491-0617-4378-90b8-89af8fa381b9" providerId="ADAL" clId="{90877F19-00D2-4A00-8128-E78E36266C9A}" dt="2023-11-05T21:29:07.744" v="152806" actId="164"/>
          <ac:picMkLst>
            <pc:docMk/>
            <pc:sldMk cId="1761573872" sldId="326"/>
            <ac:picMk id="17" creationId="{FBF33C18-4359-73CE-E5E3-D16CFD8F5320}"/>
          </ac:picMkLst>
        </pc:picChg>
        <pc:picChg chg="mod">
          <ac:chgData name="Muchahary, Frankle" userId="0f2bf491-0617-4378-90b8-89af8fa381b9" providerId="ADAL" clId="{90877F19-00D2-4A00-8128-E78E36266C9A}" dt="2023-11-05T21:29:07.744" v="152806" actId="164"/>
          <ac:picMkLst>
            <pc:docMk/>
            <pc:sldMk cId="1761573872" sldId="326"/>
            <ac:picMk id="18" creationId="{87255794-EC99-F45A-A8B0-6A7DF2649476}"/>
          </ac:picMkLst>
        </pc:picChg>
        <pc:cxnChg chg="del">
          <ac:chgData name="Muchahary, Frankle" userId="0f2bf491-0617-4378-90b8-89af8fa381b9" providerId="ADAL" clId="{90877F19-00D2-4A00-8128-E78E36266C9A}" dt="2023-11-04T02:14:05.403" v="40636"/>
          <ac:cxnSpMkLst>
            <pc:docMk/>
            <pc:sldMk cId="1761573872" sldId="326"/>
            <ac:cxnSpMk id="29" creationId="{F2295E77-40E2-5087-4E73-AE5952D8E523}"/>
          </ac:cxnSpMkLst>
        </pc:cxnChg>
        <pc:cxnChg chg="del">
          <ac:chgData name="Muchahary, Frankle" userId="0f2bf491-0617-4378-90b8-89af8fa381b9" providerId="ADAL" clId="{90877F19-00D2-4A00-8128-E78E36266C9A}" dt="2023-11-04T02:14:05.403" v="40633"/>
          <ac:cxnSpMkLst>
            <pc:docMk/>
            <pc:sldMk cId="1761573872" sldId="326"/>
            <ac:cxnSpMk id="30" creationId="{991F2E8C-2A22-B0B0-19A8-C1C7726291CF}"/>
          </ac:cxnSpMkLst>
        </pc:cxnChg>
        <pc:cxnChg chg="del">
          <ac:chgData name="Muchahary, Frankle" userId="0f2bf491-0617-4378-90b8-89af8fa381b9" providerId="ADAL" clId="{90877F19-00D2-4A00-8128-E78E36266C9A}" dt="2023-11-04T02:14:05.388" v="40630"/>
          <ac:cxnSpMkLst>
            <pc:docMk/>
            <pc:sldMk cId="1761573872" sldId="326"/>
            <ac:cxnSpMk id="48" creationId="{5FFF1E2B-3CD3-452D-9566-44CD44CD4F4A}"/>
          </ac:cxnSpMkLst>
        </pc:cxnChg>
        <pc:cxnChg chg="del">
          <ac:chgData name="Muchahary, Frankle" userId="0f2bf491-0617-4378-90b8-89af8fa381b9" providerId="ADAL" clId="{90877F19-00D2-4A00-8128-E78E36266C9A}" dt="2023-11-04T02:14:05.388" v="40627"/>
          <ac:cxnSpMkLst>
            <pc:docMk/>
            <pc:sldMk cId="1761573872" sldId="326"/>
            <ac:cxnSpMk id="53" creationId="{F07D8070-18B2-7BCA-982E-E5420F7D03F1}"/>
          </ac:cxnSpMkLst>
        </pc:cxnChg>
        <pc:cxnChg chg="del">
          <ac:chgData name="Muchahary, Frankle" userId="0f2bf491-0617-4378-90b8-89af8fa381b9" providerId="ADAL" clId="{90877F19-00D2-4A00-8128-E78E36266C9A}" dt="2023-11-04T02:14:05.388" v="40624"/>
          <ac:cxnSpMkLst>
            <pc:docMk/>
            <pc:sldMk cId="1761573872" sldId="326"/>
            <ac:cxnSpMk id="58" creationId="{40C7A6BC-3F9E-0E9F-E754-89AE45F21FAC}"/>
          </ac:cxnSpMkLst>
        </pc:cxnChg>
        <pc:cxnChg chg="del">
          <ac:chgData name="Muchahary, Frankle" userId="0f2bf491-0617-4378-90b8-89af8fa381b9" providerId="ADAL" clId="{90877F19-00D2-4A00-8128-E78E36266C9A}" dt="2023-11-04T02:14:05.388" v="40620"/>
          <ac:cxnSpMkLst>
            <pc:docMk/>
            <pc:sldMk cId="1761573872" sldId="326"/>
            <ac:cxnSpMk id="707" creationId="{D4820B4D-9B7C-2510-5EAD-0EF62DFA8123}"/>
          </ac:cxnSpMkLst>
        </pc:cxnChg>
        <pc:cxnChg chg="del">
          <ac:chgData name="Muchahary, Frankle" userId="0f2bf491-0617-4378-90b8-89af8fa381b9" providerId="ADAL" clId="{90877F19-00D2-4A00-8128-E78E36266C9A}" dt="2023-11-04T02:14:05.388" v="40618"/>
          <ac:cxnSpMkLst>
            <pc:docMk/>
            <pc:sldMk cId="1761573872" sldId="326"/>
            <ac:cxnSpMk id="708" creationId="{EBFCB9C1-0B3E-EBD3-0584-CDD6D689DC1F}"/>
          </ac:cxnSpMkLst>
        </pc:cxnChg>
        <pc:cxnChg chg="del">
          <ac:chgData name="Muchahary, Frankle" userId="0f2bf491-0617-4378-90b8-89af8fa381b9" providerId="ADAL" clId="{90877F19-00D2-4A00-8128-E78E36266C9A}" dt="2023-11-04T02:14:05.388" v="40616"/>
          <ac:cxnSpMkLst>
            <pc:docMk/>
            <pc:sldMk cId="1761573872" sldId="326"/>
            <ac:cxnSpMk id="709" creationId="{8DBE1CD4-2B70-58D2-D203-BBF62683D1A9}"/>
          </ac:cxnSpMkLst>
        </pc:cxnChg>
        <pc:cxnChg chg="add del mod">
          <ac:chgData name="Muchahary, Frankle" userId="0f2bf491-0617-4378-90b8-89af8fa381b9" providerId="ADAL" clId="{90877F19-00D2-4A00-8128-E78E36266C9A}" dt="2023-11-04T02:49:50.269" v="43613" actId="478"/>
          <ac:cxnSpMkLst>
            <pc:docMk/>
            <pc:sldMk cId="1761573872" sldId="326"/>
            <ac:cxnSpMk id="714" creationId="{84413C27-6631-F1AA-8A3B-EECAB170FC1E}"/>
          </ac:cxnSpMkLst>
        </pc:cxnChg>
        <pc:cxnChg chg="add del mod">
          <ac:chgData name="Muchahary, Frankle" userId="0f2bf491-0617-4378-90b8-89af8fa381b9" providerId="ADAL" clId="{90877F19-00D2-4A00-8128-E78E36266C9A}" dt="2023-11-04T02:49:51.398" v="43614" actId="478"/>
          <ac:cxnSpMkLst>
            <pc:docMk/>
            <pc:sldMk cId="1761573872" sldId="326"/>
            <ac:cxnSpMk id="715" creationId="{2F9A4C4B-65D4-7289-21E0-614496242A0D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63" v="43462"/>
          <ac:cxnSpMkLst>
            <pc:docMk/>
            <pc:sldMk cId="1761573872" sldId="326"/>
            <ac:cxnSpMk id="909" creationId="{79C2164C-4345-15F8-C5E6-EBCC4C7D8F49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63" v="43455"/>
          <ac:cxnSpMkLst>
            <pc:docMk/>
            <pc:sldMk cId="1761573872" sldId="326"/>
            <ac:cxnSpMk id="912" creationId="{D4AC2B54-A69C-7C7B-91F7-712C1351E0C6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59" v="43451"/>
          <ac:cxnSpMkLst>
            <pc:docMk/>
            <pc:sldMk cId="1761573872" sldId="326"/>
            <ac:cxnSpMk id="913" creationId="{E5880AB9-37C9-C7F5-E7EE-E625DE9BB55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6" v="43515"/>
          <ac:cxnSpMkLst>
            <pc:docMk/>
            <pc:sldMk cId="1761573872" sldId="326"/>
            <ac:cxnSpMk id="914" creationId="{B6957BA8-558C-90D9-5B79-45CEDB653F2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5" v="43513"/>
          <ac:cxnSpMkLst>
            <pc:docMk/>
            <pc:sldMk cId="1761573872" sldId="326"/>
            <ac:cxnSpMk id="915" creationId="{A209ED50-3072-E2B4-26C9-05B94C36E44D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3" v="43511"/>
          <ac:cxnSpMkLst>
            <pc:docMk/>
            <pc:sldMk cId="1761573872" sldId="326"/>
            <ac:cxnSpMk id="916" creationId="{E998C98C-190E-62A8-A3E0-0BEF52EC8D7F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3" v="43509"/>
          <ac:cxnSpMkLst>
            <pc:docMk/>
            <pc:sldMk cId="1761573872" sldId="326"/>
            <ac:cxnSpMk id="917" creationId="{AA69E6B6-7A5E-24AE-7E3B-AC001CA150FF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9" v="43507"/>
          <ac:cxnSpMkLst>
            <pc:docMk/>
            <pc:sldMk cId="1761573872" sldId="326"/>
            <ac:cxnSpMk id="918" creationId="{CE245180-9F95-4B70-007A-AF4C700EFEE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9" v="43505"/>
          <ac:cxnSpMkLst>
            <pc:docMk/>
            <pc:sldMk cId="1761573872" sldId="326"/>
            <ac:cxnSpMk id="919" creationId="{C034F447-83AC-E4E7-967F-F0E3B1DAE1A3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9" v="43503"/>
          <ac:cxnSpMkLst>
            <pc:docMk/>
            <pc:sldMk cId="1761573872" sldId="326"/>
            <ac:cxnSpMk id="920" creationId="{11F863F7-A7D5-EAF7-99DB-AB6C97400EBD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9" v="43501"/>
          <ac:cxnSpMkLst>
            <pc:docMk/>
            <pc:sldMk cId="1761573872" sldId="326"/>
            <ac:cxnSpMk id="921" creationId="{4DFB92E4-7CF8-405B-E581-37C1E9805895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7" v="43499"/>
          <ac:cxnSpMkLst>
            <pc:docMk/>
            <pc:sldMk cId="1761573872" sldId="326"/>
            <ac:cxnSpMk id="922" creationId="{FD047E77-1845-2EB4-C513-7DC3176A3E09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6" v="43497"/>
          <ac:cxnSpMkLst>
            <pc:docMk/>
            <pc:sldMk cId="1761573872" sldId="326"/>
            <ac:cxnSpMk id="923" creationId="{BCB9652D-8D23-F584-4C71-0ED4BA82CF5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6" v="43495"/>
          <ac:cxnSpMkLst>
            <pc:docMk/>
            <pc:sldMk cId="1761573872" sldId="326"/>
            <ac:cxnSpMk id="924" creationId="{E13E39DB-4179-7A84-A952-E29E41F9A53A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1" v="43493"/>
          <ac:cxnSpMkLst>
            <pc:docMk/>
            <pc:sldMk cId="1761573872" sldId="326"/>
            <ac:cxnSpMk id="926" creationId="{963D267E-194D-D01D-60F2-25408C86BE0E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1" v="43491"/>
          <ac:cxnSpMkLst>
            <pc:docMk/>
            <pc:sldMk cId="1761573872" sldId="326"/>
            <ac:cxnSpMk id="927" creationId="{8DE752E1-DB0D-0C92-2298-163FF21A91E5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1" v="43489"/>
          <ac:cxnSpMkLst>
            <pc:docMk/>
            <pc:sldMk cId="1761573872" sldId="326"/>
            <ac:cxnSpMk id="928" creationId="{7E1D951D-D971-00CD-0710-34B1BD839FB3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81" v="43487"/>
          <ac:cxnSpMkLst>
            <pc:docMk/>
            <pc:sldMk cId="1761573872" sldId="326"/>
            <ac:cxnSpMk id="930" creationId="{C43BD700-BF32-2003-7046-AE6A34F128B3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9" v="43525"/>
          <ac:cxnSpMkLst>
            <pc:docMk/>
            <pc:sldMk cId="1761573872" sldId="326"/>
            <ac:cxnSpMk id="931" creationId="{2905FCAE-3AFA-1224-5E83-6190C8FFF49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9" v="43521"/>
          <ac:cxnSpMkLst>
            <pc:docMk/>
            <pc:sldMk cId="1761573872" sldId="326"/>
            <ac:cxnSpMk id="932" creationId="{4435AC7F-A5A9-96AF-4510-4FA451AB4B22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6" v="43517"/>
          <ac:cxnSpMkLst>
            <pc:docMk/>
            <pc:sldMk cId="1761573872" sldId="326"/>
            <ac:cxnSpMk id="933" creationId="{4A06DB2F-BA57-0934-AE41-1D27857C720F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9" v="43523"/>
          <ac:cxnSpMkLst>
            <pc:docMk/>
            <pc:sldMk cId="1761573872" sldId="326"/>
            <ac:cxnSpMk id="934" creationId="{CD5222B1-AC32-27C4-A4F1-6D9FB84623E3}"/>
          </ac:cxnSpMkLst>
        </pc:cxnChg>
        <pc:cxnChg chg="add del mod ord replST">
          <ac:chgData name="Muchahary, Frankle" userId="0f2bf491-0617-4378-90b8-89af8fa381b9" providerId="ADAL" clId="{90877F19-00D2-4A00-8128-E78E36266C9A}" dt="2023-11-04T02:18:52.998" v="43519"/>
          <ac:cxnSpMkLst>
            <pc:docMk/>
            <pc:sldMk cId="1761573872" sldId="326"/>
            <ac:cxnSpMk id="935" creationId="{532BBC3B-E751-2498-5CCA-360E03146FB1}"/>
          </ac:cxnSpMkLst>
        </pc:cxnChg>
      </pc:sldChg>
      <pc:sldChg chg="delSp add del mod">
        <pc:chgData name="Muchahary, Frankle" userId="0f2bf491-0617-4378-90b8-89af8fa381b9" providerId="ADAL" clId="{90877F19-00D2-4A00-8128-E78E36266C9A}" dt="2023-11-04T03:04:16.013" v="43768" actId="47"/>
        <pc:sldMkLst>
          <pc:docMk/>
          <pc:sldMk cId="1108030757" sldId="328"/>
        </pc:sldMkLst>
        <pc:spChg chg="del">
          <ac:chgData name="Muchahary, Frankle" userId="0f2bf491-0617-4378-90b8-89af8fa381b9" providerId="ADAL" clId="{90877F19-00D2-4A00-8128-E78E36266C9A}" dt="2023-11-04T02:49:43.719" v="43611" actId="478"/>
          <ac:spMkLst>
            <pc:docMk/>
            <pc:sldMk cId="1108030757" sldId="328"/>
            <ac:spMk id="937" creationId="{23F0194D-FA9E-198A-4727-E7CA554837DD}"/>
          </ac:spMkLst>
        </pc:spChg>
        <pc:spChg chg="del">
          <ac:chgData name="Muchahary, Frankle" userId="0f2bf491-0617-4378-90b8-89af8fa381b9" providerId="ADAL" clId="{90877F19-00D2-4A00-8128-E78E36266C9A}" dt="2023-11-04T02:49:45.130" v="43612" actId="478"/>
          <ac:spMkLst>
            <pc:docMk/>
            <pc:sldMk cId="1108030757" sldId="328"/>
            <ac:spMk id="938" creationId="{E50C8C7A-C679-7175-2EE2-63E46D3AF28B}"/>
          </ac:spMkLst>
        </pc:spChg>
      </pc:sldChg>
      <pc:sldChg chg="modSp del mod">
        <pc:chgData name="Muchahary, Frankle" userId="0f2bf491-0617-4378-90b8-89af8fa381b9" providerId="ADAL" clId="{90877F19-00D2-4A00-8128-E78E36266C9A}" dt="2023-11-08T05:48:57.548" v="163059" actId="47"/>
        <pc:sldMkLst>
          <pc:docMk/>
          <pc:sldMk cId="1207637406" sldId="328"/>
        </pc:sldMkLst>
        <pc:spChg chg="mod">
          <ac:chgData name="Muchahary, Frankle" userId="0f2bf491-0617-4378-90b8-89af8fa381b9" providerId="ADAL" clId="{90877F19-00D2-4A00-8128-E78E36266C9A}" dt="2023-11-04T04:20:28.989" v="44913" actId="14861"/>
          <ac:spMkLst>
            <pc:docMk/>
            <pc:sldMk cId="1207637406" sldId="328"/>
            <ac:spMk id="45" creationId="{E5EEFBE5-4BCC-AD02-A244-B63E79F89E3E}"/>
          </ac:spMkLst>
        </pc:spChg>
        <pc:spChg chg="mod">
          <ac:chgData name="Muchahary, Frankle" userId="0f2bf491-0617-4378-90b8-89af8fa381b9" providerId="ADAL" clId="{90877F19-00D2-4A00-8128-E78E36266C9A}" dt="2023-11-04T04:20:17.233" v="44911" actId="2085"/>
          <ac:spMkLst>
            <pc:docMk/>
            <pc:sldMk cId="1207637406" sldId="328"/>
            <ac:spMk id="46" creationId="{34BCA7BD-02E2-3945-3A36-F59F9EF3A413}"/>
          </ac:spMkLst>
        </pc:spChg>
      </pc:sldChg>
      <pc:sldChg chg="del">
        <pc:chgData name="Muchahary, Frankle" userId="0f2bf491-0617-4378-90b8-89af8fa381b9" providerId="ADAL" clId="{90877F19-00D2-4A00-8128-E78E36266C9A}" dt="2023-11-04T03:06:56.199" v="43777" actId="47"/>
        <pc:sldMkLst>
          <pc:docMk/>
          <pc:sldMk cId="3058885412" sldId="328"/>
        </pc:sldMkLst>
      </pc:sldChg>
      <pc:sldChg chg="addSp delSp modSp add del mod ord modClrScheme chgLayout">
        <pc:chgData name="Muchahary, Frankle" userId="0f2bf491-0617-4378-90b8-89af8fa381b9" providerId="ADAL" clId="{90877F19-00D2-4A00-8128-E78E36266C9A}" dt="2023-11-08T05:48:34.392" v="163050" actId="47"/>
        <pc:sldMkLst>
          <pc:docMk/>
          <pc:sldMk cId="4238553409" sldId="329"/>
        </pc:sldMkLst>
        <pc:spChg chg="mod">
          <ac:chgData name="Muchahary, Frankle" userId="0f2bf491-0617-4378-90b8-89af8fa381b9" providerId="ADAL" clId="{90877F19-00D2-4A00-8128-E78E36266C9A}" dt="2023-11-04T04:24:36.829" v="44939"/>
          <ac:spMkLst>
            <pc:docMk/>
            <pc:sldMk cId="4238553409" sldId="329"/>
            <ac:spMk id="3" creationId="{3BBDBEB6-F44B-DF40-F1AF-745636C6EB63}"/>
          </ac:spMkLst>
        </pc:spChg>
        <pc:spChg chg="del mod">
          <ac:chgData name="Muchahary, Frankle" userId="0f2bf491-0617-4378-90b8-89af8fa381b9" providerId="ADAL" clId="{90877F19-00D2-4A00-8128-E78E36266C9A}" dt="2023-11-04T04:27:15.019" v="44965" actId="478"/>
          <ac:spMkLst>
            <pc:docMk/>
            <pc:sldMk cId="4238553409" sldId="329"/>
            <ac:spMk id="4" creationId="{888A8DC5-9022-E87E-4CD0-32F2E38B1B76}"/>
          </ac:spMkLst>
        </pc:spChg>
        <pc:spChg chg="add mod">
          <ac:chgData name="Muchahary, Frankle" userId="0f2bf491-0617-4378-90b8-89af8fa381b9" providerId="ADAL" clId="{90877F19-00D2-4A00-8128-E78E36266C9A}" dt="2023-11-04T04:28:31.934" v="44967" actId="164"/>
          <ac:spMkLst>
            <pc:docMk/>
            <pc:sldMk cId="4238553409" sldId="329"/>
            <ac:spMk id="5" creationId="{E708F384-35B0-06C5-FA0F-5A379A8FCFAF}"/>
          </ac:spMkLst>
        </pc:spChg>
        <pc:spChg chg="add mod">
          <ac:chgData name="Muchahary, Frankle" userId="0f2bf491-0617-4378-90b8-89af8fa381b9" providerId="ADAL" clId="{90877F19-00D2-4A00-8128-E78E36266C9A}" dt="2023-11-04T04:27:26.991" v="44966"/>
          <ac:spMkLst>
            <pc:docMk/>
            <pc:sldMk cId="4238553409" sldId="329"/>
            <ac:spMk id="6" creationId="{8D00B77E-1094-F6A8-A1A3-B7C3F59051E4}"/>
          </ac:spMkLst>
        </pc:spChg>
        <pc:spChg chg="mod">
          <ac:chgData name="Muchahary, Frankle" userId="0f2bf491-0617-4378-90b8-89af8fa381b9" providerId="ADAL" clId="{90877F19-00D2-4A00-8128-E78E36266C9A}" dt="2023-11-04T04:28:58.907" v="44976" actId="14100"/>
          <ac:spMkLst>
            <pc:docMk/>
            <pc:sldMk cId="4238553409" sldId="329"/>
            <ac:spMk id="10" creationId="{BA1654FE-1623-4C3F-EAF1-107FDCDE0010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11" creationId="{40AC37B1-54B3-A8F1-D748-DB9B7720F62B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16" creationId="{2C538B3D-7D54-A45B-9C71-EBAA2242DC26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17" creationId="{1D8D2AD1-3735-3F78-518D-796908386E54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18" creationId="{E9F0BFCD-7771-BF17-2618-97890D4720FD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19" creationId="{B085F75D-9479-B36D-AEEA-A12D08AD0516}"/>
          </ac:spMkLst>
        </pc:spChg>
        <pc:spChg chg="mod">
          <ac:chgData name="Muchahary, Frankle" userId="0f2bf491-0617-4378-90b8-89af8fa381b9" providerId="ADAL" clId="{90877F19-00D2-4A00-8128-E78E36266C9A}" dt="2023-11-04T04:28:35.902" v="44968"/>
          <ac:spMkLst>
            <pc:docMk/>
            <pc:sldMk cId="4238553409" sldId="329"/>
            <ac:spMk id="20" creationId="{E43C958A-415C-6A1A-2912-0085FA3103EC}"/>
          </ac:spMkLst>
        </pc:spChg>
        <pc:spChg chg="mod">
          <ac:chgData name="Muchahary, Frankle" userId="0f2bf491-0617-4378-90b8-89af8fa381b9" providerId="ADAL" clId="{90877F19-00D2-4A00-8128-E78E36266C9A}" dt="2023-11-04T04:29:02.153" v="44977" actId="14100"/>
          <ac:spMkLst>
            <pc:docMk/>
            <pc:sldMk cId="4238553409" sldId="329"/>
            <ac:spMk id="24" creationId="{988ED677-CCA4-78C4-38B1-ED5951F93674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25" creationId="{70B8E3E5-20FB-17FB-723E-44E7405CAA5C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27" creationId="{3698D05E-60DC-6677-56E8-035C2DEB17AE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28" creationId="{62900EEF-B062-ABFE-FF8F-9CE6235D398A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30" creationId="{50268198-E2B2-2DF5-94F5-1DFB5E67C324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31" creationId="{BB73BD40-F5EF-B2B1-6ABD-B132829335B3}"/>
          </ac:spMkLst>
        </pc:spChg>
        <pc:spChg chg="mod">
          <ac:chgData name="Muchahary, Frankle" userId="0f2bf491-0617-4378-90b8-89af8fa381b9" providerId="ADAL" clId="{90877F19-00D2-4A00-8128-E78E36266C9A}" dt="2023-11-04T04:28:42.242" v="44970"/>
          <ac:spMkLst>
            <pc:docMk/>
            <pc:sldMk cId="4238553409" sldId="329"/>
            <ac:spMk id="32" creationId="{8EB34065-353C-4DC6-8E6F-7F30F754442A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34" creationId="{26FFD5B7-B492-0D2B-265C-16C9B9F71939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35" creationId="{54F019EE-91FA-AEEA-5CA0-B7047FD1530C}"/>
          </ac:spMkLst>
        </pc:spChg>
        <pc:spChg chg="add del mod topLvl">
          <ac:chgData name="Muchahary, Frankle" userId="0f2bf491-0617-4378-90b8-89af8fa381b9" providerId="ADAL" clId="{90877F19-00D2-4A00-8128-E78E36266C9A}" dt="2023-11-04T04:28:54.678" v="44975" actId="14100"/>
          <ac:spMkLst>
            <pc:docMk/>
            <pc:sldMk cId="4238553409" sldId="329"/>
            <ac:spMk id="45" creationId="{E5EEFBE5-4BCC-AD02-A244-B63E79F89E3E}"/>
          </ac:spMkLst>
        </pc:spChg>
        <pc:spChg chg="add del mod topLvl">
          <ac:chgData name="Muchahary, Frankle" userId="0f2bf491-0617-4378-90b8-89af8fa381b9" providerId="ADAL" clId="{90877F19-00D2-4A00-8128-E78E36266C9A}" dt="2023-11-04T04:31:56.793" v="45004" actId="1076"/>
          <ac:spMkLst>
            <pc:docMk/>
            <pc:sldMk cId="4238553409" sldId="329"/>
            <ac:spMk id="46" creationId="{34BCA7BD-02E2-3945-3A36-F59F9EF3A413}"/>
          </ac:spMkLst>
        </pc:spChg>
        <pc:spChg chg="mod topLvl">
          <ac:chgData name="Muchahary, Frankle" userId="0f2bf491-0617-4378-90b8-89af8fa381b9" providerId="ADAL" clId="{90877F19-00D2-4A00-8128-E78E36266C9A}" dt="2023-11-04T04:32:32.612" v="45017" actId="1076"/>
          <ac:spMkLst>
            <pc:docMk/>
            <pc:sldMk cId="4238553409" sldId="329"/>
            <ac:spMk id="48" creationId="{8E3AFDF7-B5D5-F6AF-9826-978862238D6F}"/>
          </ac:spMkLst>
        </pc:spChg>
        <pc:spChg chg="mod topLvl">
          <ac:chgData name="Muchahary, Frankle" userId="0f2bf491-0617-4378-90b8-89af8fa381b9" providerId="ADAL" clId="{90877F19-00D2-4A00-8128-E78E36266C9A}" dt="2023-11-04T04:28:31.934" v="44967" actId="164"/>
          <ac:spMkLst>
            <pc:docMk/>
            <pc:sldMk cId="4238553409" sldId="329"/>
            <ac:spMk id="49" creationId="{500EB067-F212-0B0D-DE10-67F2F0DE43F9}"/>
          </ac:spMkLst>
        </pc:spChg>
        <pc:spChg chg="mod">
          <ac:chgData name="Muchahary, Frankle" userId="0f2bf491-0617-4378-90b8-89af8fa381b9" providerId="ADAL" clId="{90877F19-00D2-4A00-8128-E78E36266C9A}" dt="2023-11-04T04:32:31.533" v="45015" actId="1076"/>
          <ac:spMkLst>
            <pc:docMk/>
            <pc:sldMk cId="4238553409" sldId="329"/>
            <ac:spMk id="50" creationId="{67937100-8696-DC67-5784-4700BA93AF89}"/>
          </ac:spMkLst>
        </pc:spChg>
        <pc:spChg chg="add del mod">
          <ac:chgData name="Muchahary, Frankle" userId="0f2bf491-0617-4378-90b8-89af8fa381b9" providerId="ADAL" clId="{90877F19-00D2-4A00-8128-E78E36266C9A}" dt="2023-11-04T04:32:31.137" v="45014" actId="1076"/>
          <ac:spMkLst>
            <pc:docMk/>
            <pc:sldMk cId="4238553409" sldId="329"/>
            <ac:spMk id="51" creationId="{E6E95FD3-04C6-C515-17D7-27756C625208}"/>
          </ac:spMkLst>
        </pc:spChg>
        <pc:spChg chg="del">
          <ac:chgData name="Muchahary, Frankle" userId="0f2bf491-0617-4378-90b8-89af8fa381b9" providerId="ADAL" clId="{90877F19-00D2-4A00-8128-E78E36266C9A}" dt="2023-11-04T04:20:57.303" v="44919" actId="478"/>
          <ac:spMkLst>
            <pc:docMk/>
            <pc:sldMk cId="4238553409" sldId="329"/>
            <ac:spMk id="60" creationId="{CD11739F-98C1-26BC-6E6A-CE4C17A5CE1F}"/>
          </ac:spMkLst>
        </pc:spChg>
        <pc:spChg chg="del">
          <ac:chgData name="Muchahary, Frankle" userId="0f2bf491-0617-4378-90b8-89af8fa381b9" providerId="ADAL" clId="{90877F19-00D2-4A00-8128-E78E36266C9A}" dt="2023-11-04T04:21:01.484" v="44920" actId="478"/>
          <ac:spMkLst>
            <pc:docMk/>
            <pc:sldMk cId="4238553409" sldId="329"/>
            <ac:spMk id="61" creationId="{D74148CE-BF1C-7287-6269-E15DB4B11BA5}"/>
          </ac:spMkLst>
        </pc:spChg>
        <pc:spChg chg="del">
          <ac:chgData name="Muchahary, Frankle" userId="0f2bf491-0617-4378-90b8-89af8fa381b9" providerId="ADAL" clId="{90877F19-00D2-4A00-8128-E78E36266C9A}" dt="2023-11-04T04:21:01.484" v="44920" actId="478"/>
          <ac:spMkLst>
            <pc:docMk/>
            <pc:sldMk cId="4238553409" sldId="329"/>
            <ac:spMk id="62" creationId="{ECA3A3C7-B479-3F58-F3CE-D2A0E4AFD698}"/>
          </ac:spMkLst>
        </pc:spChg>
        <pc:spChg chg="del">
          <ac:chgData name="Muchahary, Frankle" userId="0f2bf491-0617-4378-90b8-89af8fa381b9" providerId="ADAL" clId="{90877F19-00D2-4A00-8128-E78E36266C9A}" dt="2023-11-04T04:21:01.484" v="44920" actId="478"/>
          <ac:spMkLst>
            <pc:docMk/>
            <pc:sldMk cId="4238553409" sldId="329"/>
            <ac:spMk id="63" creationId="{326CABE2-814C-3E2C-FDF5-795E89DC58E5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64" creationId="{9794E6D1-1517-1F14-B892-8DCC59023A6E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65" creationId="{63167725-817E-2A74-4A50-04AD98028F3C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66" creationId="{1A93145D-9D78-B809-9971-5833AD2B9BDB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67" creationId="{8CD201D1-2B4F-A469-058D-8848C430AF46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68" creationId="{53BB11BA-B78A-FCC3-CCFC-73A2623D086E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0" creationId="{6A85D589-A9BD-6673-EBD7-B38DEEE2069F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1" creationId="{E42F80CD-87B1-B5E5-EFE4-0D1B713CBEDE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3" creationId="{74C29437-303D-DF65-3EEA-D7A90E66625B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4" creationId="{345FDBBE-02F0-612B-41E9-67F7A71233D8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5" creationId="{114C3989-8852-C6F5-D75D-EBEC77110D6C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6" creationId="{49A4883D-EB57-6FA4-7DD7-ECE4FB5CD87E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7" creationId="{02426CFE-D8B0-615B-04AA-7CDA46AEFD75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79" creationId="{7C973342-AD85-91B8-A4AA-C4F21BD0AD34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0" creationId="{0B3F1371-48A0-37E5-DCFB-0835B92CF33C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2" creationId="{9B09578B-CAB6-042B-EA13-13CA0C363954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3" creationId="{57817B85-A765-C346-731C-3EE81A47185A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4" creationId="{FA82486E-4BFB-FF94-C5EA-9771CB145EBC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5" creationId="{01D0EEA8-8F97-360F-33BC-248AFE734CC3}"/>
          </ac:spMkLst>
        </pc:spChg>
        <pc:spChg chg="mod">
          <ac:chgData name="Muchahary, Frankle" userId="0f2bf491-0617-4378-90b8-89af8fa381b9" providerId="ADAL" clId="{90877F19-00D2-4A00-8128-E78E36266C9A}" dt="2023-11-04T04:29:04.250" v="44978" actId="571"/>
          <ac:spMkLst>
            <pc:docMk/>
            <pc:sldMk cId="4238553409" sldId="329"/>
            <ac:spMk id="86" creationId="{46046F44-630C-7273-3885-91754564B6C1}"/>
          </ac:spMkLst>
        </pc:spChg>
        <pc:spChg chg="add del mod">
          <ac:chgData name="Muchahary, Frankle" userId="0f2bf491-0617-4378-90b8-89af8fa381b9" providerId="ADAL" clId="{90877F19-00D2-4A00-8128-E78E36266C9A}" dt="2023-11-04T04:32:29.504" v="45009"/>
          <ac:spMkLst>
            <pc:docMk/>
            <pc:sldMk cId="4238553409" sldId="329"/>
            <ac:spMk id="87" creationId="{EDD0EB0A-FA70-82F5-2929-5A4A048DDC96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89" creationId="{2B9C7FC8-1FBE-900D-308E-2D0E4B5AA5E1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0" creationId="{D39E9F83-E8FB-4764-BF13-E7074D1B8EB0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2" creationId="{89F3CD0B-6DC9-F623-70AC-D7619CAEEFA8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3" creationId="{8D7CD126-6C28-95F0-9C40-F7216C3EF511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4" creationId="{7A96CCA2-3578-C9BC-CA6E-77E1BBE996E1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5" creationId="{0CB72713-CF3F-11D9-2EF4-2331F3AA24E7}"/>
          </ac:spMkLst>
        </pc:spChg>
        <pc:spChg chg="mod">
          <ac:chgData name="Muchahary, Frankle" userId="0f2bf491-0617-4378-90b8-89af8fa381b9" providerId="ADAL" clId="{90877F19-00D2-4A00-8128-E78E36266C9A}" dt="2023-11-04T04:32:48.120" v="45020"/>
          <ac:spMkLst>
            <pc:docMk/>
            <pc:sldMk cId="4238553409" sldId="329"/>
            <ac:spMk id="96" creationId="{79340289-04B3-640E-7360-AEB3C2B2777C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98" creationId="{4270CC02-28C7-C697-6AB6-26FD6E51CDEC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99" creationId="{EF6E2FFD-8596-50FB-44F8-93A609F35B15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101" creationId="{C7ED75B2-0DBB-5BBE-415C-51136659F49E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102" creationId="{E19A5779-999A-00D4-44F1-C1B3D48F1209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103" creationId="{42F0FE93-D8C3-7521-A680-B27CFFDFB354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104" creationId="{4589152E-0E60-7EB9-2F32-6D1317A9772E}"/>
          </ac:spMkLst>
        </pc:spChg>
        <pc:spChg chg="mod">
          <ac:chgData name="Muchahary, Frankle" userId="0f2bf491-0617-4378-90b8-89af8fa381b9" providerId="ADAL" clId="{90877F19-00D2-4A00-8128-E78E36266C9A}" dt="2023-11-04T04:32:49.748" v="45021"/>
          <ac:spMkLst>
            <pc:docMk/>
            <pc:sldMk cId="4238553409" sldId="329"/>
            <ac:spMk id="105" creationId="{FE1FD7CA-7B7C-BC6D-A8F3-4A864509DB58}"/>
          </ac:spMkLst>
        </pc:spChg>
        <pc:grpChg chg="add mod">
          <ac:chgData name="Muchahary, Frankle" userId="0f2bf491-0617-4378-90b8-89af8fa381b9" providerId="ADAL" clId="{90877F19-00D2-4A00-8128-E78E36266C9A}" dt="2023-11-04T04:32:38.315" v="45018" actId="14100"/>
          <ac:grpSpMkLst>
            <pc:docMk/>
            <pc:sldMk cId="4238553409" sldId="329"/>
            <ac:grpSpMk id="7" creationId="{A443CDBF-CC29-43C1-93BB-6B292A616FB6}"/>
          </ac:grpSpMkLst>
        </pc:grpChg>
        <pc:grpChg chg="add del mod">
          <ac:chgData name="Muchahary, Frankle" userId="0f2bf491-0617-4378-90b8-89af8fa381b9" providerId="ADAL" clId="{90877F19-00D2-4A00-8128-E78E36266C9A}" dt="2023-11-04T04:32:44.444" v="45019" actId="478"/>
          <ac:grpSpMkLst>
            <pc:docMk/>
            <pc:sldMk cId="4238553409" sldId="329"/>
            <ac:grpSpMk id="8" creationId="{53321B04-ED46-68F9-F705-3E7EEA6E7A9D}"/>
          </ac:grpSpMkLst>
        </pc:grpChg>
        <pc:grpChg chg="mod">
          <ac:chgData name="Muchahary, Frankle" userId="0f2bf491-0617-4378-90b8-89af8fa381b9" providerId="ADAL" clId="{90877F19-00D2-4A00-8128-E78E36266C9A}" dt="2023-11-04T04:28:35.902" v="44968"/>
          <ac:grpSpMkLst>
            <pc:docMk/>
            <pc:sldMk cId="4238553409" sldId="329"/>
            <ac:grpSpMk id="14" creationId="{A67B9EF0-B188-0118-C216-C23E80602192}"/>
          </ac:grpSpMkLst>
        </pc:grpChg>
        <pc:grpChg chg="add del mod">
          <ac:chgData name="Muchahary, Frankle" userId="0f2bf491-0617-4378-90b8-89af8fa381b9" providerId="ADAL" clId="{90877F19-00D2-4A00-8128-E78E36266C9A}" dt="2023-11-04T04:32:44.444" v="45019" actId="478"/>
          <ac:grpSpMkLst>
            <pc:docMk/>
            <pc:sldMk cId="4238553409" sldId="329"/>
            <ac:grpSpMk id="21" creationId="{032A0EC4-374B-0D2A-BDC8-408DE56668DE}"/>
          </ac:grpSpMkLst>
        </pc:grpChg>
        <pc:grpChg chg="mod">
          <ac:chgData name="Muchahary, Frankle" userId="0f2bf491-0617-4378-90b8-89af8fa381b9" providerId="ADAL" clId="{90877F19-00D2-4A00-8128-E78E36266C9A}" dt="2023-11-04T04:28:42.242" v="44970"/>
          <ac:grpSpMkLst>
            <pc:docMk/>
            <pc:sldMk cId="4238553409" sldId="329"/>
            <ac:grpSpMk id="26" creationId="{BF0F6CD4-2348-65F1-0EF9-07F4F5AB7422}"/>
          </ac:grpSpMkLst>
        </pc:grpChg>
        <pc:grpChg chg="del">
          <ac:chgData name="Muchahary, Frankle" userId="0f2bf491-0617-4378-90b8-89af8fa381b9" providerId="ADAL" clId="{90877F19-00D2-4A00-8128-E78E36266C9A}" dt="2023-11-04T04:20:44.456" v="44915" actId="478"/>
          <ac:grpSpMkLst>
            <pc:docMk/>
            <pc:sldMk cId="4238553409" sldId="329"/>
            <ac:grpSpMk id="29" creationId="{43734709-DAB1-E3F2-7EA1-19170CC3CE70}"/>
          </ac:grpSpMkLst>
        </pc:grpChg>
        <pc:grpChg chg="add del mod">
          <ac:chgData name="Muchahary, Frankle" userId="0f2bf491-0617-4378-90b8-89af8fa381b9" providerId="ADAL" clId="{90877F19-00D2-4A00-8128-E78E36266C9A}" dt="2023-11-04T04:29:26.433" v="44984" actId="478"/>
          <ac:grpSpMkLst>
            <pc:docMk/>
            <pc:sldMk cId="4238553409" sldId="329"/>
            <ac:grpSpMk id="33" creationId="{9FBCE2C0-7338-8936-9F0F-B1B8CC6E9487}"/>
          </ac:grpSpMkLst>
        </pc:grpChg>
        <pc:grpChg chg="del">
          <ac:chgData name="Muchahary, Frankle" userId="0f2bf491-0617-4378-90b8-89af8fa381b9" providerId="ADAL" clId="{90877F19-00D2-4A00-8128-E78E36266C9A}" dt="2023-11-04T04:20:45.757" v="44916" actId="478"/>
          <ac:grpSpMkLst>
            <pc:docMk/>
            <pc:sldMk cId="4238553409" sldId="329"/>
            <ac:grpSpMk id="43" creationId="{AD4E3F29-18F6-A616-467A-B2F84727180F}"/>
          </ac:grpSpMkLst>
        </pc:grpChg>
        <pc:grpChg chg="del mod">
          <ac:chgData name="Muchahary, Frankle" userId="0f2bf491-0617-4378-90b8-89af8fa381b9" providerId="ADAL" clId="{90877F19-00D2-4A00-8128-E78E36266C9A}" dt="2023-11-04T04:24:17.498" v="44935" actId="165"/>
          <ac:grpSpMkLst>
            <pc:docMk/>
            <pc:sldMk cId="4238553409" sldId="329"/>
            <ac:grpSpMk id="44" creationId="{99FAF0C9-46EE-D31E-B4DD-67B825197226}"/>
          </ac:grpSpMkLst>
        </pc:grpChg>
        <pc:grpChg chg="add del mod topLvl">
          <ac:chgData name="Muchahary, Frankle" userId="0f2bf491-0617-4378-90b8-89af8fa381b9" providerId="ADAL" clId="{90877F19-00D2-4A00-8128-E78E36266C9A}" dt="2023-11-04T04:32:30.737" v="45013" actId="478"/>
          <ac:grpSpMkLst>
            <pc:docMk/>
            <pc:sldMk cId="4238553409" sldId="329"/>
            <ac:grpSpMk id="47" creationId="{2EDC0BFD-6517-A6F6-0515-158E10E42893}"/>
          </ac:grpSpMkLst>
        </pc:grpChg>
        <pc:grpChg chg="del">
          <ac:chgData name="Muchahary, Frankle" userId="0f2bf491-0617-4378-90b8-89af8fa381b9" providerId="ADAL" clId="{90877F19-00D2-4A00-8128-E78E36266C9A}" dt="2023-11-04T04:20:54.807" v="44918" actId="478"/>
          <ac:grpSpMkLst>
            <pc:docMk/>
            <pc:sldMk cId="4238553409" sldId="329"/>
            <ac:grpSpMk id="52" creationId="{24CCB1F3-F43F-072C-E53B-F025A9FC4590}"/>
          </ac:grpSpMkLst>
        </pc:grpChg>
        <pc:grpChg chg="mod">
          <ac:chgData name="Muchahary, Frankle" userId="0f2bf491-0617-4378-90b8-89af8fa381b9" providerId="ADAL" clId="{90877F19-00D2-4A00-8128-E78E36266C9A}" dt="2023-11-04T04:29:04.250" v="44978" actId="571"/>
          <ac:grpSpMkLst>
            <pc:docMk/>
            <pc:sldMk cId="4238553409" sldId="329"/>
            <ac:grpSpMk id="57" creationId="{4BBE200E-06D6-E8FA-CD5E-AFADA15E51B2}"/>
          </ac:grpSpMkLst>
        </pc:grpChg>
        <pc:grpChg chg="add del mod">
          <ac:chgData name="Muchahary, Frankle" userId="0f2bf491-0617-4378-90b8-89af8fa381b9" providerId="ADAL" clId="{90877F19-00D2-4A00-8128-E78E36266C9A}" dt="2023-11-04T04:29:26.433" v="44984" actId="478"/>
          <ac:grpSpMkLst>
            <pc:docMk/>
            <pc:sldMk cId="4238553409" sldId="329"/>
            <ac:grpSpMk id="69" creationId="{41599D16-AFC9-AC7D-7A09-E2C9991DFD87}"/>
          </ac:grpSpMkLst>
        </pc:grpChg>
        <pc:grpChg chg="mod">
          <ac:chgData name="Muchahary, Frankle" userId="0f2bf491-0617-4378-90b8-89af8fa381b9" providerId="ADAL" clId="{90877F19-00D2-4A00-8128-E78E36266C9A}" dt="2023-11-04T04:29:04.250" v="44978" actId="571"/>
          <ac:grpSpMkLst>
            <pc:docMk/>
            <pc:sldMk cId="4238553409" sldId="329"/>
            <ac:grpSpMk id="72" creationId="{80583D50-CC68-F317-A844-F2C4DCC433EE}"/>
          </ac:grpSpMkLst>
        </pc:grpChg>
        <pc:grpChg chg="add del mod">
          <ac:chgData name="Muchahary, Frankle" userId="0f2bf491-0617-4378-90b8-89af8fa381b9" providerId="ADAL" clId="{90877F19-00D2-4A00-8128-E78E36266C9A}" dt="2023-11-04T04:29:26.433" v="44984" actId="478"/>
          <ac:grpSpMkLst>
            <pc:docMk/>
            <pc:sldMk cId="4238553409" sldId="329"/>
            <ac:grpSpMk id="78" creationId="{8A528098-0BD2-A61E-D7D5-2C91EE077573}"/>
          </ac:grpSpMkLst>
        </pc:grpChg>
        <pc:grpChg chg="mod">
          <ac:chgData name="Muchahary, Frankle" userId="0f2bf491-0617-4378-90b8-89af8fa381b9" providerId="ADAL" clId="{90877F19-00D2-4A00-8128-E78E36266C9A}" dt="2023-11-04T04:29:04.250" v="44978" actId="571"/>
          <ac:grpSpMkLst>
            <pc:docMk/>
            <pc:sldMk cId="4238553409" sldId="329"/>
            <ac:grpSpMk id="81" creationId="{4C5DA619-35D2-CA4F-0DB0-E39DCA212476}"/>
          </ac:grpSpMkLst>
        </pc:grpChg>
        <pc:grpChg chg="add mod">
          <ac:chgData name="Muchahary, Frankle" userId="0f2bf491-0617-4378-90b8-89af8fa381b9" providerId="ADAL" clId="{90877F19-00D2-4A00-8128-E78E36266C9A}" dt="2023-11-04T04:32:59.377" v="45024" actId="408"/>
          <ac:grpSpMkLst>
            <pc:docMk/>
            <pc:sldMk cId="4238553409" sldId="329"/>
            <ac:grpSpMk id="88" creationId="{4CB7A62B-6C2C-7395-67F0-1AC1B7E95DA9}"/>
          </ac:grpSpMkLst>
        </pc:grpChg>
        <pc:grpChg chg="mod">
          <ac:chgData name="Muchahary, Frankle" userId="0f2bf491-0617-4378-90b8-89af8fa381b9" providerId="ADAL" clId="{90877F19-00D2-4A00-8128-E78E36266C9A}" dt="2023-11-04T04:32:48.120" v="45020"/>
          <ac:grpSpMkLst>
            <pc:docMk/>
            <pc:sldMk cId="4238553409" sldId="329"/>
            <ac:grpSpMk id="91" creationId="{1E70B8A3-0C1D-5669-18AD-545ED33A49C9}"/>
          </ac:grpSpMkLst>
        </pc:grpChg>
        <pc:grpChg chg="add mod">
          <ac:chgData name="Muchahary, Frankle" userId="0f2bf491-0617-4378-90b8-89af8fa381b9" providerId="ADAL" clId="{90877F19-00D2-4A00-8128-E78E36266C9A}" dt="2023-11-04T04:32:52.655" v="45022" actId="1076"/>
          <ac:grpSpMkLst>
            <pc:docMk/>
            <pc:sldMk cId="4238553409" sldId="329"/>
            <ac:grpSpMk id="97" creationId="{033A2580-E6E5-AE55-70CE-805E61A1C485}"/>
          </ac:grpSpMkLst>
        </pc:grpChg>
        <pc:grpChg chg="mod">
          <ac:chgData name="Muchahary, Frankle" userId="0f2bf491-0617-4378-90b8-89af8fa381b9" providerId="ADAL" clId="{90877F19-00D2-4A00-8128-E78E36266C9A}" dt="2023-11-04T04:32:49.748" v="45021"/>
          <ac:grpSpMkLst>
            <pc:docMk/>
            <pc:sldMk cId="4238553409" sldId="329"/>
            <ac:grpSpMk id="100" creationId="{FB0C1F62-E316-0637-7273-31DADF76C5B4}"/>
          </ac:grpSpMkLst>
        </pc:grpChg>
      </pc:sldChg>
      <pc:sldChg chg="add del">
        <pc:chgData name="Muchahary, Frankle" userId="0f2bf491-0617-4378-90b8-89af8fa381b9" providerId="ADAL" clId="{90877F19-00D2-4A00-8128-E78E36266C9A}" dt="2023-11-08T05:49:51.668" v="163077" actId="47"/>
        <pc:sldMkLst>
          <pc:docMk/>
          <pc:sldMk cId="1164967634" sldId="330"/>
        </pc:sldMkLst>
      </pc:sldChg>
      <pc:sldChg chg="del">
        <pc:chgData name="Muchahary, Frankle" userId="0f2bf491-0617-4378-90b8-89af8fa381b9" providerId="ADAL" clId="{90877F19-00D2-4A00-8128-E78E36266C9A}" dt="2023-11-08T05:52:09.778" v="163149" actId="47"/>
        <pc:sldMkLst>
          <pc:docMk/>
          <pc:sldMk cId="2063091316" sldId="334"/>
        </pc:sldMkLst>
      </pc:sldChg>
      <pc:sldChg chg="addSp delSp modSp mod">
        <pc:chgData name="Muchahary, Frankle" userId="0f2bf491-0617-4378-90b8-89af8fa381b9" providerId="ADAL" clId="{90877F19-00D2-4A00-8128-E78E36266C9A}" dt="2023-11-08T06:22:05.097" v="165489" actId="14100"/>
        <pc:sldMkLst>
          <pc:docMk/>
          <pc:sldMk cId="1570625822" sldId="335"/>
        </pc:sldMkLst>
        <pc:spChg chg="add mod replST">
          <ac:chgData name="Muchahary, Frankle" userId="0f2bf491-0617-4378-90b8-89af8fa381b9" providerId="ADAL" clId="{90877F19-00D2-4A00-8128-E78E36266C9A}" dt="2023-11-06T06:06:26.421" v="153591"/>
          <ac:spMkLst>
            <pc:docMk/>
            <pc:sldMk cId="1570625822" sldId="335"/>
            <ac:spMk id="2" creationId="{4E943836-F471-BE8F-DE7D-65E3BADAEE78}"/>
          </ac:spMkLst>
        </pc:spChg>
        <pc:spChg chg="add del mod modVis">
          <ac:chgData name="Muchahary, Frankle" userId="0f2bf491-0617-4378-90b8-89af8fa381b9" providerId="ADAL" clId="{90877F19-00D2-4A00-8128-E78E36266C9A}" dt="2023-11-05T03:47:15.612" v="145313"/>
          <ac:spMkLst>
            <pc:docMk/>
            <pc:sldMk cId="1570625822" sldId="335"/>
            <ac:spMk id="2" creationId="{69EC2927-627F-0A4A-93D4-431E26F4A01B}"/>
          </ac:spMkLst>
        </pc:spChg>
        <pc:spChg chg="mod ord">
          <ac:chgData name="Muchahary, Frankle" userId="0f2bf491-0617-4378-90b8-89af8fa381b9" providerId="ADAL" clId="{90877F19-00D2-4A00-8128-E78E36266C9A}" dt="2023-11-08T06:21:56.909" v="165480"/>
          <ac:spMkLst>
            <pc:docMk/>
            <pc:sldMk cId="1570625822" sldId="335"/>
            <ac:spMk id="2" creationId="{8F60EAC7-45EA-0A63-6BC1-79F9215E848F}"/>
          </ac:spMkLst>
        </pc:spChg>
        <pc:spChg chg="mod ord">
          <ac:chgData name="Muchahary, Frankle" userId="0f2bf491-0617-4378-90b8-89af8fa381b9" providerId="ADAL" clId="{90877F19-00D2-4A00-8128-E78E36266C9A}" dt="2023-11-08T06:21:56.911" v="165482"/>
          <ac:spMkLst>
            <pc:docMk/>
            <pc:sldMk cId="1570625822" sldId="335"/>
            <ac:spMk id="3" creationId="{9CB6B254-3C20-72F4-7F24-4E4280270E3D}"/>
          </ac:spMkLst>
        </pc:spChg>
        <pc:spChg chg="add del mod modVis">
          <ac:chgData name="Muchahary, Frankle" userId="0f2bf491-0617-4378-90b8-89af8fa381b9" providerId="ADAL" clId="{90877F19-00D2-4A00-8128-E78E36266C9A}" dt="2023-11-08T06:21:54.465" v="165390"/>
          <ac:spMkLst>
            <pc:docMk/>
            <pc:sldMk cId="1570625822" sldId="335"/>
            <ac:spMk id="4" creationId="{319F65C4-CBA7-58FA-1DE9-548B7DF3CDD6}"/>
          </ac:spMkLst>
        </pc:spChg>
        <pc:spChg chg="add del mod modVis">
          <ac:chgData name="Muchahary, Frankle" userId="0f2bf491-0617-4378-90b8-89af8fa381b9" providerId="ADAL" clId="{90877F19-00D2-4A00-8128-E78E36266C9A}" dt="2023-11-06T06:06:26.427" v="153603"/>
          <ac:spMkLst>
            <pc:docMk/>
            <pc:sldMk cId="1570625822" sldId="335"/>
            <ac:spMk id="4" creationId="{BA0BB9A3-1E5C-4C85-1C2C-B9D55E387816}"/>
          </ac:spMkLst>
        </pc:spChg>
        <pc:spChg chg="add del mod modVis">
          <ac:chgData name="Muchahary, Frankle" userId="0f2bf491-0617-4378-90b8-89af8fa381b9" providerId="ADAL" clId="{90877F19-00D2-4A00-8128-E78E36266C9A}" dt="2023-11-08T06:21:56.913" v="165486"/>
          <ac:spMkLst>
            <pc:docMk/>
            <pc:sldMk cId="1570625822" sldId="335"/>
            <ac:spMk id="6" creationId="{5EE8BC6A-EA3E-CAAC-2590-F956260A8CA2}"/>
          </ac:spMkLst>
        </pc:spChg>
        <pc:spChg chg="mod">
          <ac:chgData name="Muchahary, Frankle" userId="0f2bf491-0617-4378-90b8-89af8fa381b9" providerId="ADAL" clId="{90877F19-00D2-4A00-8128-E78E36266C9A}" dt="2023-11-08T06:21:56.905" v="165465"/>
          <ac:spMkLst>
            <pc:docMk/>
            <pc:sldMk cId="1570625822" sldId="335"/>
            <ac:spMk id="7" creationId="{3FEF8032-641B-6AA4-05BA-1F9A7B7D65AB}"/>
          </ac:spMkLst>
        </pc:spChg>
        <pc:spChg chg="mod">
          <ac:chgData name="Muchahary, Frankle" userId="0f2bf491-0617-4378-90b8-89af8fa381b9" providerId="ADAL" clId="{90877F19-00D2-4A00-8128-E78E36266C9A}" dt="2023-11-08T06:21:56.906" v="165466"/>
          <ac:spMkLst>
            <pc:docMk/>
            <pc:sldMk cId="1570625822" sldId="335"/>
            <ac:spMk id="10" creationId="{5ADF48B4-7B17-1722-2DBA-014951488CB7}"/>
          </ac:spMkLst>
        </pc:spChg>
        <pc:spChg chg="mod">
          <ac:chgData name="Muchahary, Frankle" userId="0f2bf491-0617-4378-90b8-89af8fa381b9" providerId="ADAL" clId="{90877F19-00D2-4A00-8128-E78E36266C9A}" dt="2023-11-08T06:21:56.906" v="165467"/>
          <ac:spMkLst>
            <pc:docMk/>
            <pc:sldMk cId="1570625822" sldId="335"/>
            <ac:spMk id="11" creationId="{4DD7CF36-076E-B67F-9FE1-C146FC1F0660}"/>
          </ac:spMkLst>
        </pc:spChg>
        <pc:spChg chg="mod">
          <ac:chgData name="Muchahary, Frankle" userId="0f2bf491-0617-4378-90b8-89af8fa381b9" providerId="ADAL" clId="{90877F19-00D2-4A00-8128-E78E36266C9A}" dt="2023-11-08T06:21:56.906" v="165468"/>
          <ac:spMkLst>
            <pc:docMk/>
            <pc:sldMk cId="1570625822" sldId="335"/>
            <ac:spMk id="12" creationId="{71582AD2-6806-8505-98DA-3F64480FFBCC}"/>
          </ac:spMkLst>
        </pc:spChg>
        <pc:spChg chg="mod">
          <ac:chgData name="Muchahary, Frankle" userId="0f2bf491-0617-4378-90b8-89af8fa381b9" providerId="ADAL" clId="{90877F19-00D2-4A00-8128-E78E36266C9A}" dt="2023-11-08T06:21:56.907" v="165469"/>
          <ac:spMkLst>
            <pc:docMk/>
            <pc:sldMk cId="1570625822" sldId="335"/>
            <ac:spMk id="13" creationId="{5707AC4B-2840-9B11-4404-BA2AEEF685F9}"/>
          </ac:spMkLst>
        </pc:spChg>
        <pc:spChg chg="add del mod replST">
          <ac:chgData name="Muchahary, Frankle" userId="0f2bf491-0617-4378-90b8-89af8fa381b9" providerId="ADAL" clId="{90877F19-00D2-4A00-8128-E78E36266C9A}" dt="2023-11-06T06:15:58.763" v="154660"/>
          <ac:spMkLst>
            <pc:docMk/>
            <pc:sldMk cId="1570625822" sldId="335"/>
            <ac:spMk id="26" creationId="{487B98A3-7C86-33AA-B73C-A54358BD00B9}"/>
          </ac:spMkLst>
        </pc:spChg>
        <pc:spChg chg="add del mod modVis">
          <ac:chgData name="Muchahary, Frankle" userId="0f2bf491-0617-4378-90b8-89af8fa381b9" providerId="ADAL" clId="{90877F19-00D2-4A00-8128-E78E36266C9A}" dt="2023-11-06T06:06:57.087" v="153833"/>
          <ac:spMkLst>
            <pc:docMk/>
            <pc:sldMk cId="1570625822" sldId="335"/>
            <ac:spMk id="27" creationId="{87A333E6-EBB6-AF51-DD6B-0D65CF9321E8}"/>
          </ac:spMkLst>
        </pc:spChg>
        <pc:spChg chg="add del mod modVis">
          <ac:chgData name="Muchahary, Frankle" userId="0f2bf491-0617-4378-90b8-89af8fa381b9" providerId="ADAL" clId="{90877F19-00D2-4A00-8128-E78E36266C9A}" dt="2023-11-06T06:07:51.654" v="153991"/>
          <ac:spMkLst>
            <pc:docMk/>
            <pc:sldMk cId="1570625822" sldId="335"/>
            <ac:spMk id="29" creationId="{AC4833D4-917D-5C54-00EA-1271B7C4B7F6}"/>
          </ac:spMkLst>
        </pc:spChg>
        <pc:spChg chg="add del mod modVis">
          <ac:chgData name="Muchahary, Frankle" userId="0f2bf491-0617-4378-90b8-89af8fa381b9" providerId="ADAL" clId="{90877F19-00D2-4A00-8128-E78E36266C9A}" dt="2023-11-06T06:08:11.683" v="154196"/>
          <ac:spMkLst>
            <pc:docMk/>
            <pc:sldMk cId="1570625822" sldId="335"/>
            <ac:spMk id="31" creationId="{A56DFBD7-A60D-0AC5-819B-2D9BA0E539F7}"/>
          </ac:spMkLst>
        </pc:spChg>
        <pc:spChg chg="add del mod modVis">
          <ac:chgData name="Muchahary, Frankle" userId="0f2bf491-0617-4378-90b8-89af8fa381b9" providerId="ADAL" clId="{90877F19-00D2-4A00-8128-E78E36266C9A}" dt="2023-11-06T06:09:08.980" v="154318"/>
          <ac:spMkLst>
            <pc:docMk/>
            <pc:sldMk cId="1570625822" sldId="335"/>
            <ac:spMk id="33" creationId="{F4083A63-A98C-003B-A82F-38EA3B75F04E}"/>
          </ac:spMkLst>
        </pc:spChg>
        <pc:spChg chg="mod ord">
          <ac:chgData name="Muchahary, Frankle" userId="0f2bf491-0617-4378-90b8-89af8fa381b9" providerId="ADAL" clId="{90877F19-00D2-4A00-8128-E78E36266C9A}" dt="2023-11-06T06:15:59.062" v="154876"/>
          <ac:spMkLst>
            <pc:docMk/>
            <pc:sldMk cId="1570625822" sldId="335"/>
            <ac:spMk id="36" creationId="{34537601-33BE-98FF-D84C-C20FCF62B280}"/>
          </ac:spMkLst>
        </pc:spChg>
        <pc:spChg chg="add del mod modVis">
          <ac:chgData name="Muchahary, Frankle" userId="0f2bf491-0617-4378-90b8-89af8fa381b9" providerId="ADAL" clId="{90877F19-00D2-4A00-8128-E78E36266C9A}" dt="2023-11-06T06:09:50.006" v="154431"/>
          <ac:spMkLst>
            <pc:docMk/>
            <pc:sldMk cId="1570625822" sldId="335"/>
            <ac:spMk id="36" creationId="{70D1C24E-4B76-61E8-B746-B826B24C8A36}"/>
          </ac:spMkLst>
        </pc:spChg>
        <pc:spChg chg="add del mod modVis">
          <ac:chgData name="Muchahary, Frankle" userId="0f2bf491-0617-4378-90b8-89af8fa381b9" providerId="ADAL" clId="{90877F19-00D2-4A00-8128-E78E36266C9A}" dt="2023-11-06T06:10:05.486" v="154657"/>
          <ac:spMkLst>
            <pc:docMk/>
            <pc:sldMk cId="1570625822" sldId="335"/>
            <ac:spMk id="38" creationId="{C2BDCB21-F98E-099A-8CBE-34BAA9F29867}"/>
          </ac:spMkLst>
        </pc:spChg>
        <pc:spChg chg="add del mod replST delST">
          <ac:chgData name="Muchahary, Frankle" userId="0f2bf491-0617-4378-90b8-89af8fa381b9" providerId="ADAL" clId="{90877F19-00D2-4A00-8128-E78E36266C9A}" dt="2023-11-06T06:10:05.486" v="154657"/>
          <ac:spMkLst>
            <pc:docMk/>
            <pc:sldMk cId="1570625822" sldId="335"/>
            <ac:spMk id="39" creationId="{D0398833-ED23-6C65-9B93-3CE1CDFF11B6}"/>
          </ac:spMkLst>
        </pc:spChg>
        <pc:spChg chg="add del mod replST delST">
          <ac:chgData name="Muchahary, Frankle" userId="0f2bf491-0617-4378-90b8-89af8fa381b9" providerId="ADAL" clId="{90877F19-00D2-4A00-8128-E78E36266C9A}" dt="2023-11-06T06:10:05.486" v="154657"/>
          <ac:spMkLst>
            <pc:docMk/>
            <pc:sldMk cId="1570625822" sldId="335"/>
            <ac:spMk id="40" creationId="{06447B84-69CF-4329-EE93-AFE5B5B29EA4}"/>
          </ac:spMkLst>
        </pc:spChg>
        <pc:spChg chg="add del mod replST delST">
          <ac:chgData name="Muchahary, Frankle" userId="0f2bf491-0617-4378-90b8-89af8fa381b9" providerId="ADAL" clId="{90877F19-00D2-4A00-8128-E78E36266C9A}" dt="2023-11-06T06:10:05.486" v="154657"/>
          <ac:spMkLst>
            <pc:docMk/>
            <pc:sldMk cId="1570625822" sldId="335"/>
            <ac:spMk id="41" creationId="{2F2A6A62-A149-0274-2C4D-299858E7E9B4}"/>
          </ac:spMkLst>
        </pc:spChg>
        <pc:spChg chg="add del mod modVis">
          <ac:chgData name="Muchahary, Frankle" userId="0f2bf491-0617-4378-90b8-89af8fa381b9" providerId="ADAL" clId="{90877F19-00D2-4A00-8128-E78E36266C9A}" dt="2023-11-06T06:15:59.063" v="154880"/>
          <ac:spMkLst>
            <pc:docMk/>
            <pc:sldMk cId="1570625822" sldId="335"/>
            <ac:spMk id="44" creationId="{5451206E-9AB8-E08B-8CA4-271F65FF4556}"/>
          </ac:spMkLst>
        </pc:spChg>
        <pc:spChg chg="mod ord">
          <ac:chgData name="Muchahary, Frankle" userId="0f2bf491-0617-4378-90b8-89af8fa381b9" providerId="ADAL" clId="{90877F19-00D2-4A00-8128-E78E36266C9A}" dt="2023-11-06T06:15:59.054" v="154855"/>
          <ac:spMkLst>
            <pc:docMk/>
            <pc:sldMk cId="1570625822" sldId="335"/>
            <ac:spMk id="228" creationId="{D2D10EBA-82D0-AF9D-12E9-3F8D82B8B2F4}"/>
          </ac:spMkLst>
        </pc:spChg>
        <pc:spChg chg="mod">
          <ac:chgData name="Muchahary, Frankle" userId="0f2bf491-0617-4378-90b8-89af8fa381b9" providerId="ADAL" clId="{90877F19-00D2-4A00-8128-E78E36266C9A}" dt="2023-11-06T06:10:02.679" v="154548"/>
          <ac:spMkLst>
            <pc:docMk/>
            <pc:sldMk cId="1570625822" sldId="335"/>
            <ac:spMk id="427" creationId="{7BFDEE32-8C52-0289-9CC7-FB926ECCEF82}"/>
          </ac:spMkLst>
        </pc:spChg>
        <pc:spChg chg="mod">
          <ac:chgData name="Muchahary, Frankle" userId="0f2bf491-0617-4378-90b8-89af8fa381b9" providerId="ADAL" clId="{90877F19-00D2-4A00-8128-E78E36266C9A}" dt="2023-11-06T06:10:02.679" v="154549"/>
          <ac:spMkLst>
            <pc:docMk/>
            <pc:sldMk cId="1570625822" sldId="335"/>
            <ac:spMk id="429" creationId="{22F28D1B-4819-B653-92DE-3EAABAF307A5}"/>
          </ac:spMkLst>
        </pc:spChg>
        <pc:spChg chg="mod">
          <ac:chgData name="Muchahary, Frankle" userId="0f2bf491-0617-4378-90b8-89af8fa381b9" providerId="ADAL" clId="{90877F19-00D2-4A00-8128-E78E36266C9A}" dt="2023-11-06T06:10:02.680" v="154550"/>
          <ac:spMkLst>
            <pc:docMk/>
            <pc:sldMk cId="1570625822" sldId="335"/>
            <ac:spMk id="431" creationId="{CFA55E5F-AE5F-9101-1547-6D1241DF4CFD}"/>
          </ac:spMkLst>
        </pc:spChg>
        <pc:spChg chg="mod">
          <ac:chgData name="Muchahary, Frankle" userId="0f2bf491-0617-4378-90b8-89af8fa381b9" providerId="ADAL" clId="{90877F19-00D2-4A00-8128-E78E36266C9A}" dt="2023-11-06T06:10:02.680" v="154551"/>
          <ac:spMkLst>
            <pc:docMk/>
            <pc:sldMk cId="1570625822" sldId="335"/>
            <ac:spMk id="433" creationId="{74701A53-0B30-D1DE-9DF0-F01E89C32EC6}"/>
          </ac:spMkLst>
        </pc:spChg>
        <pc:spChg chg="mod">
          <ac:chgData name="Muchahary, Frankle" userId="0f2bf491-0617-4378-90b8-89af8fa381b9" providerId="ADAL" clId="{90877F19-00D2-4A00-8128-E78E36266C9A}" dt="2023-11-06T06:10:02.680" v="154552"/>
          <ac:spMkLst>
            <pc:docMk/>
            <pc:sldMk cId="1570625822" sldId="335"/>
            <ac:spMk id="435" creationId="{00F403F1-025F-381B-1E07-60E992B3AE7A}"/>
          </ac:spMkLst>
        </pc:spChg>
        <pc:spChg chg="mod">
          <ac:chgData name="Muchahary, Frankle" userId="0f2bf491-0617-4378-90b8-89af8fa381b9" providerId="ADAL" clId="{90877F19-00D2-4A00-8128-E78E36266C9A}" dt="2023-11-06T06:10:02.681" v="154553"/>
          <ac:spMkLst>
            <pc:docMk/>
            <pc:sldMk cId="1570625822" sldId="335"/>
            <ac:spMk id="437" creationId="{42ECBA36-EA98-AC48-1A9B-3B643C6FA772}"/>
          </ac:spMkLst>
        </pc:spChg>
        <pc:spChg chg="mod">
          <ac:chgData name="Muchahary, Frankle" userId="0f2bf491-0617-4378-90b8-89af8fa381b9" providerId="ADAL" clId="{90877F19-00D2-4A00-8128-E78E36266C9A}" dt="2023-11-06T06:10:02.682" v="154554"/>
          <ac:spMkLst>
            <pc:docMk/>
            <pc:sldMk cId="1570625822" sldId="335"/>
            <ac:spMk id="439" creationId="{BE0385EB-9429-07F5-253E-75BDA49B71D8}"/>
          </ac:spMkLst>
        </pc:spChg>
        <pc:spChg chg="mod">
          <ac:chgData name="Muchahary, Frankle" userId="0f2bf491-0617-4378-90b8-89af8fa381b9" providerId="ADAL" clId="{90877F19-00D2-4A00-8128-E78E36266C9A}" dt="2023-11-06T06:10:02.682" v="154555"/>
          <ac:spMkLst>
            <pc:docMk/>
            <pc:sldMk cId="1570625822" sldId="335"/>
            <ac:spMk id="441" creationId="{5CD92C54-AAC9-2D02-C186-B8F240359257}"/>
          </ac:spMkLst>
        </pc:spChg>
        <pc:spChg chg="mod">
          <ac:chgData name="Muchahary, Frankle" userId="0f2bf491-0617-4378-90b8-89af8fa381b9" providerId="ADAL" clId="{90877F19-00D2-4A00-8128-E78E36266C9A}" dt="2023-11-06T06:10:02.683" v="154556"/>
          <ac:spMkLst>
            <pc:docMk/>
            <pc:sldMk cId="1570625822" sldId="335"/>
            <ac:spMk id="443" creationId="{C2F61A08-A967-23D4-A372-5179C9C0CE30}"/>
          </ac:spMkLst>
        </pc:spChg>
        <pc:spChg chg="mod">
          <ac:chgData name="Muchahary, Frankle" userId="0f2bf491-0617-4378-90b8-89af8fa381b9" providerId="ADAL" clId="{90877F19-00D2-4A00-8128-E78E36266C9A}" dt="2023-11-08T06:21:56.905" v="165464"/>
          <ac:spMkLst>
            <pc:docMk/>
            <pc:sldMk cId="1570625822" sldId="335"/>
            <ac:spMk id="458" creationId="{FD676020-CB63-9CC9-DDB8-66636BB0F354}"/>
          </ac:spMkLst>
        </pc:spChg>
        <pc:spChg chg="mod">
          <ac:chgData name="Muchahary, Frankle" userId="0f2bf491-0617-4378-90b8-89af8fa381b9" providerId="ADAL" clId="{90877F19-00D2-4A00-8128-E78E36266C9A}" dt="2023-11-06T06:10:02.688" v="154565"/>
          <ac:spMkLst>
            <pc:docMk/>
            <pc:sldMk cId="1570625822" sldId="335"/>
            <ac:spMk id="459" creationId="{0CC62E1F-5F00-1C60-C502-A75B666B9489}"/>
          </ac:spMkLst>
        </pc:spChg>
        <pc:spChg chg="mod">
          <ac:chgData name="Muchahary, Frankle" userId="0f2bf491-0617-4378-90b8-89af8fa381b9" providerId="ADAL" clId="{90877F19-00D2-4A00-8128-E78E36266C9A}" dt="2023-11-06T06:10:02.688" v="154566"/>
          <ac:spMkLst>
            <pc:docMk/>
            <pc:sldMk cId="1570625822" sldId="335"/>
            <ac:spMk id="460" creationId="{271990AD-3A56-72E2-B7E5-DC812B33010D}"/>
          </ac:spMkLst>
        </pc:spChg>
        <pc:spChg chg="mod">
          <ac:chgData name="Muchahary, Frankle" userId="0f2bf491-0617-4378-90b8-89af8fa381b9" providerId="ADAL" clId="{90877F19-00D2-4A00-8128-E78E36266C9A}" dt="2023-11-06T06:10:02.690" v="154567"/>
          <ac:spMkLst>
            <pc:docMk/>
            <pc:sldMk cId="1570625822" sldId="335"/>
            <ac:spMk id="461" creationId="{AAA68E74-3F2D-7BCF-7E37-1A41FC7EDA61}"/>
          </ac:spMkLst>
        </pc:spChg>
        <pc:spChg chg="mod">
          <ac:chgData name="Muchahary, Frankle" userId="0f2bf491-0617-4378-90b8-89af8fa381b9" providerId="ADAL" clId="{90877F19-00D2-4A00-8128-E78E36266C9A}" dt="2023-11-06T06:10:02.690" v="154568"/>
          <ac:spMkLst>
            <pc:docMk/>
            <pc:sldMk cId="1570625822" sldId="335"/>
            <ac:spMk id="462" creationId="{C7FAEE14-2E1F-E14B-5602-562F0878C215}"/>
          </ac:spMkLst>
        </pc:spChg>
        <pc:spChg chg="mod">
          <ac:chgData name="Muchahary, Frankle" userId="0f2bf491-0617-4378-90b8-89af8fa381b9" providerId="ADAL" clId="{90877F19-00D2-4A00-8128-E78E36266C9A}" dt="2023-11-06T06:10:02.691" v="154569"/>
          <ac:spMkLst>
            <pc:docMk/>
            <pc:sldMk cId="1570625822" sldId="335"/>
            <ac:spMk id="463" creationId="{77C45BBA-53D0-D631-0DB2-79652645F0D8}"/>
          </ac:spMkLst>
        </pc:spChg>
        <pc:spChg chg="mod">
          <ac:chgData name="Muchahary, Frankle" userId="0f2bf491-0617-4378-90b8-89af8fa381b9" providerId="ADAL" clId="{90877F19-00D2-4A00-8128-E78E36266C9A}" dt="2023-11-08T06:21:56.907" v="165470"/>
          <ac:spMkLst>
            <pc:docMk/>
            <pc:sldMk cId="1570625822" sldId="335"/>
            <ac:spMk id="465" creationId="{CE51D5D0-4A8B-D11B-4014-A19F215FAB89}"/>
          </ac:spMkLst>
        </pc:spChg>
        <pc:spChg chg="mod">
          <ac:chgData name="Muchahary, Frankle" userId="0f2bf491-0617-4378-90b8-89af8fa381b9" providerId="ADAL" clId="{90877F19-00D2-4A00-8128-E78E36266C9A}" dt="2023-11-08T06:21:56.904" v="165462"/>
          <ac:spMkLst>
            <pc:docMk/>
            <pc:sldMk cId="1570625822" sldId="335"/>
            <ac:spMk id="468" creationId="{EB66E06B-9119-F34A-7804-D336B7548336}"/>
          </ac:spMkLst>
        </pc:spChg>
        <pc:spChg chg="mod">
          <ac:chgData name="Muchahary, Frankle" userId="0f2bf491-0617-4378-90b8-89af8fa381b9" providerId="ADAL" clId="{90877F19-00D2-4A00-8128-E78E36266C9A}" dt="2023-11-08T06:21:56.904" v="165463"/>
          <ac:spMkLst>
            <pc:docMk/>
            <pc:sldMk cId="1570625822" sldId="335"/>
            <ac:spMk id="481" creationId="{B532BAB3-E620-DF3B-8FA9-A6DD9C6D50A3}"/>
          </ac:spMkLst>
        </pc:spChg>
        <pc:spChg chg="mod ord">
          <ac:chgData name="Muchahary, Frankle" userId="0f2bf491-0617-4378-90b8-89af8fa381b9" providerId="ADAL" clId="{90877F19-00D2-4A00-8128-E78E36266C9A}" dt="2023-11-08T06:21:56.907" v="165472"/>
          <ac:spMkLst>
            <pc:docMk/>
            <pc:sldMk cId="1570625822" sldId="335"/>
            <ac:spMk id="540" creationId="{409AD50D-9B18-8B83-0880-75EC741990A9}"/>
          </ac:spMkLst>
        </pc:spChg>
        <pc:spChg chg="mod ord">
          <ac:chgData name="Muchahary, Frankle" userId="0f2bf491-0617-4378-90b8-89af8fa381b9" providerId="ADAL" clId="{90877F19-00D2-4A00-8128-E78E36266C9A}" dt="2023-11-08T06:21:56.908" v="165474"/>
          <ac:spMkLst>
            <pc:docMk/>
            <pc:sldMk cId="1570625822" sldId="335"/>
            <ac:spMk id="548" creationId="{07D937B3-2410-7619-031A-1275472F10A9}"/>
          </ac:spMkLst>
        </pc:spChg>
        <pc:spChg chg="mod ord">
          <ac:chgData name="Muchahary, Frankle" userId="0f2bf491-0617-4378-90b8-89af8fa381b9" providerId="ADAL" clId="{90877F19-00D2-4A00-8128-E78E36266C9A}" dt="2023-11-08T06:21:56.908" v="165476"/>
          <ac:spMkLst>
            <pc:docMk/>
            <pc:sldMk cId="1570625822" sldId="335"/>
            <ac:spMk id="550" creationId="{5F10117A-89ED-EBEA-DE41-D0881BDE74D4}"/>
          </ac:spMkLst>
        </pc:spChg>
        <pc:graphicFrameChg chg="add del mod ord replST">
          <ac:chgData name="Muchahary, Frankle" userId="0f2bf491-0617-4378-90b8-89af8fa381b9" providerId="ADAL" clId="{90877F19-00D2-4A00-8128-E78E36266C9A}" dt="2023-11-06T06:06:57.048" v="153790"/>
          <ac:graphicFrameMkLst>
            <pc:docMk/>
            <pc:sldMk cId="1570625822" sldId="335"/>
            <ac:graphicFrameMk id="3" creationId="{65F14055-DA62-ADBB-57C5-248741BCDCC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06:21:56.874" v="165453"/>
          <ac:graphicFrameMkLst>
            <pc:docMk/>
            <pc:sldMk cId="1570625822" sldId="335"/>
            <ac:graphicFrameMk id="5" creationId="{6A7A79BD-3B44-6BDF-11CA-E81AD7A50649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6T06:06:26.409" v="153570"/>
          <ac:graphicFrameMkLst>
            <pc:docMk/>
            <pc:sldMk cId="1570625822" sldId="335"/>
            <ac:graphicFrameMk id="5" creationId="{E342D872-FECF-F1D2-B592-ED667282021D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06:21:56.904" v="165461"/>
          <ac:graphicFrameMkLst>
            <pc:docMk/>
            <pc:sldMk cId="1570625822" sldId="335"/>
            <ac:graphicFrameMk id="8" creationId="{281770C1-A952-8F1B-9CAA-C80F3118C60D}"/>
          </ac:graphicFrameMkLst>
        </pc:graphicFrameChg>
        <pc:graphicFrameChg chg="mod">
          <ac:chgData name="Muchahary, Frankle" userId="0f2bf491-0617-4378-90b8-89af8fa381b9" providerId="ADAL" clId="{90877F19-00D2-4A00-8128-E78E36266C9A}" dt="2023-11-08T06:21:56.920" v="165488"/>
          <ac:graphicFrameMkLst>
            <pc:docMk/>
            <pc:sldMk cId="1570625822" sldId="335"/>
            <ac:graphicFrameMk id="16" creationId="{B4FC88EE-B108-1D0C-322C-A0E9684DBFB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6:08:11.641" v="154153"/>
          <ac:graphicFrameMkLst>
            <pc:docMk/>
            <pc:sldMk cId="1570625822" sldId="335"/>
            <ac:graphicFrameMk id="28" creationId="{AE87BFCE-29DA-1D42-4CAF-72C82DDF4119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6T06:07:51.654" v="153991"/>
          <ac:graphicFrameMkLst>
            <pc:docMk/>
            <pc:sldMk cId="1570625822" sldId="335"/>
            <ac:graphicFrameMk id="30" creationId="{3372244F-4578-C2CD-372B-97FD586A2A8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6:09:08.908" v="154275"/>
          <ac:graphicFrameMkLst>
            <pc:docMk/>
            <pc:sldMk cId="1570625822" sldId="335"/>
            <ac:graphicFrameMk id="32" creationId="{986FF186-3F87-12F3-2CBA-62D54FC014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6:09:49.966" v="154388"/>
          <ac:graphicFrameMkLst>
            <pc:docMk/>
            <pc:sldMk cId="1570625822" sldId="335"/>
            <ac:graphicFrameMk id="34" creationId="{56A97E68-F414-EC91-D1E2-9117D607F6C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6:10:05.486" v="154657"/>
          <ac:graphicFrameMkLst>
            <pc:docMk/>
            <pc:sldMk cId="1570625822" sldId="335"/>
            <ac:graphicFrameMk id="37" creationId="{603CCE44-6090-AE67-3722-3919BB5B218A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6T06:10:05.486" v="154657"/>
          <ac:graphicFrameMkLst>
            <pc:docMk/>
            <pc:sldMk cId="1570625822" sldId="335"/>
            <ac:graphicFrameMk id="42" creationId="{F6887B09-2D63-2568-5C68-39BA1812AE03}"/>
          </ac:graphicFrameMkLst>
        </pc:graphicFrameChg>
        <pc:graphicFrameChg chg="del">
          <ac:chgData name="Muchahary, Frankle" userId="0f2bf491-0617-4378-90b8-89af8fa381b9" providerId="ADAL" clId="{90877F19-00D2-4A00-8128-E78E36266C9A}" dt="2023-11-06T06:15:59.025" v="154845"/>
          <ac:graphicFrameMkLst>
            <pc:docMk/>
            <pc:sldMk cId="1570625822" sldId="335"/>
            <ac:graphicFrameMk id="43" creationId="{874BE114-66DB-6964-D8AA-5288D69C835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06:21:54.429" v="165355"/>
          <ac:graphicFrameMkLst>
            <pc:docMk/>
            <pc:sldMk cId="1570625822" sldId="335"/>
            <ac:graphicFrameMk id="45" creationId="{9C5A3121-FA35-A69B-96A3-D31BF7A0AF7B}"/>
          </ac:graphicFrameMkLst>
        </pc:graphicFrameChg>
        <pc:graphicFrameChg chg="del">
          <ac:chgData name="Muchahary, Frankle" userId="0f2bf491-0617-4378-90b8-89af8fa381b9" providerId="ADAL" clId="{90877F19-00D2-4A00-8128-E78E36266C9A}" dt="2023-11-05T03:47:15.569" v="145271"/>
          <ac:graphicFrameMkLst>
            <pc:docMk/>
            <pc:sldMk cId="1570625822" sldId="335"/>
            <ac:graphicFrameMk id="562" creationId="{22DDB88C-565A-E51A-E453-E4FA9F40733F}"/>
          </ac:graphicFrameMkLst>
        </pc:graphicFrameChg>
        <pc:cxnChg chg="mod ord">
          <ac:chgData name="Muchahary, Frankle" userId="0f2bf491-0617-4378-90b8-89af8fa381b9" providerId="ADAL" clId="{90877F19-00D2-4A00-8128-E78E36266C9A}" dt="2023-11-06T06:10:05.486" v="154657"/>
          <ac:cxnSpMkLst>
            <pc:docMk/>
            <pc:sldMk cId="1570625822" sldId="335"/>
            <ac:cxnSpMk id="386" creationId="{C2A27570-1008-9B08-F870-EBDF4C52F86A}"/>
          </ac:cxnSpMkLst>
        </pc:cxnChg>
        <pc:cxnChg chg="mod ord">
          <ac:chgData name="Muchahary, Frankle" userId="0f2bf491-0617-4378-90b8-89af8fa381b9" providerId="ADAL" clId="{90877F19-00D2-4A00-8128-E78E36266C9A}" dt="2023-11-08T06:22:05.097" v="165489" actId="14100"/>
          <ac:cxnSpMkLst>
            <pc:docMk/>
            <pc:sldMk cId="1570625822" sldId="335"/>
            <ac:cxnSpMk id="553" creationId="{4146791B-3C85-B375-6ACF-E7640EA588D7}"/>
          </ac:cxnSpMkLst>
        </pc:cxnChg>
      </pc:sldChg>
      <pc:sldChg chg="mod modClrScheme chgLayout">
        <pc:chgData name="Muchahary, Frankle" userId="0f2bf491-0617-4378-90b8-89af8fa381b9" providerId="ADAL" clId="{90877F19-00D2-4A00-8128-E78E36266C9A}" dt="2023-11-08T05:54:07.220" v="163414" actId="700"/>
        <pc:sldMkLst>
          <pc:docMk/>
          <pc:sldMk cId="3821254099" sldId="337"/>
        </pc:sldMkLst>
      </pc:sldChg>
      <pc:sldChg chg="del modNotesTx">
        <pc:chgData name="Muchahary, Frankle" userId="0f2bf491-0617-4378-90b8-89af8fa381b9" providerId="ADAL" clId="{90877F19-00D2-4A00-8128-E78E36266C9A}" dt="2023-11-08T05:51:53.410" v="163147" actId="47"/>
        <pc:sldMkLst>
          <pc:docMk/>
          <pc:sldMk cId="2668455773" sldId="338"/>
        </pc:sldMkLst>
      </pc:sldChg>
      <pc:sldChg chg="addSp modSp mod">
        <pc:chgData name="Muchahary, Frankle" userId="0f2bf491-0617-4378-90b8-89af8fa381b9" providerId="ADAL" clId="{90877F19-00D2-4A00-8128-E78E36266C9A}" dt="2023-11-04T21:36:32.595" v="120294" actId="113"/>
        <pc:sldMkLst>
          <pc:docMk/>
          <pc:sldMk cId="3088697270" sldId="339"/>
        </pc:sldMkLst>
        <pc:spChg chg="add mod">
          <ac:chgData name="Muchahary, Frankle" userId="0f2bf491-0617-4378-90b8-89af8fa381b9" providerId="ADAL" clId="{90877F19-00D2-4A00-8128-E78E36266C9A}" dt="2023-11-04T21:36:32.595" v="120294" actId="113"/>
          <ac:spMkLst>
            <pc:docMk/>
            <pc:sldMk cId="3088697270" sldId="339"/>
            <ac:spMk id="6" creationId="{F48D1125-C0B3-0469-5A3A-C937943BF391}"/>
          </ac:spMkLst>
        </pc:spChg>
      </pc:sldChg>
      <pc:sldChg chg="del mod modClrScheme chgLayout">
        <pc:chgData name="Muchahary, Frankle" userId="0f2bf491-0617-4378-90b8-89af8fa381b9" providerId="ADAL" clId="{90877F19-00D2-4A00-8128-E78E36266C9A}" dt="2023-11-08T08:58:51.898" v="172206" actId="2696"/>
        <pc:sldMkLst>
          <pc:docMk/>
          <pc:sldMk cId="2603373835" sldId="340"/>
        </pc:sldMkLst>
      </pc:sldChg>
      <pc:sldChg chg="add">
        <pc:chgData name="Muchahary, Frankle" userId="0f2bf491-0617-4378-90b8-89af8fa381b9" providerId="ADAL" clId="{90877F19-00D2-4A00-8128-E78E36266C9A}" dt="2023-11-08T08:59:00.914" v="172207"/>
        <pc:sldMkLst>
          <pc:docMk/>
          <pc:sldMk cId="4164481638" sldId="340"/>
        </pc:sldMkLst>
      </pc:sldChg>
      <pc:sldChg chg="addSp delSp modSp add mod ord modClrScheme modAnim chgLayout">
        <pc:chgData name="Muchahary, Frankle" userId="0f2bf491-0617-4378-90b8-89af8fa381b9" providerId="ADAL" clId="{90877F19-00D2-4A00-8128-E78E36266C9A}" dt="2023-11-08T07:06:24.126" v="168438"/>
        <pc:sldMkLst>
          <pc:docMk/>
          <pc:sldMk cId="2612747657" sldId="341"/>
        </pc:sldMkLst>
        <pc:spChg chg="add mod">
          <ac:chgData name="Muchahary, Frankle" userId="0f2bf491-0617-4378-90b8-89af8fa381b9" providerId="ADAL" clId="{90877F19-00D2-4A00-8128-E78E36266C9A}" dt="2023-11-05T02:26:37.172" v="126495" actId="571"/>
          <ac:spMkLst>
            <pc:docMk/>
            <pc:sldMk cId="2612747657" sldId="341"/>
            <ac:spMk id="2" creationId="{173084A0-DF02-3276-E1B1-7762A37EB76B}"/>
          </ac:spMkLst>
        </pc:spChg>
        <pc:spChg chg="mod ord">
          <ac:chgData name="Muchahary, Frankle" userId="0f2bf491-0617-4378-90b8-89af8fa381b9" providerId="ADAL" clId="{90877F19-00D2-4A00-8128-E78E36266C9A}" dt="2023-11-08T07:06:24.094" v="168413"/>
          <ac:spMkLst>
            <pc:docMk/>
            <pc:sldMk cId="2612747657" sldId="341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8T07:05:46.835" v="168297"/>
          <ac:spMkLst>
            <pc:docMk/>
            <pc:sldMk cId="2612747657" sldId="341"/>
            <ac:spMk id="6" creationId="{27EA106F-B524-9DE4-C35F-99BB8D3B66F5}"/>
          </ac:spMkLst>
        </pc:spChg>
        <pc:spChg chg="mod">
          <ac:chgData name="Muchahary, Frankle" userId="0f2bf491-0617-4378-90b8-89af8fa381b9" providerId="ADAL" clId="{90877F19-00D2-4A00-8128-E78E36266C9A}" dt="2023-11-04T21:55:34.171" v="120336" actId="1076"/>
          <ac:spMkLst>
            <pc:docMk/>
            <pc:sldMk cId="2612747657" sldId="341"/>
            <ac:spMk id="6" creationId="{FE17D27E-A9CF-15F5-EB05-3365715214E7}"/>
          </ac:spMkLst>
        </pc:spChg>
        <pc:spChg chg="mod">
          <ac:chgData name="Muchahary, Frankle" userId="0f2bf491-0617-4378-90b8-89af8fa381b9" providerId="ADAL" clId="{90877F19-00D2-4A00-8128-E78E36266C9A}" dt="2023-11-04T21:55:34.171" v="120336" actId="1076"/>
          <ac:spMkLst>
            <pc:docMk/>
            <pc:sldMk cId="2612747657" sldId="341"/>
            <ac:spMk id="7" creationId="{47D3CADB-5956-E544-CBDB-56267747C5DB}"/>
          </ac:spMkLst>
        </pc:spChg>
        <pc:spChg chg="add del mod modVis">
          <ac:chgData name="Muchahary, Frankle" userId="0f2bf491-0617-4378-90b8-89af8fa381b9" providerId="ADAL" clId="{90877F19-00D2-4A00-8128-E78E36266C9A}" dt="2023-11-08T07:05:58.739" v="168324"/>
          <ac:spMkLst>
            <pc:docMk/>
            <pc:sldMk cId="2612747657" sldId="341"/>
            <ac:spMk id="7" creationId="{8FFB6D35-9030-CD42-8187-9A16FC34587E}"/>
          </ac:spMkLst>
        </pc:spChg>
        <pc:spChg chg="mod">
          <ac:chgData name="Muchahary, Frankle" userId="0f2bf491-0617-4378-90b8-89af8fa381b9" providerId="ADAL" clId="{90877F19-00D2-4A00-8128-E78E36266C9A}" dt="2023-11-04T21:55:34.171" v="120336" actId="1076"/>
          <ac:spMkLst>
            <pc:docMk/>
            <pc:sldMk cId="2612747657" sldId="341"/>
            <ac:spMk id="8" creationId="{6973156F-21FF-955F-7279-481D95138AF9}"/>
          </ac:spMkLst>
        </pc:spChg>
        <pc:spChg chg="add del mod modVis">
          <ac:chgData name="Muchahary, Frankle" userId="0f2bf491-0617-4378-90b8-89af8fa381b9" providerId="ADAL" clId="{90877F19-00D2-4A00-8128-E78E36266C9A}" dt="2023-11-08T07:06:01.608" v="168355"/>
          <ac:spMkLst>
            <pc:docMk/>
            <pc:sldMk cId="2612747657" sldId="341"/>
            <ac:spMk id="8" creationId="{E552A77F-55EE-AD49-CDCE-47A8F518EDBC}"/>
          </ac:spMkLst>
        </pc:spChg>
        <pc:spChg chg="add del mod modVis">
          <ac:chgData name="Muchahary, Frankle" userId="0f2bf491-0617-4378-90b8-89af8fa381b9" providerId="ADAL" clId="{90877F19-00D2-4A00-8128-E78E36266C9A}" dt="2023-11-08T07:06:13.285" v="168382"/>
          <ac:spMkLst>
            <pc:docMk/>
            <pc:sldMk cId="2612747657" sldId="341"/>
            <ac:spMk id="9" creationId="{01934B61-C596-13EE-63BE-B144A5BE248F}"/>
          </ac:spMkLst>
        </pc:spChg>
        <pc:spChg chg="mod">
          <ac:chgData name="Muchahary, Frankle" userId="0f2bf491-0617-4378-90b8-89af8fa381b9" providerId="ADAL" clId="{90877F19-00D2-4A00-8128-E78E36266C9A}" dt="2023-11-04T21:55:34.171" v="120336" actId="1076"/>
          <ac:spMkLst>
            <pc:docMk/>
            <pc:sldMk cId="2612747657" sldId="341"/>
            <ac:spMk id="9" creationId="{CEAF23C9-2F4C-3448-2DA0-6343744C9C84}"/>
          </ac:spMkLst>
        </pc:spChg>
        <pc:spChg chg="add del mod modVis">
          <ac:chgData name="Muchahary, Frankle" userId="0f2bf491-0617-4378-90b8-89af8fa381b9" providerId="ADAL" clId="{90877F19-00D2-4A00-8128-E78E36266C9A}" dt="2023-11-08T07:06:19.620" v="168409"/>
          <ac:spMkLst>
            <pc:docMk/>
            <pc:sldMk cId="2612747657" sldId="341"/>
            <ac:spMk id="10" creationId="{746A1B1B-6720-DBDF-9016-FBE3E7D05C41}"/>
          </ac:spMkLst>
        </pc:spChg>
        <pc:spChg chg="add mod">
          <ac:chgData name="Muchahary, Frankle" userId="0f2bf491-0617-4378-90b8-89af8fa381b9" providerId="ADAL" clId="{90877F19-00D2-4A00-8128-E78E36266C9A}" dt="2023-11-05T02:26:37.172" v="126495" actId="571"/>
          <ac:spMkLst>
            <pc:docMk/>
            <pc:sldMk cId="2612747657" sldId="341"/>
            <ac:spMk id="10" creationId="{B540B182-F494-77EA-6C65-01946C97F51D}"/>
          </ac:spMkLst>
        </pc:spChg>
        <pc:spChg chg="add del mod modVis">
          <ac:chgData name="Muchahary, Frankle" userId="0f2bf491-0617-4378-90b8-89af8fa381b9" providerId="ADAL" clId="{90877F19-00D2-4A00-8128-E78E36266C9A}" dt="2023-11-08T07:06:24.123" v="168436"/>
          <ac:spMkLst>
            <pc:docMk/>
            <pc:sldMk cId="2612747657" sldId="341"/>
            <ac:spMk id="12" creationId="{0FF3A360-355D-829D-C431-1CDDEB94DE2A}"/>
          </ac:spMkLst>
        </pc:spChg>
        <pc:spChg chg="add mod">
          <ac:chgData name="Muchahary, Frankle" userId="0f2bf491-0617-4378-90b8-89af8fa381b9" providerId="ADAL" clId="{90877F19-00D2-4A00-8128-E78E36266C9A}" dt="2023-11-05T02:26:37.172" v="126495" actId="571"/>
          <ac:spMkLst>
            <pc:docMk/>
            <pc:sldMk cId="2612747657" sldId="341"/>
            <ac:spMk id="12" creationId="{7A31BF22-8894-4FDC-F4D6-B2A70F3AEC1B}"/>
          </ac:spMkLst>
        </pc:spChg>
        <pc:spChg chg="mod topLvl">
          <ac:chgData name="Muchahary, Frankle" userId="0f2bf491-0617-4378-90b8-89af8fa381b9" providerId="ADAL" clId="{90877F19-00D2-4A00-8128-E78E36266C9A}" dt="2023-11-05T17:52:42.984" v="146953" actId="20577"/>
          <ac:spMkLst>
            <pc:docMk/>
            <pc:sldMk cId="2612747657" sldId="341"/>
            <ac:spMk id="20" creationId="{B951EE68-AB38-8AB1-38C0-77F985312A08}"/>
          </ac:spMkLst>
        </pc:spChg>
        <pc:spChg chg="mod topLvl">
          <ac:chgData name="Muchahary, Frankle" userId="0f2bf491-0617-4378-90b8-89af8fa381b9" providerId="ADAL" clId="{90877F19-00D2-4A00-8128-E78E36266C9A}" dt="2023-11-05T17:52:49.184" v="146956" actId="20577"/>
          <ac:spMkLst>
            <pc:docMk/>
            <pc:sldMk cId="2612747657" sldId="341"/>
            <ac:spMk id="21" creationId="{90B4EF33-158D-5480-D8C1-7533D1B16D9B}"/>
          </ac:spMkLst>
        </pc:spChg>
        <pc:spChg chg="mod topLvl">
          <ac:chgData name="Muchahary, Frankle" userId="0f2bf491-0617-4378-90b8-89af8fa381b9" providerId="ADAL" clId="{90877F19-00D2-4A00-8128-E78E36266C9A}" dt="2023-11-05T02:26:27.725" v="126493" actId="165"/>
          <ac:spMkLst>
            <pc:docMk/>
            <pc:sldMk cId="2612747657" sldId="341"/>
            <ac:spMk id="22" creationId="{E2A891C9-074E-59E5-BE4D-16A2BB47B048}"/>
          </ac:spMkLst>
        </pc:spChg>
        <pc:spChg chg="del mod">
          <ac:chgData name="Muchahary, Frankle" userId="0f2bf491-0617-4378-90b8-89af8fa381b9" providerId="ADAL" clId="{90877F19-00D2-4A00-8128-E78E36266C9A}" dt="2023-11-04T21:55:55.398" v="120345" actId="478"/>
          <ac:spMkLst>
            <pc:docMk/>
            <pc:sldMk cId="2612747657" sldId="341"/>
            <ac:spMk id="23" creationId="{36731F6A-D5BC-ABE9-2DBE-F600893DE9F2}"/>
          </ac:spMkLst>
        </pc:spChg>
        <pc:spChg chg="mod">
          <ac:chgData name="Muchahary, Frankle" userId="0f2bf491-0617-4378-90b8-89af8fa381b9" providerId="ADAL" clId="{90877F19-00D2-4A00-8128-E78E36266C9A}" dt="2023-11-04T23:47:37.915" v="122388" actId="1076"/>
          <ac:spMkLst>
            <pc:docMk/>
            <pc:sldMk cId="2612747657" sldId="341"/>
            <ac:spMk id="25" creationId="{F295C6A8-0E98-1756-7084-48E1E3CF7089}"/>
          </ac:spMkLst>
        </pc:spChg>
        <pc:spChg chg="del mod">
          <ac:chgData name="Muchahary, Frankle" userId="0f2bf491-0617-4378-90b8-89af8fa381b9" providerId="ADAL" clId="{90877F19-00D2-4A00-8128-E78E36266C9A}" dt="2023-11-04T22:06:00.883" v="120884" actId="478"/>
          <ac:spMkLst>
            <pc:docMk/>
            <pc:sldMk cId="2612747657" sldId="341"/>
            <ac:spMk id="26" creationId="{2122AECC-FCDC-4791-522F-69433CC7551D}"/>
          </ac:spMkLst>
        </pc:spChg>
        <pc:spChg chg="del">
          <ac:chgData name="Muchahary, Frankle" userId="0f2bf491-0617-4378-90b8-89af8fa381b9" providerId="ADAL" clId="{90877F19-00D2-4A00-8128-E78E36266C9A}" dt="2023-11-04T21:55:21.716" v="120329" actId="478"/>
          <ac:spMkLst>
            <pc:docMk/>
            <pc:sldMk cId="2612747657" sldId="341"/>
            <ac:spMk id="30" creationId="{194E85F2-4586-7A0B-589E-51952A338E03}"/>
          </ac:spMkLst>
        </pc:spChg>
        <pc:spChg chg="mod">
          <ac:chgData name="Muchahary, Frankle" userId="0f2bf491-0617-4378-90b8-89af8fa381b9" providerId="ADAL" clId="{90877F19-00D2-4A00-8128-E78E36266C9A}" dt="2023-11-04T23:47:37.915" v="122388" actId="1076"/>
          <ac:spMkLst>
            <pc:docMk/>
            <pc:sldMk cId="2612747657" sldId="341"/>
            <ac:spMk id="32" creationId="{F0CB495A-4E84-8A63-44BC-EEFEE4F2FB7A}"/>
          </ac:spMkLst>
        </pc:spChg>
        <pc:spChg chg="mod">
          <ac:chgData name="Muchahary, Frankle" userId="0f2bf491-0617-4378-90b8-89af8fa381b9" providerId="ADAL" clId="{90877F19-00D2-4A00-8128-E78E36266C9A}" dt="2023-11-04T21:57:22.550" v="120409"/>
          <ac:spMkLst>
            <pc:docMk/>
            <pc:sldMk cId="2612747657" sldId="341"/>
            <ac:spMk id="35" creationId="{78DE4298-A791-B19E-566B-412C8982782D}"/>
          </ac:spMkLst>
        </pc:spChg>
        <pc:spChg chg="mod">
          <ac:chgData name="Muchahary, Frankle" userId="0f2bf491-0617-4378-90b8-89af8fa381b9" providerId="ADAL" clId="{90877F19-00D2-4A00-8128-E78E36266C9A}" dt="2023-11-04T21:57:22.550" v="120409"/>
          <ac:spMkLst>
            <pc:docMk/>
            <pc:sldMk cId="2612747657" sldId="341"/>
            <ac:spMk id="36" creationId="{916FA057-EDB7-1E79-A17D-5A7354A8468C}"/>
          </ac:spMkLst>
        </pc:spChg>
        <pc:spChg chg="mod">
          <ac:chgData name="Muchahary, Frankle" userId="0f2bf491-0617-4378-90b8-89af8fa381b9" providerId="ADAL" clId="{90877F19-00D2-4A00-8128-E78E36266C9A}" dt="2023-11-04T21:58:15.245" v="120420" actId="1076"/>
          <ac:spMkLst>
            <pc:docMk/>
            <pc:sldMk cId="2612747657" sldId="341"/>
            <ac:spMk id="38" creationId="{7B37E83C-959D-5F3D-803D-80FB79D07164}"/>
          </ac:spMkLst>
        </pc:spChg>
        <pc:spChg chg="mod">
          <ac:chgData name="Muchahary, Frankle" userId="0f2bf491-0617-4378-90b8-89af8fa381b9" providerId="ADAL" clId="{90877F19-00D2-4A00-8128-E78E36266C9A}" dt="2023-11-04T21:58:15.245" v="120420" actId="1076"/>
          <ac:spMkLst>
            <pc:docMk/>
            <pc:sldMk cId="2612747657" sldId="341"/>
            <ac:spMk id="41" creationId="{14A8BD35-773D-9BD2-97BF-D91AEE402A65}"/>
          </ac:spMkLst>
        </pc:spChg>
        <pc:spChg chg="mod">
          <ac:chgData name="Muchahary, Frankle" userId="0f2bf491-0617-4378-90b8-89af8fa381b9" providerId="ADAL" clId="{90877F19-00D2-4A00-8128-E78E36266C9A}" dt="2023-11-04T21:58:15.245" v="120420" actId="1076"/>
          <ac:spMkLst>
            <pc:docMk/>
            <pc:sldMk cId="2612747657" sldId="341"/>
            <ac:spMk id="42" creationId="{3975C970-811C-E5DB-E9ED-9148AEC86B4C}"/>
          </ac:spMkLst>
        </pc:spChg>
        <pc:spChg chg="del mod">
          <ac:chgData name="Muchahary, Frankle" userId="0f2bf491-0617-4378-90b8-89af8fa381b9" providerId="ADAL" clId="{90877F19-00D2-4A00-8128-E78E36266C9A}" dt="2023-11-04T22:09:22.478" v="121264" actId="478"/>
          <ac:spMkLst>
            <pc:docMk/>
            <pc:sldMk cId="2612747657" sldId="341"/>
            <ac:spMk id="46" creationId="{D11F4CE1-3A9C-D2E1-7598-D0CDD3E0C815}"/>
          </ac:spMkLst>
        </pc:spChg>
        <pc:spChg chg="mod topLvl">
          <ac:chgData name="Muchahary, Frankle" userId="0f2bf491-0617-4378-90b8-89af8fa381b9" providerId="ADAL" clId="{90877F19-00D2-4A00-8128-E78E36266C9A}" dt="2023-11-08T05:43:52.492" v="163030" actId="1076"/>
          <ac:spMkLst>
            <pc:docMk/>
            <pc:sldMk cId="2612747657" sldId="341"/>
            <ac:spMk id="47" creationId="{C0C4B183-EC15-1CF8-EF03-CC4A23F76B8A}"/>
          </ac:spMkLst>
        </pc:spChg>
        <pc:spChg chg="mod">
          <ac:chgData name="Muchahary, Frankle" userId="0f2bf491-0617-4378-90b8-89af8fa381b9" providerId="ADAL" clId="{90877F19-00D2-4A00-8128-E78E36266C9A}" dt="2023-11-05T00:12:23.705" v="122598" actId="1076"/>
          <ac:spMkLst>
            <pc:docMk/>
            <pc:sldMk cId="2612747657" sldId="341"/>
            <ac:spMk id="50" creationId="{B661A41D-F938-6C02-33C5-52DB14DBB7FC}"/>
          </ac:spMkLst>
        </pc:spChg>
        <pc:spChg chg="mod">
          <ac:chgData name="Muchahary, Frankle" userId="0f2bf491-0617-4378-90b8-89af8fa381b9" providerId="ADAL" clId="{90877F19-00D2-4A00-8128-E78E36266C9A}" dt="2023-11-04T23:44:12.740" v="122329" actId="14100"/>
          <ac:spMkLst>
            <pc:docMk/>
            <pc:sldMk cId="2612747657" sldId="341"/>
            <ac:spMk id="54" creationId="{DAA88CFF-AE49-D57A-2166-C06E54586504}"/>
          </ac:spMkLst>
        </pc:spChg>
        <pc:spChg chg="mod">
          <ac:chgData name="Muchahary, Frankle" userId="0f2bf491-0617-4378-90b8-89af8fa381b9" providerId="ADAL" clId="{90877F19-00D2-4A00-8128-E78E36266C9A}" dt="2023-11-04T23:44:12.740" v="122329" actId="14100"/>
          <ac:spMkLst>
            <pc:docMk/>
            <pc:sldMk cId="2612747657" sldId="341"/>
            <ac:spMk id="57" creationId="{5C5F1A32-F401-DBD4-90EC-F7616CE22E7D}"/>
          </ac:spMkLst>
        </pc:spChg>
        <pc:spChg chg="del mod">
          <ac:chgData name="Muchahary, Frankle" userId="0f2bf491-0617-4378-90b8-89af8fa381b9" providerId="ADAL" clId="{90877F19-00D2-4A00-8128-E78E36266C9A}" dt="2023-11-04T22:03:58.791" v="120869" actId="478"/>
          <ac:spMkLst>
            <pc:docMk/>
            <pc:sldMk cId="2612747657" sldId="341"/>
            <ac:spMk id="58" creationId="{F5A3B4F6-524C-96F1-2B34-871F4DD8DF5C}"/>
          </ac:spMkLst>
        </pc:spChg>
        <pc:spChg chg="add del mod modVis">
          <ac:chgData name="Muchahary, Frankle" userId="0f2bf491-0617-4378-90b8-89af8fa381b9" providerId="ADAL" clId="{90877F19-00D2-4A00-8128-E78E36266C9A}" dt="2023-11-04T21:59:25.190" v="120450"/>
          <ac:spMkLst>
            <pc:docMk/>
            <pc:sldMk cId="2612747657" sldId="341"/>
            <ac:spMk id="60" creationId="{012241A3-2AB1-672B-9E14-A77F6A631F18}"/>
          </ac:spMkLst>
        </pc:spChg>
        <pc:spChg chg="add del mod modVis">
          <ac:chgData name="Muchahary, Frankle" userId="0f2bf491-0617-4378-90b8-89af8fa381b9" providerId="ADAL" clId="{90877F19-00D2-4A00-8128-E78E36266C9A}" dt="2023-11-04T22:00:22.450" v="120530"/>
          <ac:spMkLst>
            <pc:docMk/>
            <pc:sldMk cId="2612747657" sldId="341"/>
            <ac:spMk id="61" creationId="{98B968F4-1597-AEFB-B076-411F33102D4C}"/>
          </ac:spMkLst>
        </pc:spChg>
        <pc:spChg chg="add del mod modVis">
          <ac:chgData name="Muchahary, Frankle" userId="0f2bf491-0617-4378-90b8-89af8fa381b9" providerId="ADAL" clId="{90877F19-00D2-4A00-8128-E78E36266C9A}" dt="2023-11-04T22:00:28.386" v="120562"/>
          <ac:spMkLst>
            <pc:docMk/>
            <pc:sldMk cId="2612747657" sldId="341"/>
            <ac:spMk id="62" creationId="{8C8B0179-1A8C-E716-1B0A-8BFC2C925B4A}"/>
          </ac:spMkLst>
        </pc:spChg>
        <pc:spChg chg="add del mod modVis">
          <ac:chgData name="Muchahary, Frankle" userId="0f2bf491-0617-4378-90b8-89af8fa381b9" providerId="ADAL" clId="{90877F19-00D2-4A00-8128-E78E36266C9A}" dt="2023-11-04T22:00:33.429" v="120615"/>
          <ac:spMkLst>
            <pc:docMk/>
            <pc:sldMk cId="2612747657" sldId="341"/>
            <ac:spMk id="63" creationId="{2BA4BBCE-4DDA-3E69-A51E-994286BD9FE8}"/>
          </ac:spMkLst>
        </pc:spChg>
        <pc:spChg chg="add del mod modVis">
          <ac:chgData name="Muchahary, Frankle" userId="0f2bf491-0617-4378-90b8-89af8fa381b9" providerId="ADAL" clId="{90877F19-00D2-4A00-8128-E78E36266C9A}" dt="2023-11-04T22:00:35.132" v="120655"/>
          <ac:spMkLst>
            <pc:docMk/>
            <pc:sldMk cId="2612747657" sldId="341"/>
            <ac:spMk id="64" creationId="{C75509EA-99A0-8FEE-13EB-7CDE4D2E997E}"/>
          </ac:spMkLst>
        </pc:spChg>
        <pc:spChg chg="add del mod modVis">
          <ac:chgData name="Muchahary, Frankle" userId="0f2bf491-0617-4378-90b8-89af8fa381b9" providerId="ADAL" clId="{90877F19-00D2-4A00-8128-E78E36266C9A}" dt="2023-11-04T22:00:38.166" v="120698"/>
          <ac:spMkLst>
            <pc:docMk/>
            <pc:sldMk cId="2612747657" sldId="341"/>
            <ac:spMk id="65" creationId="{D01A6F81-A316-C6F0-A614-C95AAD7FE5A3}"/>
          </ac:spMkLst>
        </pc:spChg>
        <pc:spChg chg="add del mod modVis">
          <ac:chgData name="Muchahary, Frankle" userId="0f2bf491-0617-4378-90b8-89af8fa381b9" providerId="ADAL" clId="{90877F19-00D2-4A00-8128-E78E36266C9A}" dt="2023-11-04T22:00:39.565" v="120728"/>
          <ac:spMkLst>
            <pc:docMk/>
            <pc:sldMk cId="2612747657" sldId="341"/>
            <ac:spMk id="66" creationId="{BCA2526A-3EDE-3DFC-7BF7-3FC2AAA322B3}"/>
          </ac:spMkLst>
        </pc:spChg>
        <pc:spChg chg="add del mod modVis">
          <ac:chgData name="Muchahary, Frankle" userId="0f2bf491-0617-4378-90b8-89af8fa381b9" providerId="ADAL" clId="{90877F19-00D2-4A00-8128-E78E36266C9A}" dt="2023-11-04T22:00:40.497" v="120755"/>
          <ac:spMkLst>
            <pc:docMk/>
            <pc:sldMk cId="2612747657" sldId="341"/>
            <ac:spMk id="67" creationId="{5686CAEB-C2A5-EABA-3F5A-66ED8378DD85}"/>
          </ac:spMkLst>
        </pc:spChg>
        <pc:spChg chg="add del mod modVis">
          <ac:chgData name="Muchahary, Frankle" userId="0f2bf491-0617-4378-90b8-89af8fa381b9" providerId="ADAL" clId="{90877F19-00D2-4A00-8128-E78E36266C9A}" dt="2023-11-04T22:00:44.738" v="120806"/>
          <ac:spMkLst>
            <pc:docMk/>
            <pc:sldMk cId="2612747657" sldId="341"/>
            <ac:spMk id="68" creationId="{30CBD010-7FF2-632C-2C26-2EE8D9514FCC}"/>
          </ac:spMkLst>
        </pc:spChg>
        <pc:spChg chg="add del mod modVis">
          <ac:chgData name="Muchahary, Frankle" userId="0f2bf491-0617-4378-90b8-89af8fa381b9" providerId="ADAL" clId="{90877F19-00D2-4A00-8128-E78E36266C9A}" dt="2023-11-04T22:00:47.834" v="120833"/>
          <ac:spMkLst>
            <pc:docMk/>
            <pc:sldMk cId="2612747657" sldId="341"/>
            <ac:spMk id="69" creationId="{A672D431-EAFF-81B4-F89F-CC9B8B17D70E}"/>
          </ac:spMkLst>
        </pc:spChg>
        <pc:spChg chg="add mod">
          <ac:chgData name="Muchahary, Frankle" userId="0f2bf491-0617-4378-90b8-89af8fa381b9" providerId="ADAL" clId="{90877F19-00D2-4A00-8128-E78E36266C9A}" dt="2023-11-04T23:44:12.740" v="122329" actId="14100"/>
          <ac:spMkLst>
            <pc:docMk/>
            <pc:sldMk cId="2612747657" sldId="341"/>
            <ac:spMk id="70" creationId="{4DADF261-8868-92BC-E121-32258FB35B07}"/>
          </ac:spMkLst>
        </pc:spChg>
        <pc:spChg chg="add mod">
          <ac:chgData name="Muchahary, Frankle" userId="0f2bf491-0617-4378-90b8-89af8fa381b9" providerId="ADAL" clId="{90877F19-00D2-4A00-8128-E78E36266C9A}" dt="2023-11-05T02:23:27.481" v="126231" actId="113"/>
          <ac:spMkLst>
            <pc:docMk/>
            <pc:sldMk cId="2612747657" sldId="341"/>
            <ac:spMk id="73" creationId="{E39B8983-DE77-65AC-6602-2C0D36B40C71}"/>
          </ac:spMkLst>
        </pc:spChg>
        <pc:spChg chg="add del mod ord topLvl">
          <ac:chgData name="Muchahary, Frankle" userId="0f2bf491-0617-4378-90b8-89af8fa381b9" providerId="ADAL" clId="{90877F19-00D2-4A00-8128-E78E36266C9A}" dt="2023-11-05T00:02:25.960" v="122542" actId="478"/>
          <ac:spMkLst>
            <pc:docMk/>
            <pc:sldMk cId="2612747657" sldId="341"/>
            <ac:spMk id="75" creationId="{FFC89455-8369-B4EB-3B64-0FCCAA95CBEA}"/>
          </ac:spMkLst>
        </pc:spChg>
        <pc:spChg chg="add del mod modVis">
          <ac:chgData name="Muchahary, Frankle" userId="0f2bf491-0617-4378-90b8-89af8fa381b9" providerId="ADAL" clId="{90877F19-00D2-4A00-8128-E78E36266C9A}" dt="2023-11-04T22:11:29.904" v="121316"/>
          <ac:spMkLst>
            <pc:docMk/>
            <pc:sldMk cId="2612747657" sldId="341"/>
            <ac:spMk id="77" creationId="{3B28AEF8-7434-EA94-9242-3119AC288DA7}"/>
          </ac:spMkLst>
        </pc:spChg>
        <pc:spChg chg="add del mod modVis">
          <ac:chgData name="Muchahary, Frankle" userId="0f2bf491-0617-4378-90b8-89af8fa381b9" providerId="ADAL" clId="{90877F19-00D2-4A00-8128-E78E36266C9A}" dt="2023-11-04T22:11:30.911" v="121344"/>
          <ac:spMkLst>
            <pc:docMk/>
            <pc:sldMk cId="2612747657" sldId="341"/>
            <ac:spMk id="78" creationId="{10EA972C-C219-9214-83B2-50073BDD8269}"/>
          </ac:spMkLst>
        </pc:spChg>
        <pc:spChg chg="add del mod modVis">
          <ac:chgData name="Muchahary, Frankle" userId="0f2bf491-0617-4378-90b8-89af8fa381b9" providerId="ADAL" clId="{90877F19-00D2-4A00-8128-E78E36266C9A}" dt="2023-11-04T22:11:43.790" v="121373"/>
          <ac:spMkLst>
            <pc:docMk/>
            <pc:sldMk cId="2612747657" sldId="341"/>
            <ac:spMk id="79" creationId="{9D554D92-4683-E762-AE56-02DC01D85AE8}"/>
          </ac:spMkLst>
        </pc:spChg>
        <pc:spChg chg="add del mod modVis">
          <ac:chgData name="Muchahary, Frankle" userId="0f2bf491-0617-4378-90b8-89af8fa381b9" providerId="ADAL" clId="{90877F19-00D2-4A00-8128-E78E36266C9A}" dt="2023-11-04T22:11:44.518" v="121400"/>
          <ac:spMkLst>
            <pc:docMk/>
            <pc:sldMk cId="2612747657" sldId="341"/>
            <ac:spMk id="80" creationId="{B0FEF84D-D069-4231-DA5F-1F80078792A7}"/>
          </ac:spMkLst>
        </pc:spChg>
        <pc:spChg chg="add del mod modVis">
          <ac:chgData name="Muchahary, Frankle" userId="0f2bf491-0617-4378-90b8-89af8fa381b9" providerId="ADAL" clId="{90877F19-00D2-4A00-8128-E78E36266C9A}" dt="2023-11-04T22:11:45.901" v="121427"/>
          <ac:spMkLst>
            <pc:docMk/>
            <pc:sldMk cId="2612747657" sldId="341"/>
            <ac:spMk id="81" creationId="{F4725C82-0E58-C696-0D3F-F0FA5D103F75}"/>
          </ac:spMkLst>
        </pc:spChg>
        <pc:spChg chg="add del mod modVis">
          <ac:chgData name="Muchahary, Frankle" userId="0f2bf491-0617-4378-90b8-89af8fa381b9" providerId="ADAL" clId="{90877F19-00D2-4A00-8128-E78E36266C9A}" dt="2023-11-04T22:11:46.900" v="121455"/>
          <ac:spMkLst>
            <pc:docMk/>
            <pc:sldMk cId="2612747657" sldId="341"/>
            <ac:spMk id="82" creationId="{2442FA2F-4CAC-40A1-83D5-4B85EBEBC1F5}"/>
          </ac:spMkLst>
        </pc:spChg>
        <pc:spChg chg="add del mod modVis">
          <ac:chgData name="Muchahary, Frankle" userId="0f2bf491-0617-4378-90b8-89af8fa381b9" providerId="ADAL" clId="{90877F19-00D2-4A00-8128-E78E36266C9A}" dt="2023-11-04T22:11:48.477" v="121484"/>
          <ac:spMkLst>
            <pc:docMk/>
            <pc:sldMk cId="2612747657" sldId="341"/>
            <ac:spMk id="83" creationId="{4E2ED727-DE83-0B7E-9F5C-8883422AF2D0}"/>
          </ac:spMkLst>
        </pc:spChg>
        <pc:spChg chg="add mod">
          <ac:chgData name="Muchahary, Frankle" userId="0f2bf491-0617-4378-90b8-89af8fa381b9" providerId="ADAL" clId="{90877F19-00D2-4A00-8128-E78E36266C9A}" dt="2023-11-05T02:26:05.450" v="126491" actId="113"/>
          <ac:spMkLst>
            <pc:docMk/>
            <pc:sldMk cId="2612747657" sldId="341"/>
            <ac:spMk id="87" creationId="{3C7B8F76-76F8-9263-578B-D8FF2818A74D}"/>
          </ac:spMkLst>
        </pc:spChg>
        <pc:spChg chg="add del mod modVis">
          <ac:chgData name="Muchahary, Frankle" userId="0f2bf491-0617-4378-90b8-89af8fa381b9" providerId="ADAL" clId="{90877F19-00D2-4A00-8128-E78E36266C9A}" dt="2023-11-04T23:46:57.019" v="122379"/>
          <ac:spMkLst>
            <pc:docMk/>
            <pc:sldMk cId="2612747657" sldId="341"/>
            <ac:spMk id="89" creationId="{BD501D77-56D7-B101-6139-BED22E62741B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99" creationId="{A43987B3-8405-9A80-B516-FE48AE735B94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0" creationId="{42480190-017F-C8AD-EDF0-05A547937089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1" creationId="{57147B8C-8C27-B60F-2634-9C61182D3AA2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2" creationId="{5457056A-FF39-1A47-8858-942F07EA66E0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3" creationId="{C8452E31-8E8B-B45B-3BA2-7B19980892CF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4" creationId="{42976CCF-B98D-156C-BE17-6472858EFC74}"/>
          </ac:spMkLst>
        </pc:spChg>
        <pc:spChg chg="mod">
          <ac:chgData name="Muchahary, Frankle" userId="0f2bf491-0617-4378-90b8-89af8fa381b9" providerId="ADAL" clId="{90877F19-00D2-4A00-8128-E78E36266C9A}" dt="2023-11-04T23:58:27.650" v="122494"/>
          <ac:spMkLst>
            <pc:docMk/>
            <pc:sldMk cId="2612747657" sldId="341"/>
            <ac:spMk id="105" creationId="{91CFC204-46B1-42D9-79F9-AEED91C5082D}"/>
          </ac:spMkLst>
        </pc:spChg>
        <pc:spChg chg="add mod">
          <ac:chgData name="Muchahary, Frankle" userId="0f2bf491-0617-4378-90b8-89af8fa381b9" providerId="ADAL" clId="{90877F19-00D2-4A00-8128-E78E36266C9A}" dt="2023-11-08T05:43:52.492" v="163030" actId="1076"/>
          <ac:spMkLst>
            <pc:docMk/>
            <pc:sldMk cId="2612747657" sldId="341"/>
            <ac:spMk id="120" creationId="{88B6507C-E1A4-EE31-50D6-BF71BBCA20CE}"/>
          </ac:spMkLst>
        </pc:spChg>
        <pc:spChg chg="add mod">
          <ac:chgData name="Muchahary, Frankle" userId="0f2bf491-0617-4378-90b8-89af8fa381b9" providerId="ADAL" clId="{90877F19-00D2-4A00-8128-E78E36266C9A}" dt="2023-11-08T05:43:52.492" v="163030" actId="1076"/>
          <ac:spMkLst>
            <pc:docMk/>
            <pc:sldMk cId="2612747657" sldId="341"/>
            <ac:spMk id="121" creationId="{62B92ED7-0B68-38F3-F74A-0C0D7734C880}"/>
          </ac:spMkLst>
        </pc:spChg>
        <pc:spChg chg="mod">
          <ac:chgData name="Muchahary, Frankle" userId="0f2bf491-0617-4378-90b8-89af8fa381b9" providerId="ADAL" clId="{90877F19-00D2-4A00-8128-E78E36266C9A}" dt="2023-11-05T00:12:59.398" v="122605" actId="1035"/>
          <ac:spMkLst>
            <pc:docMk/>
            <pc:sldMk cId="2612747657" sldId="341"/>
            <ac:spMk id="127" creationId="{91B173EE-FCAA-F4EA-A083-64653B11AEF8}"/>
          </ac:spMkLst>
        </pc:spChg>
        <pc:spChg chg="mod">
          <ac:chgData name="Muchahary, Frankle" userId="0f2bf491-0617-4378-90b8-89af8fa381b9" providerId="ADAL" clId="{90877F19-00D2-4A00-8128-E78E36266C9A}" dt="2023-11-05T00:13:36.503" v="122611" actId="1037"/>
          <ac:spMkLst>
            <pc:docMk/>
            <pc:sldMk cId="2612747657" sldId="341"/>
            <ac:spMk id="130" creationId="{7521B8D7-73C0-B046-7B7B-F46D6D69F92A}"/>
          </ac:spMkLst>
        </pc:spChg>
        <pc:spChg chg="add del mod modVis">
          <ac:chgData name="Muchahary, Frankle" userId="0f2bf491-0617-4378-90b8-89af8fa381b9" providerId="ADAL" clId="{90877F19-00D2-4A00-8128-E78E36266C9A}" dt="2023-11-05T00:57:59.034" v="124263"/>
          <ac:spMkLst>
            <pc:docMk/>
            <pc:sldMk cId="2612747657" sldId="341"/>
            <ac:spMk id="134" creationId="{44156444-AABD-7ED0-8136-439627CEFE78}"/>
          </ac:spMkLst>
        </pc:spChg>
        <pc:spChg chg="add del mod modVis">
          <ac:chgData name="Muchahary, Frankle" userId="0f2bf491-0617-4378-90b8-89af8fa381b9" providerId="ADAL" clId="{90877F19-00D2-4A00-8128-E78E36266C9A}" dt="2023-11-05T00:58:00.172" v="124291"/>
          <ac:spMkLst>
            <pc:docMk/>
            <pc:sldMk cId="2612747657" sldId="341"/>
            <ac:spMk id="135" creationId="{925FE0A8-0793-D748-6E8D-67A5C3F5141D}"/>
          </ac:spMkLst>
        </pc:spChg>
        <pc:spChg chg="add del mod modVis">
          <ac:chgData name="Muchahary, Frankle" userId="0f2bf491-0617-4378-90b8-89af8fa381b9" providerId="ADAL" clId="{90877F19-00D2-4A00-8128-E78E36266C9A}" dt="2023-11-05T00:58:02.545" v="124319"/>
          <ac:spMkLst>
            <pc:docMk/>
            <pc:sldMk cId="2612747657" sldId="341"/>
            <ac:spMk id="136" creationId="{A4B70704-DCFB-94C2-D9FF-8A4671CC15DD}"/>
          </ac:spMkLst>
        </pc:spChg>
        <pc:spChg chg="add del mod modVis">
          <ac:chgData name="Muchahary, Frankle" userId="0f2bf491-0617-4378-90b8-89af8fa381b9" providerId="ADAL" clId="{90877F19-00D2-4A00-8128-E78E36266C9A}" dt="2023-11-05T00:58:03.292" v="124346"/>
          <ac:spMkLst>
            <pc:docMk/>
            <pc:sldMk cId="2612747657" sldId="341"/>
            <ac:spMk id="137" creationId="{DDF91225-3BAA-9EFC-37DB-7E9DE4F34399}"/>
          </ac:spMkLst>
        </pc:spChg>
        <pc:spChg chg="add del mod modVis">
          <ac:chgData name="Muchahary, Frankle" userId="0f2bf491-0617-4378-90b8-89af8fa381b9" providerId="ADAL" clId="{90877F19-00D2-4A00-8128-E78E36266C9A}" dt="2023-11-05T00:59:10.522" v="124772"/>
          <ac:spMkLst>
            <pc:docMk/>
            <pc:sldMk cId="2612747657" sldId="341"/>
            <ac:spMk id="138" creationId="{B667F5CE-E781-FDC6-9F7E-04D897965710}"/>
          </ac:spMkLst>
        </pc:spChg>
        <pc:grpChg chg="add del mod">
          <ac:chgData name="Muchahary, Frankle" userId="0f2bf491-0617-4378-90b8-89af8fa381b9" providerId="ADAL" clId="{90877F19-00D2-4A00-8128-E78E36266C9A}" dt="2023-11-04T21:55:34.834" v="120337"/>
          <ac:grpSpMkLst>
            <pc:docMk/>
            <pc:sldMk cId="2612747657" sldId="341"/>
            <ac:grpSpMk id="5" creationId="{16F65A5E-C69B-42C6-F332-33077AE3E0D9}"/>
          </ac:grpSpMkLst>
        </pc:grpChg>
        <pc:grpChg chg="add del mod topLvl">
          <ac:chgData name="Muchahary, Frankle" userId="0f2bf491-0617-4378-90b8-89af8fa381b9" providerId="ADAL" clId="{90877F19-00D2-4A00-8128-E78E36266C9A}" dt="2023-11-05T02:26:27.725" v="126493" actId="165"/>
          <ac:grpSpMkLst>
            <pc:docMk/>
            <pc:sldMk cId="2612747657" sldId="341"/>
            <ac:grpSpMk id="11" creationId="{0232F826-BE6B-B64C-5E85-DA2DC55DBA89}"/>
          </ac:grpSpMkLst>
        </pc:grpChg>
        <pc:grpChg chg="add mod">
          <ac:chgData name="Muchahary, Frankle" userId="0f2bf491-0617-4378-90b8-89af8fa381b9" providerId="ADAL" clId="{90877F19-00D2-4A00-8128-E78E36266C9A}" dt="2023-11-08T05:43:52.492" v="163030" actId="1076"/>
          <ac:grpSpMkLst>
            <pc:docMk/>
            <pc:sldMk cId="2612747657" sldId="341"/>
            <ac:grpSpMk id="14" creationId="{050B3CE2-F980-F0E2-4F87-7456A8BAC940}"/>
          </ac:grpSpMkLst>
        </pc:grpChg>
        <pc:grpChg chg="add mod">
          <ac:chgData name="Muchahary, Frankle" userId="0f2bf491-0617-4378-90b8-89af8fa381b9" providerId="ADAL" clId="{90877F19-00D2-4A00-8128-E78E36266C9A}" dt="2023-11-04T23:47:37.915" v="122388" actId="1076"/>
          <ac:grpSpMkLst>
            <pc:docMk/>
            <pc:sldMk cId="2612747657" sldId="341"/>
            <ac:grpSpMk id="24" creationId="{F0ED947B-426F-F204-2C01-41C07FF01DFB}"/>
          </ac:grpSpMkLst>
        </pc:grpChg>
        <pc:grpChg chg="mod">
          <ac:chgData name="Muchahary, Frankle" userId="0f2bf491-0617-4378-90b8-89af8fa381b9" providerId="ADAL" clId="{90877F19-00D2-4A00-8128-E78E36266C9A}" dt="2023-11-04T23:47:37.915" v="122388" actId="1076"/>
          <ac:grpSpMkLst>
            <pc:docMk/>
            <pc:sldMk cId="2612747657" sldId="341"/>
            <ac:grpSpMk id="27" creationId="{E3DCC40A-E5A2-1685-CE13-0AEF5CCD9383}"/>
          </ac:grpSpMkLst>
        </pc:grpChg>
        <pc:grpChg chg="del">
          <ac:chgData name="Muchahary, Frankle" userId="0f2bf491-0617-4378-90b8-89af8fa381b9" providerId="ADAL" clId="{90877F19-00D2-4A00-8128-E78E36266C9A}" dt="2023-11-04T21:55:20.354" v="120328" actId="478"/>
          <ac:grpSpMkLst>
            <pc:docMk/>
            <pc:sldMk cId="2612747657" sldId="341"/>
            <ac:grpSpMk id="29" creationId="{AC3315FF-A054-62D3-5AAE-EB867BE9ED14}"/>
          </ac:grpSpMkLst>
        </pc:grpChg>
        <pc:grpChg chg="add del mod">
          <ac:chgData name="Muchahary, Frankle" userId="0f2bf491-0617-4378-90b8-89af8fa381b9" providerId="ADAL" clId="{90877F19-00D2-4A00-8128-E78E36266C9A}" dt="2023-11-04T21:57:23.818" v="120410"/>
          <ac:grpSpMkLst>
            <pc:docMk/>
            <pc:sldMk cId="2612747657" sldId="341"/>
            <ac:grpSpMk id="34" creationId="{D2EBF770-062B-821B-CE96-D93EF783F82D}"/>
          </ac:grpSpMkLst>
        </pc:grpChg>
        <pc:grpChg chg="add mod">
          <ac:chgData name="Muchahary, Frankle" userId="0f2bf491-0617-4378-90b8-89af8fa381b9" providerId="ADAL" clId="{90877F19-00D2-4A00-8128-E78E36266C9A}" dt="2023-11-04T21:58:15.245" v="120420" actId="1076"/>
          <ac:grpSpMkLst>
            <pc:docMk/>
            <pc:sldMk cId="2612747657" sldId="341"/>
            <ac:grpSpMk id="37" creationId="{97BCFB9E-5A3F-671E-7011-D44DC0390F08}"/>
          </ac:grpSpMkLst>
        </pc:grpChg>
        <pc:grpChg chg="add mod">
          <ac:chgData name="Muchahary, Frankle" userId="0f2bf491-0617-4378-90b8-89af8fa381b9" providerId="ADAL" clId="{90877F19-00D2-4A00-8128-E78E36266C9A}" dt="2023-11-04T21:58:15.245" v="120420" actId="1076"/>
          <ac:grpSpMkLst>
            <pc:docMk/>
            <pc:sldMk cId="2612747657" sldId="341"/>
            <ac:grpSpMk id="40" creationId="{45377BDF-028B-B309-6763-006F87F111CB}"/>
          </ac:grpSpMkLst>
        </pc:grpChg>
        <pc:grpChg chg="add del mod">
          <ac:chgData name="Muchahary, Frankle" userId="0f2bf491-0617-4378-90b8-89af8fa381b9" providerId="ADAL" clId="{90877F19-00D2-4A00-8128-E78E36266C9A}" dt="2023-11-04T21:59:08.964" v="120424" actId="478"/>
          <ac:grpSpMkLst>
            <pc:docMk/>
            <pc:sldMk cId="2612747657" sldId="341"/>
            <ac:grpSpMk id="44" creationId="{16653665-650B-75BD-A40F-5FA7AC9A7028}"/>
          </ac:grpSpMkLst>
        </pc:grpChg>
        <pc:grpChg chg="add del mod">
          <ac:chgData name="Muchahary, Frankle" userId="0f2bf491-0617-4378-90b8-89af8fa381b9" providerId="ADAL" clId="{90877F19-00D2-4A00-8128-E78E36266C9A}" dt="2023-11-04T22:09:22.478" v="121264" actId="478"/>
          <ac:grpSpMkLst>
            <pc:docMk/>
            <pc:sldMk cId="2612747657" sldId="341"/>
            <ac:grpSpMk id="45" creationId="{DEF4F9B8-B93A-C323-13DB-4C2335FF2C71}"/>
          </ac:grpSpMkLst>
        </pc:grpChg>
        <pc:grpChg chg="add del mod topLvl">
          <ac:chgData name="Muchahary, Frankle" userId="0f2bf491-0617-4378-90b8-89af8fa381b9" providerId="ADAL" clId="{90877F19-00D2-4A00-8128-E78E36266C9A}" dt="2023-11-05T00:13:54.233" v="122614" actId="478"/>
          <ac:grpSpMkLst>
            <pc:docMk/>
            <pc:sldMk cId="2612747657" sldId="341"/>
            <ac:grpSpMk id="49" creationId="{CCA92A1B-40F9-4377-CC77-DEEFE7B72F5D}"/>
          </ac:grpSpMkLst>
        </pc:grpChg>
        <pc:grpChg chg="add del mod topLvl">
          <ac:chgData name="Muchahary, Frankle" userId="0f2bf491-0617-4378-90b8-89af8fa381b9" providerId="ADAL" clId="{90877F19-00D2-4A00-8128-E78E36266C9A}" dt="2023-11-05T00:02:31.670" v="122543" actId="165"/>
          <ac:grpSpMkLst>
            <pc:docMk/>
            <pc:sldMk cId="2612747657" sldId="341"/>
            <ac:grpSpMk id="52" creationId="{FCE25E9B-B6BA-B025-9066-278811BC2877}"/>
          </ac:grpSpMkLst>
        </pc:grpChg>
        <pc:grpChg chg="add mod">
          <ac:chgData name="Muchahary, Frankle" userId="0f2bf491-0617-4378-90b8-89af8fa381b9" providerId="ADAL" clId="{90877F19-00D2-4A00-8128-E78E36266C9A}" dt="2023-11-04T23:44:12.740" v="122329" actId="14100"/>
          <ac:grpSpMkLst>
            <pc:docMk/>
            <pc:sldMk cId="2612747657" sldId="341"/>
            <ac:grpSpMk id="53" creationId="{283E8311-CEE4-39BE-A300-CB856EE24753}"/>
          </ac:grpSpMkLst>
        </pc:grpChg>
        <pc:grpChg chg="add del mod">
          <ac:chgData name="Muchahary, Frankle" userId="0f2bf491-0617-4378-90b8-89af8fa381b9" providerId="ADAL" clId="{90877F19-00D2-4A00-8128-E78E36266C9A}" dt="2023-11-04T22:03:58.791" v="120869" actId="478"/>
          <ac:grpSpMkLst>
            <pc:docMk/>
            <pc:sldMk cId="2612747657" sldId="341"/>
            <ac:grpSpMk id="56" creationId="{87AF1F9D-6A3A-B2D7-CAC7-5BDD3D1BEB84}"/>
          </ac:grpSpMkLst>
        </pc:grpChg>
        <pc:grpChg chg="add mod topLvl">
          <ac:chgData name="Muchahary, Frankle" userId="0f2bf491-0617-4378-90b8-89af8fa381b9" providerId="ADAL" clId="{90877F19-00D2-4A00-8128-E78E36266C9A}" dt="2023-11-04T23:44:12.740" v="122329" actId="14100"/>
          <ac:grpSpMkLst>
            <pc:docMk/>
            <pc:sldMk cId="2612747657" sldId="341"/>
            <ac:grpSpMk id="71" creationId="{56118B30-E879-BD52-3ED1-A141EE9B3DA3}"/>
          </ac:grpSpMkLst>
        </pc:grpChg>
        <pc:grpChg chg="add mod topLvl">
          <ac:chgData name="Muchahary, Frankle" userId="0f2bf491-0617-4378-90b8-89af8fa381b9" providerId="ADAL" clId="{90877F19-00D2-4A00-8128-E78E36266C9A}" dt="2023-11-04T23:47:37.915" v="122388" actId="1076"/>
          <ac:grpSpMkLst>
            <pc:docMk/>
            <pc:sldMk cId="2612747657" sldId="341"/>
            <ac:grpSpMk id="74" creationId="{12087B62-B001-95BE-1990-50FF77621DCA}"/>
          </ac:grpSpMkLst>
        </pc:grpChg>
        <pc:grpChg chg="add del mod">
          <ac:chgData name="Muchahary, Frankle" userId="0f2bf491-0617-4378-90b8-89af8fa381b9" providerId="ADAL" clId="{90877F19-00D2-4A00-8128-E78E36266C9A}" dt="2023-11-04T22:12:02.221" v="121487" actId="165"/>
          <ac:grpSpMkLst>
            <pc:docMk/>
            <pc:sldMk cId="2612747657" sldId="341"/>
            <ac:grpSpMk id="76" creationId="{EEA57565-B04F-2C47-1C4A-3248E1B2F002}"/>
          </ac:grpSpMkLst>
        </pc:grpChg>
        <pc:grpChg chg="add del mod">
          <ac:chgData name="Muchahary, Frankle" userId="0f2bf491-0617-4378-90b8-89af8fa381b9" providerId="ADAL" clId="{90877F19-00D2-4A00-8128-E78E36266C9A}" dt="2023-11-04T22:12:27.832" v="121489" actId="165"/>
          <ac:grpSpMkLst>
            <pc:docMk/>
            <pc:sldMk cId="2612747657" sldId="341"/>
            <ac:grpSpMk id="84" creationId="{72C8D4EE-6B71-24CA-F7A6-B255DA0C85D7}"/>
          </ac:grpSpMkLst>
        </pc:grpChg>
        <pc:grpChg chg="add del mod">
          <ac:chgData name="Muchahary, Frankle" userId="0f2bf491-0617-4378-90b8-89af8fa381b9" providerId="ADAL" clId="{90877F19-00D2-4A00-8128-E78E36266C9A}" dt="2023-11-04T23:55:43.716" v="122487" actId="165"/>
          <ac:grpSpMkLst>
            <pc:docMk/>
            <pc:sldMk cId="2612747657" sldId="341"/>
            <ac:grpSpMk id="85" creationId="{40900A71-518D-7844-7912-3627D3F5C57B}"/>
          </ac:grpSpMkLst>
        </pc:grpChg>
        <pc:grpChg chg="add mod">
          <ac:chgData name="Muchahary, Frankle" userId="0f2bf491-0617-4378-90b8-89af8fa381b9" providerId="ADAL" clId="{90877F19-00D2-4A00-8128-E78E36266C9A}" dt="2023-11-04T23:44:12.740" v="122329" actId="14100"/>
          <ac:grpSpMkLst>
            <pc:docMk/>
            <pc:sldMk cId="2612747657" sldId="341"/>
            <ac:grpSpMk id="88" creationId="{59FBEB72-852F-A047-8ED3-7F641792809F}"/>
          </ac:grpSpMkLst>
        </pc:grpChg>
        <pc:grpChg chg="add del mod">
          <ac:chgData name="Muchahary, Frankle" userId="0f2bf491-0617-4378-90b8-89af8fa381b9" providerId="ADAL" clId="{90877F19-00D2-4A00-8128-E78E36266C9A}" dt="2023-11-05T00:02:09.506" v="122538" actId="165"/>
          <ac:grpSpMkLst>
            <pc:docMk/>
            <pc:sldMk cId="2612747657" sldId="341"/>
            <ac:grpSpMk id="97" creationId="{E5B6D4FE-756A-64D2-C7E4-3237FE1962AA}"/>
          </ac:grpSpMkLst>
        </pc:grpChg>
        <pc:grpChg chg="add del mod">
          <ac:chgData name="Muchahary, Frankle" userId="0f2bf491-0617-4378-90b8-89af8fa381b9" providerId="ADAL" clId="{90877F19-00D2-4A00-8128-E78E36266C9A}" dt="2023-11-05T00:00:22.398" v="122510" actId="478"/>
          <ac:grpSpMkLst>
            <pc:docMk/>
            <pc:sldMk cId="2612747657" sldId="341"/>
            <ac:grpSpMk id="98" creationId="{82220AB7-A525-585B-D775-FB859E8AA648}"/>
          </ac:grpSpMkLst>
        </pc:grpChg>
        <pc:grpChg chg="add del mod">
          <ac:chgData name="Muchahary, Frankle" userId="0f2bf491-0617-4378-90b8-89af8fa381b9" providerId="ADAL" clId="{90877F19-00D2-4A00-8128-E78E36266C9A}" dt="2023-11-05T00:13:52.044" v="122612" actId="478"/>
          <ac:grpSpMkLst>
            <pc:docMk/>
            <pc:sldMk cId="2612747657" sldId="341"/>
            <ac:grpSpMk id="126" creationId="{632BB48F-C206-1C46-F638-8141456701DC}"/>
          </ac:grpSpMkLst>
        </pc:grpChg>
        <pc:grpChg chg="add del mod">
          <ac:chgData name="Muchahary, Frankle" userId="0f2bf491-0617-4378-90b8-89af8fa381b9" providerId="ADAL" clId="{90877F19-00D2-4A00-8128-E78E36266C9A}" dt="2023-11-05T00:13:53.247" v="122613" actId="478"/>
          <ac:grpSpMkLst>
            <pc:docMk/>
            <pc:sldMk cId="2612747657" sldId="341"/>
            <ac:grpSpMk id="129" creationId="{3A18FCB5-8D4D-14E4-2334-6183FA2D3CA1}"/>
          </ac:grpSpMkLst>
        </pc:grpChg>
        <pc:graphicFrameChg chg="mod">
          <ac:chgData name="Muchahary, Frankle" userId="0f2bf491-0617-4378-90b8-89af8fa381b9" providerId="ADAL" clId="{90877F19-00D2-4A00-8128-E78E36266C9A}" dt="2023-11-08T07:06:24.126" v="168438"/>
          <ac:graphicFrameMkLst>
            <pc:docMk/>
            <pc:sldMk cId="2612747657" sldId="341"/>
            <ac:graphicFrameMk id="4" creationId="{FD4A65FB-339A-B2BC-4155-257FFC3BBBB9}"/>
          </ac:graphicFrameMkLst>
        </pc:graphicFrameChg>
        <pc:picChg chg="add mod">
          <ac:chgData name="Muchahary, Frankle" userId="0f2bf491-0617-4378-90b8-89af8fa381b9" providerId="ADAL" clId="{90877F19-00D2-4A00-8128-E78E36266C9A}" dt="2023-11-05T02:26:37.172" v="126495" actId="571"/>
          <ac:picMkLst>
            <pc:docMk/>
            <pc:sldMk cId="2612747657" sldId="341"/>
            <ac:picMk id="7" creationId="{194E183C-7E63-603C-06E9-0E5AEC65F51E}"/>
          </ac:picMkLst>
        </pc:picChg>
        <pc:picChg chg="add mod">
          <ac:chgData name="Muchahary, Frankle" userId="0f2bf491-0617-4378-90b8-89af8fa381b9" providerId="ADAL" clId="{90877F19-00D2-4A00-8128-E78E36266C9A}" dt="2023-11-05T02:26:37.172" v="126495" actId="571"/>
          <ac:picMkLst>
            <pc:docMk/>
            <pc:sldMk cId="2612747657" sldId="341"/>
            <ac:picMk id="8" creationId="{B3FBC429-FA6F-2952-620C-E0BD58981DF5}"/>
          </ac:picMkLst>
        </pc:picChg>
        <pc:picChg chg="add mod">
          <ac:chgData name="Muchahary, Frankle" userId="0f2bf491-0617-4378-90b8-89af8fa381b9" providerId="ADAL" clId="{90877F19-00D2-4A00-8128-E78E36266C9A}" dt="2023-11-05T02:26:37.172" v="126495" actId="571"/>
          <ac:picMkLst>
            <pc:docMk/>
            <pc:sldMk cId="2612747657" sldId="341"/>
            <ac:picMk id="13" creationId="{D0C270F5-73CE-DEDF-1E65-C254ED4A4B01}"/>
          </ac:picMkLst>
        </pc:picChg>
        <pc:picChg chg="add mod">
          <ac:chgData name="Muchahary, Frankle" userId="0f2bf491-0617-4378-90b8-89af8fa381b9" providerId="ADAL" clId="{90877F19-00D2-4A00-8128-E78E36266C9A}" dt="2023-11-08T05:43:52.492" v="163030" actId="1076"/>
          <ac:picMkLst>
            <pc:docMk/>
            <pc:sldMk cId="2612747657" sldId="341"/>
            <ac:picMk id="113" creationId="{7B4B5499-F600-4BA9-0BCB-255FA09B4270}"/>
          </ac:picMkLst>
        </pc:picChg>
        <pc:picChg chg="add mod">
          <ac:chgData name="Muchahary, Frankle" userId="0f2bf491-0617-4378-90b8-89af8fa381b9" providerId="ADAL" clId="{90877F19-00D2-4A00-8128-E78E36266C9A}" dt="2023-11-08T05:43:52.492" v="163030" actId="1076"/>
          <ac:picMkLst>
            <pc:docMk/>
            <pc:sldMk cId="2612747657" sldId="341"/>
            <ac:picMk id="116" creationId="{A1A78884-635D-7B81-90C8-E7BDD1EB3A58}"/>
          </ac:picMkLst>
        </pc:picChg>
        <pc:picChg chg="add mod">
          <ac:chgData name="Muchahary, Frankle" userId="0f2bf491-0617-4378-90b8-89af8fa381b9" providerId="ADAL" clId="{90877F19-00D2-4A00-8128-E78E36266C9A}" dt="2023-11-08T05:43:52.492" v="163030" actId="1076"/>
          <ac:picMkLst>
            <pc:docMk/>
            <pc:sldMk cId="2612747657" sldId="341"/>
            <ac:picMk id="124" creationId="{B5855C86-D336-47A5-808A-4E77E1B21C4E}"/>
          </ac:picMkLst>
        </pc:picChg>
        <pc:cxnChg chg="add mod">
          <ac:chgData name="Muchahary, Frankle" userId="0f2bf491-0617-4378-90b8-89af8fa381b9" providerId="ADAL" clId="{90877F19-00D2-4A00-8128-E78E36266C9A}" dt="2023-11-05T02:26:37.172" v="126495" actId="571"/>
          <ac:cxnSpMkLst>
            <pc:docMk/>
            <pc:sldMk cId="2612747657" sldId="341"/>
            <ac:cxnSpMk id="5" creationId="{B8E7ADBE-B583-4CB6-3E24-EBCAB8FA3823}"/>
          </ac:cxnSpMkLst>
        </pc:cxnChg>
        <pc:cxnChg chg="add mod">
          <ac:chgData name="Muchahary, Frankle" userId="0f2bf491-0617-4378-90b8-89af8fa381b9" providerId="ADAL" clId="{90877F19-00D2-4A00-8128-E78E36266C9A}" dt="2023-11-05T02:26:37.172" v="126495" actId="571"/>
          <ac:cxnSpMkLst>
            <pc:docMk/>
            <pc:sldMk cId="2612747657" sldId="341"/>
            <ac:cxnSpMk id="6" creationId="{BA6376E9-7394-C5AC-A84D-91ACC9481930}"/>
          </ac:cxnSpMkLst>
        </pc:cxnChg>
        <pc:cxnChg chg="add mod">
          <ac:chgData name="Muchahary, Frankle" userId="0f2bf491-0617-4378-90b8-89af8fa381b9" providerId="ADAL" clId="{90877F19-00D2-4A00-8128-E78E36266C9A}" dt="2023-11-05T02:26:37.172" v="126495" actId="571"/>
          <ac:cxnSpMkLst>
            <pc:docMk/>
            <pc:sldMk cId="2612747657" sldId="341"/>
            <ac:cxnSpMk id="9" creationId="{C2CD9F57-F2E0-2553-BC9A-1FB67AC8DB6B}"/>
          </ac:cxnSpMkLst>
        </pc:cxnChg>
        <pc:cxnChg chg="mod">
          <ac:chgData name="Muchahary, Frankle" userId="0f2bf491-0617-4378-90b8-89af8fa381b9" providerId="ADAL" clId="{90877F19-00D2-4A00-8128-E78E36266C9A}" dt="2023-11-04T23:47:37.915" v="122388" actId="1076"/>
          <ac:cxnSpMkLst>
            <pc:docMk/>
            <pc:sldMk cId="2612747657" sldId="341"/>
            <ac:cxnSpMk id="31" creationId="{7D19BAA9-FF07-4E94-401D-D079FF93A101}"/>
          </ac:cxnSpMkLst>
        </pc:cxnChg>
        <pc:cxnChg chg="mod">
          <ac:chgData name="Muchahary, Frankle" userId="0f2bf491-0617-4378-90b8-89af8fa381b9" providerId="ADAL" clId="{90877F19-00D2-4A00-8128-E78E36266C9A}" dt="2023-11-04T23:47:37.915" v="122388" actId="1076"/>
          <ac:cxnSpMkLst>
            <pc:docMk/>
            <pc:sldMk cId="2612747657" sldId="341"/>
            <ac:cxnSpMk id="33" creationId="{FA7CA769-DA49-9AD3-F991-1076E616683D}"/>
          </ac:cxnSpMkLst>
        </pc:cxnChg>
        <pc:cxnChg chg="mod">
          <ac:chgData name="Muchahary, Frankle" userId="0f2bf491-0617-4378-90b8-89af8fa381b9" providerId="ADAL" clId="{90877F19-00D2-4A00-8128-E78E36266C9A}" dt="2023-11-04T21:58:15.245" v="120420" actId="1076"/>
          <ac:cxnSpMkLst>
            <pc:docMk/>
            <pc:sldMk cId="2612747657" sldId="341"/>
            <ac:cxnSpMk id="39" creationId="{083910E0-BDD7-4DF5-C11E-DBC76075C4CE}"/>
          </ac:cxnSpMkLst>
        </pc:cxnChg>
        <pc:cxnChg chg="add mod">
          <ac:chgData name="Muchahary, Frankle" userId="0f2bf491-0617-4378-90b8-89af8fa381b9" providerId="ADAL" clId="{90877F19-00D2-4A00-8128-E78E36266C9A}" dt="2023-11-04T21:58:15.245" v="120420" actId="1076"/>
          <ac:cxnSpMkLst>
            <pc:docMk/>
            <pc:sldMk cId="2612747657" sldId="341"/>
            <ac:cxnSpMk id="43" creationId="{24CFC1E9-C934-DEBA-8CE2-DD2E98844A2C}"/>
          </ac:cxnSpMkLst>
        </pc:cxnChg>
        <pc:cxnChg chg="add del mod topLvl">
          <ac:chgData name="Muchahary, Frankle" userId="0f2bf491-0617-4378-90b8-89af8fa381b9" providerId="ADAL" clId="{90877F19-00D2-4A00-8128-E78E36266C9A}" dt="2023-11-05T00:02:42.140" v="122546" actId="478"/>
          <ac:cxnSpMkLst>
            <pc:docMk/>
            <pc:sldMk cId="2612747657" sldId="341"/>
            <ac:cxnSpMk id="48" creationId="{8BDCE205-9167-4D8D-DF7F-05474CBCC60B}"/>
          </ac:cxnSpMkLst>
        </pc:cxnChg>
        <pc:cxnChg chg="mod">
          <ac:chgData name="Muchahary, Frankle" userId="0f2bf491-0617-4378-90b8-89af8fa381b9" providerId="ADAL" clId="{90877F19-00D2-4A00-8128-E78E36266C9A}" dt="2023-11-05T00:12:23.705" v="122598" actId="1076"/>
          <ac:cxnSpMkLst>
            <pc:docMk/>
            <pc:sldMk cId="2612747657" sldId="341"/>
            <ac:cxnSpMk id="51" creationId="{3593F1E5-791B-75F6-D338-57CF9CA0502C}"/>
          </ac:cxnSpMkLst>
        </pc:cxnChg>
        <pc:cxnChg chg="mod">
          <ac:chgData name="Muchahary, Frankle" userId="0f2bf491-0617-4378-90b8-89af8fa381b9" providerId="ADAL" clId="{90877F19-00D2-4A00-8128-E78E36266C9A}" dt="2023-11-04T23:44:12.740" v="122329" actId="14100"/>
          <ac:cxnSpMkLst>
            <pc:docMk/>
            <pc:sldMk cId="2612747657" sldId="341"/>
            <ac:cxnSpMk id="55" creationId="{CCFB3FFD-9F5B-BEA9-847A-F144086BE84B}"/>
          </ac:cxnSpMkLst>
        </pc:cxnChg>
        <pc:cxnChg chg="add mod">
          <ac:chgData name="Muchahary, Frankle" userId="0f2bf491-0617-4378-90b8-89af8fa381b9" providerId="ADAL" clId="{90877F19-00D2-4A00-8128-E78E36266C9A}" dt="2023-11-04T23:44:12.740" v="122329" actId="14100"/>
          <ac:cxnSpMkLst>
            <pc:docMk/>
            <pc:sldMk cId="2612747657" sldId="341"/>
            <ac:cxnSpMk id="59" creationId="{0D21AE3C-1E8A-0526-2FBA-2325C445FA86}"/>
          </ac:cxnSpMkLst>
        </pc:cxnChg>
        <pc:cxnChg chg="add del mod">
          <ac:chgData name="Muchahary, Frankle" userId="0f2bf491-0617-4378-90b8-89af8fa381b9" providerId="ADAL" clId="{90877F19-00D2-4A00-8128-E78E36266C9A}" dt="2023-11-04T23:54:49.548" v="122470" actId="11529"/>
          <ac:cxnSpMkLst>
            <pc:docMk/>
            <pc:sldMk cId="2612747657" sldId="341"/>
            <ac:cxnSpMk id="94" creationId="{ECD89986-6FE2-AB5B-C204-95DE62516A2B}"/>
          </ac:cxnSpMkLst>
        </pc:cxnChg>
        <pc:cxnChg chg="add mod">
          <ac:chgData name="Muchahary, Frankle" userId="0f2bf491-0617-4378-90b8-89af8fa381b9" providerId="ADAL" clId="{90877F19-00D2-4A00-8128-E78E36266C9A}" dt="2023-11-08T05:43:52.492" v="163030" actId="1076"/>
          <ac:cxnSpMkLst>
            <pc:docMk/>
            <pc:sldMk cId="2612747657" sldId="341"/>
            <ac:cxnSpMk id="96" creationId="{4EF1C26D-620F-4D8F-FDD6-86BDC1B5D99F}"/>
          </ac:cxnSpMkLst>
        </pc:cxnChg>
        <pc:cxnChg chg="add mod">
          <ac:chgData name="Muchahary, Frankle" userId="0f2bf491-0617-4378-90b8-89af8fa381b9" providerId="ADAL" clId="{90877F19-00D2-4A00-8128-E78E36266C9A}" dt="2023-11-08T05:43:52.492" v="163030" actId="1076"/>
          <ac:cxnSpMkLst>
            <pc:docMk/>
            <pc:sldMk cId="2612747657" sldId="341"/>
            <ac:cxnSpMk id="108" creationId="{E0A1937A-06B5-76CE-CB29-D7596ED4DFA8}"/>
          </ac:cxnSpMkLst>
        </pc:cxnChg>
        <pc:cxnChg chg="add mod">
          <ac:chgData name="Muchahary, Frankle" userId="0f2bf491-0617-4378-90b8-89af8fa381b9" providerId="ADAL" clId="{90877F19-00D2-4A00-8128-E78E36266C9A}" dt="2023-11-08T05:43:52.492" v="163030" actId="1076"/>
          <ac:cxnSpMkLst>
            <pc:docMk/>
            <pc:sldMk cId="2612747657" sldId="341"/>
            <ac:cxnSpMk id="118" creationId="{E0A1600F-CD1C-36CE-11DE-472FAF1EC878}"/>
          </ac:cxnSpMkLst>
        </pc:cxnChg>
        <pc:cxnChg chg="mod">
          <ac:chgData name="Muchahary, Frankle" userId="0f2bf491-0617-4378-90b8-89af8fa381b9" providerId="ADAL" clId="{90877F19-00D2-4A00-8128-E78E36266C9A}" dt="2023-11-05T00:12:59.398" v="122605" actId="1035"/>
          <ac:cxnSpMkLst>
            <pc:docMk/>
            <pc:sldMk cId="2612747657" sldId="341"/>
            <ac:cxnSpMk id="128" creationId="{B94881F8-F6AA-E0EA-CE99-35A070220360}"/>
          </ac:cxnSpMkLst>
        </pc:cxnChg>
        <pc:cxnChg chg="mod">
          <ac:chgData name="Muchahary, Frankle" userId="0f2bf491-0617-4378-90b8-89af8fa381b9" providerId="ADAL" clId="{90877F19-00D2-4A00-8128-E78E36266C9A}" dt="2023-11-05T00:13:36.503" v="122611" actId="1037"/>
          <ac:cxnSpMkLst>
            <pc:docMk/>
            <pc:sldMk cId="2612747657" sldId="341"/>
            <ac:cxnSpMk id="131" creationId="{FF537E10-516F-742B-2A51-D4C8D27586CD}"/>
          </ac:cxnSpMkLst>
        </pc:cxnChg>
      </pc:sldChg>
      <pc:sldChg chg="add del">
        <pc:chgData name="Muchahary, Frankle" userId="0f2bf491-0617-4378-90b8-89af8fa381b9" providerId="ADAL" clId="{90877F19-00D2-4A00-8128-E78E36266C9A}" dt="2023-11-04T21:55:23.924" v="120331"/>
        <pc:sldMkLst>
          <pc:docMk/>
          <pc:sldMk cId="1127914975" sldId="342"/>
        </pc:sldMkLst>
      </pc:sldChg>
      <pc:sldChg chg="addSp delSp modSp add mod modClrScheme modAnim chgLayout">
        <pc:chgData name="Muchahary, Frankle" userId="0f2bf491-0617-4378-90b8-89af8fa381b9" providerId="ADAL" clId="{90877F19-00D2-4A00-8128-E78E36266C9A}" dt="2023-11-08T07:14:46.922" v="169744"/>
        <pc:sldMkLst>
          <pc:docMk/>
          <pc:sldMk cId="2163110923" sldId="342"/>
        </pc:sldMkLst>
        <pc:spChg chg="add del mod modVis">
          <ac:chgData name="Muchahary, Frankle" userId="0f2bf491-0617-4378-90b8-89af8fa381b9" providerId="ADAL" clId="{90877F19-00D2-4A00-8128-E78E36266C9A}" dt="2023-11-05T01:55:46.357" v="125205"/>
          <ac:spMkLst>
            <pc:docMk/>
            <pc:sldMk cId="2163110923" sldId="342"/>
            <ac:spMk id="2" creationId="{387C7387-6D9A-2D02-6FE3-1E543AF94790}"/>
          </ac:spMkLst>
        </pc:spChg>
        <pc:spChg chg="add del mod modVis">
          <ac:chgData name="Muchahary, Frankle" userId="0f2bf491-0617-4378-90b8-89af8fa381b9" providerId="ADAL" clId="{90877F19-00D2-4A00-8128-E78E36266C9A}" dt="2023-11-05T17:30:30.188" v="145776"/>
          <ac:spMkLst>
            <pc:docMk/>
            <pc:sldMk cId="2163110923" sldId="342"/>
            <ac:spMk id="2" creationId="{B8A6013F-E438-2BA2-6878-8A3EB52D0975}"/>
          </ac:spMkLst>
        </pc:spChg>
        <pc:spChg chg="add del mod modVis">
          <ac:chgData name="Muchahary, Frankle" userId="0f2bf491-0617-4378-90b8-89af8fa381b9" providerId="ADAL" clId="{90877F19-00D2-4A00-8128-E78E36266C9A}" dt="2023-11-05T00:36:35.123" v="122663"/>
          <ac:spMkLst>
            <pc:docMk/>
            <pc:sldMk cId="2163110923" sldId="342"/>
            <ac:spMk id="2" creationId="{C9A380C8-9696-165D-55FD-326A07CFEE05}"/>
          </ac:spMkLst>
        </pc:spChg>
        <pc:spChg chg="mod ord">
          <ac:chgData name="Muchahary, Frankle" userId="0f2bf491-0617-4378-90b8-89af8fa381b9" providerId="ADAL" clId="{90877F19-00D2-4A00-8128-E78E36266C9A}" dt="2023-11-08T07:14:46.882" v="169719"/>
          <ac:spMkLst>
            <pc:docMk/>
            <pc:sldMk cId="2163110923" sldId="342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5T17:30:30.801" v="145818"/>
          <ac:spMkLst>
            <pc:docMk/>
            <pc:sldMk cId="2163110923" sldId="342"/>
            <ac:spMk id="5" creationId="{316971E3-9302-2BF3-8D61-BFB08F4EEA41}"/>
          </ac:spMkLst>
        </pc:spChg>
        <pc:spChg chg="add del mod modVis">
          <ac:chgData name="Muchahary, Frankle" userId="0f2bf491-0617-4378-90b8-89af8fa381b9" providerId="ADAL" clId="{90877F19-00D2-4A00-8128-E78E36266C9A}" dt="2023-11-05T01:55:51.959" v="125260"/>
          <ac:spMkLst>
            <pc:docMk/>
            <pc:sldMk cId="2163110923" sldId="342"/>
            <ac:spMk id="5" creationId="{A2EC6573-0238-4B2C-8FB4-7CE8A3C16942}"/>
          </ac:spMkLst>
        </pc:spChg>
        <pc:spChg chg="add del mod modVis">
          <ac:chgData name="Muchahary, Frankle" userId="0f2bf491-0617-4378-90b8-89af8fa381b9" providerId="ADAL" clId="{90877F19-00D2-4A00-8128-E78E36266C9A}" dt="2023-11-05T00:36:47.849" v="122760"/>
          <ac:spMkLst>
            <pc:docMk/>
            <pc:sldMk cId="2163110923" sldId="342"/>
            <ac:spMk id="5" creationId="{BE5E1E2F-A76A-E0DC-F987-36A03E2C700E}"/>
          </ac:spMkLst>
        </pc:spChg>
        <pc:spChg chg="add del mod modVis">
          <ac:chgData name="Muchahary, Frankle" userId="0f2bf491-0617-4378-90b8-89af8fa381b9" providerId="ADAL" clId="{90877F19-00D2-4A00-8128-E78E36266C9A}" dt="2023-11-05T01:55:58.480" v="125322"/>
          <ac:spMkLst>
            <pc:docMk/>
            <pc:sldMk cId="2163110923" sldId="342"/>
            <ac:spMk id="6" creationId="{00051CA8-0640-C06C-BAF5-5F711D9B9C4A}"/>
          </ac:spMkLst>
        </pc:spChg>
        <pc:spChg chg="add del mod modVis">
          <ac:chgData name="Muchahary, Frankle" userId="0f2bf491-0617-4378-90b8-89af8fa381b9" providerId="ADAL" clId="{90877F19-00D2-4A00-8128-E78E36266C9A}" dt="2023-11-08T07:14:12.349" v="169504"/>
          <ac:spMkLst>
            <pc:docMk/>
            <pc:sldMk cId="2163110923" sldId="342"/>
            <ac:spMk id="6" creationId="{2D1C75A5-4926-5D5A-B8FA-AE710DB2CD67}"/>
          </ac:spMkLst>
        </pc:spChg>
        <pc:spChg chg="add del mod modVis">
          <ac:chgData name="Muchahary, Frankle" userId="0f2bf491-0617-4378-90b8-89af8fa381b9" providerId="ADAL" clId="{90877F19-00D2-4A00-8128-E78E36266C9A}" dt="2023-11-05T00:36:50.869" v="122791"/>
          <ac:spMkLst>
            <pc:docMk/>
            <pc:sldMk cId="2163110923" sldId="342"/>
            <ac:spMk id="6" creationId="{6C4DD7F2-5054-5978-CE5A-D4D08CD9E5E5}"/>
          </ac:spMkLst>
        </pc:spChg>
        <pc:spChg chg="add del mod modVis">
          <ac:chgData name="Muchahary, Frankle" userId="0f2bf491-0617-4378-90b8-89af8fa381b9" providerId="ADAL" clId="{90877F19-00D2-4A00-8128-E78E36266C9A}" dt="2023-11-08T07:14:15.130" v="169546"/>
          <ac:spMkLst>
            <pc:docMk/>
            <pc:sldMk cId="2163110923" sldId="342"/>
            <ac:spMk id="7" creationId="{5A7E4FD6-2F60-1645-7C56-66B288F482B4}"/>
          </ac:spMkLst>
        </pc:spChg>
        <pc:spChg chg="add del mod modVis">
          <ac:chgData name="Muchahary, Frankle" userId="0f2bf491-0617-4378-90b8-89af8fa381b9" providerId="ADAL" clId="{90877F19-00D2-4A00-8128-E78E36266C9A}" dt="2023-11-05T01:56:01.145" v="125368"/>
          <ac:spMkLst>
            <pc:docMk/>
            <pc:sldMk cId="2163110923" sldId="342"/>
            <ac:spMk id="7" creationId="{7D07B895-36AE-1C05-BCD3-0F32613F5089}"/>
          </ac:spMkLst>
        </pc:spChg>
        <pc:spChg chg="add del mod modVis">
          <ac:chgData name="Muchahary, Frankle" userId="0f2bf491-0617-4378-90b8-89af8fa381b9" providerId="ADAL" clId="{90877F19-00D2-4A00-8128-E78E36266C9A}" dt="2023-11-05T00:36:53.911" v="122831"/>
          <ac:spMkLst>
            <pc:docMk/>
            <pc:sldMk cId="2163110923" sldId="342"/>
            <ac:spMk id="7" creationId="{8A3F37DA-F3EA-EA8E-5B2B-0929E4D62753}"/>
          </ac:spMkLst>
        </pc:spChg>
        <pc:spChg chg="add del mod modVis">
          <ac:chgData name="Muchahary, Frankle" userId="0f2bf491-0617-4378-90b8-89af8fa381b9" providerId="ADAL" clId="{90877F19-00D2-4A00-8128-E78E36266C9A}" dt="2023-11-05T01:56:02.470" v="125403"/>
          <ac:spMkLst>
            <pc:docMk/>
            <pc:sldMk cId="2163110923" sldId="342"/>
            <ac:spMk id="8" creationId="{2C48D418-860A-C824-5AD5-B10B0020FA74}"/>
          </ac:spMkLst>
        </pc:spChg>
        <pc:spChg chg="add del mod modVis">
          <ac:chgData name="Muchahary, Frankle" userId="0f2bf491-0617-4378-90b8-89af8fa381b9" providerId="ADAL" clId="{90877F19-00D2-4A00-8128-E78E36266C9A}" dt="2023-11-05T00:36:54.594" v="122859"/>
          <ac:spMkLst>
            <pc:docMk/>
            <pc:sldMk cId="2163110923" sldId="342"/>
            <ac:spMk id="8" creationId="{5AE99832-52ED-1D74-5C9F-3AA47428627F}"/>
          </ac:spMkLst>
        </pc:spChg>
        <pc:spChg chg="add del mod modVis">
          <ac:chgData name="Muchahary, Frankle" userId="0f2bf491-0617-4378-90b8-89af8fa381b9" providerId="ADAL" clId="{90877F19-00D2-4A00-8128-E78E36266C9A}" dt="2023-11-08T07:14:19.659" v="169588"/>
          <ac:spMkLst>
            <pc:docMk/>
            <pc:sldMk cId="2163110923" sldId="342"/>
            <ac:spMk id="8" creationId="{F710950D-0424-83F7-107E-593B60283564}"/>
          </ac:spMkLst>
        </pc:spChg>
        <pc:spChg chg="add del mod modVis">
          <ac:chgData name="Muchahary, Frankle" userId="0f2bf491-0617-4378-90b8-89af8fa381b9" providerId="ADAL" clId="{90877F19-00D2-4A00-8128-E78E36266C9A}" dt="2023-11-05T01:56:05.823" v="125449"/>
          <ac:spMkLst>
            <pc:docMk/>
            <pc:sldMk cId="2163110923" sldId="342"/>
            <ac:spMk id="9" creationId="{6BA6CA1C-1FBA-9505-EC93-BCBA150A54A8}"/>
          </ac:spMkLst>
        </pc:spChg>
        <pc:spChg chg="add del mod modVis">
          <ac:chgData name="Muchahary, Frankle" userId="0f2bf491-0617-4378-90b8-89af8fa381b9" providerId="ADAL" clId="{90877F19-00D2-4A00-8128-E78E36266C9A}" dt="2023-11-08T07:14:21.741" v="169632"/>
          <ac:spMkLst>
            <pc:docMk/>
            <pc:sldMk cId="2163110923" sldId="342"/>
            <ac:spMk id="9" creationId="{825AE55F-C2A5-C92F-B587-CBCC2000746C}"/>
          </ac:spMkLst>
        </pc:spChg>
        <pc:spChg chg="add del mod modVis">
          <ac:chgData name="Muchahary, Frankle" userId="0f2bf491-0617-4378-90b8-89af8fa381b9" providerId="ADAL" clId="{90877F19-00D2-4A00-8128-E78E36266C9A}" dt="2023-11-05T00:36:55.247" v="122887"/>
          <ac:spMkLst>
            <pc:docMk/>
            <pc:sldMk cId="2163110923" sldId="342"/>
            <ac:spMk id="9" creationId="{C0503ECF-3E87-8466-5AFE-4833B60BF540}"/>
          </ac:spMkLst>
        </pc:spChg>
        <pc:spChg chg="add del mod modVis">
          <ac:chgData name="Muchahary, Frankle" userId="0f2bf491-0617-4378-90b8-89af8fa381b9" providerId="ADAL" clId="{90877F19-00D2-4A00-8128-E78E36266C9A}" dt="2023-11-08T07:14:23.340" v="169659"/>
          <ac:spMkLst>
            <pc:docMk/>
            <pc:sldMk cId="2163110923" sldId="342"/>
            <ac:spMk id="10" creationId="{3A4640B9-6874-D6BA-1FF3-CCEA6614EA42}"/>
          </ac:spMkLst>
        </pc:spChg>
        <pc:spChg chg="add del mod modVis">
          <ac:chgData name="Muchahary, Frankle" userId="0f2bf491-0617-4378-90b8-89af8fa381b9" providerId="ADAL" clId="{90877F19-00D2-4A00-8128-E78E36266C9A}" dt="2023-11-05T01:56:07.550" v="125477"/>
          <ac:spMkLst>
            <pc:docMk/>
            <pc:sldMk cId="2163110923" sldId="342"/>
            <ac:spMk id="10" creationId="{4EFF4B72-1413-0C9C-6679-66ED1B96063B}"/>
          </ac:spMkLst>
        </pc:spChg>
        <pc:spChg chg="add del mod modVis">
          <ac:chgData name="Muchahary, Frankle" userId="0f2bf491-0617-4378-90b8-89af8fa381b9" providerId="ADAL" clId="{90877F19-00D2-4A00-8128-E78E36266C9A}" dt="2023-11-05T00:42:53.172" v="123067"/>
          <ac:spMkLst>
            <pc:docMk/>
            <pc:sldMk cId="2163110923" sldId="342"/>
            <ac:spMk id="10" creationId="{F655389C-1461-C690-CE20-E6D6A75059E2}"/>
          </ac:spMkLst>
        </pc:spChg>
        <pc:spChg chg="add del mod modVis">
          <ac:chgData name="Muchahary, Frankle" userId="0f2bf491-0617-4378-90b8-89af8fa381b9" providerId="ADAL" clId="{90877F19-00D2-4A00-8128-E78E36266C9A}" dt="2023-11-05T00:42:57.612" v="123094"/>
          <ac:spMkLst>
            <pc:docMk/>
            <pc:sldMk cId="2163110923" sldId="342"/>
            <ac:spMk id="12" creationId="{5EECFAB1-2230-5271-6746-772956241BCD}"/>
          </ac:spMkLst>
        </pc:spChg>
        <pc:spChg chg="add del mod modVis">
          <ac:chgData name="Muchahary, Frankle" userId="0f2bf491-0617-4378-90b8-89af8fa381b9" providerId="ADAL" clId="{90877F19-00D2-4A00-8128-E78E36266C9A}" dt="2023-11-05T01:56:09.046" v="125505"/>
          <ac:spMkLst>
            <pc:docMk/>
            <pc:sldMk cId="2163110923" sldId="342"/>
            <ac:spMk id="12" creationId="{75848629-3C85-C417-1720-B23B5EEB6784}"/>
          </ac:spMkLst>
        </pc:spChg>
        <pc:spChg chg="add del mod modVis">
          <ac:chgData name="Muchahary, Frankle" userId="0f2bf491-0617-4378-90b8-89af8fa381b9" providerId="ADAL" clId="{90877F19-00D2-4A00-8128-E78E36266C9A}" dt="2023-11-08T07:14:45.380" v="169715"/>
          <ac:spMkLst>
            <pc:docMk/>
            <pc:sldMk cId="2163110923" sldId="342"/>
            <ac:spMk id="12" creationId="{7ACCFC19-7AAB-CD29-F858-0A1AB201A0E6}"/>
          </ac:spMkLst>
        </pc:spChg>
        <pc:spChg chg="add del mod modVis">
          <ac:chgData name="Muchahary, Frankle" userId="0f2bf491-0617-4378-90b8-89af8fa381b9" providerId="ADAL" clId="{90877F19-00D2-4A00-8128-E78E36266C9A}" dt="2023-11-05T01:56:10.602" v="125534"/>
          <ac:spMkLst>
            <pc:docMk/>
            <pc:sldMk cId="2163110923" sldId="342"/>
            <ac:spMk id="13" creationId="{44A86E91-57A8-D647-A2BC-2C95F70B8E7D}"/>
          </ac:spMkLst>
        </pc:spChg>
        <pc:spChg chg="add del mod modVis">
          <ac:chgData name="Muchahary, Frankle" userId="0f2bf491-0617-4378-90b8-89af8fa381b9" providerId="ADAL" clId="{90877F19-00D2-4A00-8128-E78E36266C9A}" dt="2023-11-08T07:14:46.917" v="169742"/>
          <ac:spMkLst>
            <pc:docMk/>
            <pc:sldMk cId="2163110923" sldId="342"/>
            <ac:spMk id="13" creationId="{A379DD5C-8C9C-6E91-37E0-A97626292337}"/>
          </ac:spMkLst>
        </pc:spChg>
        <pc:spChg chg="add del mod modVis">
          <ac:chgData name="Muchahary, Frankle" userId="0f2bf491-0617-4378-90b8-89af8fa381b9" providerId="ADAL" clId="{90877F19-00D2-4A00-8128-E78E36266C9A}" dt="2023-11-05T00:42:59.297" v="123121"/>
          <ac:spMkLst>
            <pc:docMk/>
            <pc:sldMk cId="2163110923" sldId="342"/>
            <ac:spMk id="13" creationId="{F9D4BE08-B02B-043A-82A1-BF682152B101}"/>
          </ac:spMkLst>
        </pc:spChg>
        <pc:spChg chg="add del mod modVis">
          <ac:chgData name="Muchahary, Frankle" userId="0f2bf491-0617-4378-90b8-89af8fa381b9" providerId="ADAL" clId="{90877F19-00D2-4A00-8128-E78E36266C9A}" dt="2023-11-05T00:43:01.545" v="123148"/>
          <ac:spMkLst>
            <pc:docMk/>
            <pc:sldMk cId="2163110923" sldId="342"/>
            <ac:spMk id="14" creationId="{66DCCAB3-42E1-D439-1CF1-CAB9E0E51BB0}"/>
          </ac:spMkLst>
        </pc:spChg>
        <pc:spChg chg="add del mod modVis">
          <ac:chgData name="Muchahary, Frankle" userId="0f2bf491-0617-4378-90b8-89af8fa381b9" providerId="ADAL" clId="{90877F19-00D2-4A00-8128-E78E36266C9A}" dt="2023-11-05T01:56:58.679" v="125642"/>
          <ac:spMkLst>
            <pc:docMk/>
            <pc:sldMk cId="2163110923" sldId="342"/>
            <ac:spMk id="14" creationId="{920D54B3-9522-3580-C3B7-53EE3113D2D5}"/>
          </ac:spMkLst>
        </pc:spChg>
        <pc:spChg chg="add del mod modVis">
          <ac:chgData name="Muchahary, Frankle" userId="0f2bf491-0617-4378-90b8-89af8fa381b9" providerId="ADAL" clId="{90877F19-00D2-4A00-8128-E78E36266C9A}" dt="2023-11-05T01:57:00.687" v="125679"/>
          <ac:spMkLst>
            <pc:docMk/>
            <pc:sldMk cId="2163110923" sldId="342"/>
            <ac:spMk id="15" creationId="{96A94191-20D5-4A29-5A7E-FE2A1A3DD960}"/>
          </ac:spMkLst>
        </pc:spChg>
        <pc:spChg chg="add del mod modVis">
          <ac:chgData name="Muchahary, Frankle" userId="0f2bf491-0617-4378-90b8-89af8fa381b9" providerId="ADAL" clId="{90877F19-00D2-4A00-8128-E78E36266C9A}" dt="2023-11-05T00:43:03.734" v="123179"/>
          <ac:spMkLst>
            <pc:docMk/>
            <pc:sldMk cId="2163110923" sldId="342"/>
            <ac:spMk id="15" creationId="{CACF66C6-378F-6EAE-937B-B186CD4BC5F2}"/>
          </ac:spMkLst>
        </pc:spChg>
        <pc:spChg chg="add del mod modVis">
          <ac:chgData name="Muchahary, Frankle" userId="0f2bf491-0617-4378-90b8-89af8fa381b9" providerId="ADAL" clId="{90877F19-00D2-4A00-8128-E78E36266C9A}" dt="2023-11-05T01:57:02.582" v="125707"/>
          <ac:spMkLst>
            <pc:docMk/>
            <pc:sldMk cId="2163110923" sldId="342"/>
            <ac:spMk id="16" creationId="{36222A3F-9CC3-7E2C-17A4-F617C5B90B6A}"/>
          </ac:spMkLst>
        </pc:spChg>
        <pc:spChg chg="add del mod modVis">
          <ac:chgData name="Muchahary, Frankle" userId="0f2bf491-0617-4378-90b8-89af8fa381b9" providerId="ADAL" clId="{90877F19-00D2-4A00-8128-E78E36266C9A}" dt="2023-11-05T00:43:04.365" v="123209"/>
          <ac:spMkLst>
            <pc:docMk/>
            <pc:sldMk cId="2163110923" sldId="342"/>
            <ac:spMk id="16" creationId="{97E70AD9-5FD6-1666-3A30-A4655F820D15}"/>
          </ac:spMkLst>
        </pc:spChg>
        <pc:spChg chg="add del mod modVis">
          <ac:chgData name="Muchahary, Frankle" userId="0f2bf491-0617-4378-90b8-89af8fa381b9" providerId="ADAL" clId="{90877F19-00D2-4A00-8128-E78E36266C9A}" dt="2023-11-05T00:43:05.898" v="123240"/>
          <ac:spMkLst>
            <pc:docMk/>
            <pc:sldMk cId="2163110923" sldId="342"/>
            <ac:spMk id="17" creationId="{3CC5861D-16E6-3A7E-5FC1-D00722042E9A}"/>
          </ac:spMkLst>
        </pc:spChg>
        <pc:spChg chg="add del mod modVis">
          <ac:chgData name="Muchahary, Frankle" userId="0f2bf491-0617-4378-90b8-89af8fa381b9" providerId="ADAL" clId="{90877F19-00D2-4A00-8128-E78E36266C9A}" dt="2023-11-05T01:57:07.143" v="125741"/>
          <ac:spMkLst>
            <pc:docMk/>
            <pc:sldMk cId="2163110923" sldId="342"/>
            <ac:spMk id="17" creationId="{C452B3FF-F23A-8915-351B-D4BD0EBCCA68}"/>
          </ac:spMkLst>
        </pc:spChg>
        <pc:spChg chg="add del mod modVis">
          <ac:chgData name="Muchahary, Frankle" userId="0f2bf491-0617-4378-90b8-89af8fa381b9" providerId="ADAL" clId="{90877F19-00D2-4A00-8128-E78E36266C9A}" dt="2023-11-05T01:57:07.956" v="125769"/>
          <ac:spMkLst>
            <pc:docMk/>
            <pc:sldMk cId="2163110923" sldId="342"/>
            <ac:spMk id="18" creationId="{088DC9F1-C2DF-F8E8-E894-88AE652A7098}"/>
          </ac:spMkLst>
        </pc:spChg>
        <pc:spChg chg="add del mod modVis">
          <ac:chgData name="Muchahary, Frankle" userId="0f2bf491-0617-4378-90b8-89af8fa381b9" providerId="ADAL" clId="{90877F19-00D2-4A00-8128-E78E36266C9A}" dt="2023-11-05T00:43:09.818" v="123276"/>
          <ac:spMkLst>
            <pc:docMk/>
            <pc:sldMk cId="2163110923" sldId="342"/>
            <ac:spMk id="18" creationId="{83E38E13-B711-00A6-6EFE-50CF3F825D3D}"/>
          </ac:spMkLst>
        </pc:spChg>
        <pc:spChg chg="add del mod modVis">
          <ac:chgData name="Muchahary, Frankle" userId="0f2bf491-0617-4378-90b8-89af8fa381b9" providerId="ADAL" clId="{90877F19-00D2-4A00-8128-E78E36266C9A}" dt="2023-11-05T00:43:10.970" v="123304"/>
          <ac:spMkLst>
            <pc:docMk/>
            <pc:sldMk cId="2163110923" sldId="342"/>
            <ac:spMk id="19" creationId="{359DCAA3-BB30-F121-F1F8-8E18B6BB9392}"/>
          </ac:spMkLst>
        </pc:spChg>
        <pc:spChg chg="add del mod modVis">
          <ac:chgData name="Muchahary, Frankle" userId="0f2bf491-0617-4378-90b8-89af8fa381b9" providerId="ADAL" clId="{90877F19-00D2-4A00-8128-E78E36266C9A}" dt="2023-11-05T02:15:36.827" v="125798"/>
          <ac:spMkLst>
            <pc:docMk/>
            <pc:sldMk cId="2163110923" sldId="342"/>
            <ac:spMk id="19" creationId="{9B57EF72-CA44-182F-D1B2-3AFFAEF57E8A}"/>
          </ac:spMkLst>
        </pc:spChg>
        <pc:spChg chg="mod">
          <ac:chgData name="Muchahary, Frankle" userId="0f2bf491-0617-4378-90b8-89af8fa381b9" providerId="ADAL" clId="{90877F19-00D2-4A00-8128-E78E36266C9A}" dt="2023-11-05T17:59:07.217" v="147049" actId="20577"/>
          <ac:spMkLst>
            <pc:docMk/>
            <pc:sldMk cId="2163110923" sldId="342"/>
            <ac:spMk id="21" creationId="{90B4EF33-158D-5480-D8C1-7533D1B16D9B}"/>
          </ac:spMkLst>
        </pc:spChg>
        <pc:spChg chg="add del mod modVis">
          <ac:chgData name="Muchahary, Frankle" userId="0f2bf491-0617-4378-90b8-89af8fa381b9" providerId="ADAL" clId="{90877F19-00D2-4A00-8128-E78E36266C9A}" dt="2023-11-05T00:43:14.816" v="123351"/>
          <ac:spMkLst>
            <pc:docMk/>
            <pc:sldMk cId="2163110923" sldId="342"/>
            <ac:spMk id="23" creationId="{9007A3A3-5DFD-4BF5-557C-5EF05A26030B}"/>
          </ac:spMkLst>
        </pc:spChg>
        <pc:spChg chg="add del mod modVis">
          <ac:chgData name="Muchahary, Frankle" userId="0f2bf491-0617-4378-90b8-89af8fa381b9" providerId="ADAL" clId="{90877F19-00D2-4A00-8128-E78E36266C9A}" dt="2023-11-05T02:15:41.144" v="125843"/>
          <ac:spMkLst>
            <pc:docMk/>
            <pc:sldMk cId="2163110923" sldId="342"/>
            <ac:spMk id="23" creationId="{900DBF73-C42D-5B40-721E-1DFD8C2DBD44}"/>
          </ac:spMkLst>
        </pc:spChg>
        <pc:spChg chg="mod">
          <ac:chgData name="Muchahary, Frankle" userId="0f2bf491-0617-4378-90b8-89af8fa381b9" providerId="ADAL" clId="{90877F19-00D2-4A00-8128-E78E36266C9A}" dt="2023-11-05T02:38:59.746" v="127428" actId="1076"/>
          <ac:spMkLst>
            <pc:docMk/>
            <pc:sldMk cId="2163110923" sldId="342"/>
            <ac:spMk id="25" creationId="{F295C6A8-0E98-1756-7084-48E1E3CF7089}"/>
          </ac:spMkLst>
        </pc:spChg>
        <pc:spChg chg="add del mod modVis">
          <ac:chgData name="Muchahary, Frankle" userId="0f2bf491-0617-4378-90b8-89af8fa381b9" providerId="ADAL" clId="{90877F19-00D2-4A00-8128-E78E36266C9A}" dt="2023-11-05T00:43:15.850" v="123379"/>
          <ac:spMkLst>
            <pc:docMk/>
            <pc:sldMk cId="2163110923" sldId="342"/>
            <ac:spMk id="26" creationId="{6B487E8E-B993-DAEF-FDCB-92947EA5C13B}"/>
          </ac:spMkLst>
        </pc:spChg>
        <pc:spChg chg="add del mod modVis">
          <ac:chgData name="Muchahary, Frankle" userId="0f2bf491-0617-4378-90b8-89af8fa381b9" providerId="ADAL" clId="{90877F19-00D2-4A00-8128-E78E36266C9A}" dt="2023-11-05T02:15:45.807" v="125913"/>
          <ac:spMkLst>
            <pc:docMk/>
            <pc:sldMk cId="2163110923" sldId="342"/>
            <ac:spMk id="26" creationId="{EFCC79D0-A1E1-A4FD-810C-3A378C24323E}"/>
          </ac:spMkLst>
        </pc:spChg>
        <pc:spChg chg="add del mod modVis">
          <ac:chgData name="Muchahary, Frankle" userId="0f2bf491-0617-4378-90b8-89af8fa381b9" providerId="ADAL" clId="{90877F19-00D2-4A00-8128-E78E36266C9A}" dt="2023-11-05T00:43:16.546" v="123406"/>
          <ac:spMkLst>
            <pc:docMk/>
            <pc:sldMk cId="2163110923" sldId="342"/>
            <ac:spMk id="28" creationId="{0650B70F-BA00-9148-E971-D75BB346C311}"/>
          </ac:spMkLst>
        </pc:spChg>
        <pc:spChg chg="add del mod modVis">
          <ac:chgData name="Muchahary, Frankle" userId="0f2bf491-0617-4378-90b8-89af8fa381b9" providerId="ADAL" clId="{90877F19-00D2-4A00-8128-E78E36266C9A}" dt="2023-11-05T02:15:48.024" v="125956"/>
          <ac:spMkLst>
            <pc:docMk/>
            <pc:sldMk cId="2163110923" sldId="342"/>
            <ac:spMk id="28" creationId="{F67BE548-1A87-E05A-98CC-48C51F3AC288}"/>
          </ac:spMkLst>
        </pc:spChg>
        <pc:spChg chg="add del mod modVis">
          <ac:chgData name="Muchahary, Frankle" userId="0f2bf491-0617-4378-90b8-89af8fa381b9" providerId="ADAL" clId="{90877F19-00D2-4A00-8128-E78E36266C9A}" dt="2023-11-05T00:43:18.581" v="123443"/>
          <ac:spMkLst>
            <pc:docMk/>
            <pc:sldMk cId="2163110923" sldId="342"/>
            <ac:spMk id="29" creationId="{8EB2B15F-7EE9-5AFC-8CCE-24460D4FBEC1}"/>
          </ac:spMkLst>
        </pc:spChg>
        <pc:spChg chg="add del mod modVis">
          <ac:chgData name="Muchahary, Frankle" userId="0f2bf491-0617-4378-90b8-89af8fa381b9" providerId="ADAL" clId="{90877F19-00D2-4A00-8128-E78E36266C9A}" dt="2023-11-05T02:15:51.942" v="125999"/>
          <ac:spMkLst>
            <pc:docMk/>
            <pc:sldMk cId="2163110923" sldId="342"/>
            <ac:spMk id="29" creationId="{E04DAA36-9151-6CB8-6691-81021FC3B053}"/>
          </ac:spMkLst>
        </pc:spChg>
        <pc:spChg chg="add del mod modVis">
          <ac:chgData name="Muchahary, Frankle" userId="0f2bf491-0617-4378-90b8-89af8fa381b9" providerId="ADAL" clId="{90877F19-00D2-4A00-8128-E78E36266C9A}" dt="2023-11-05T00:43:19.848" v="123474"/>
          <ac:spMkLst>
            <pc:docMk/>
            <pc:sldMk cId="2163110923" sldId="342"/>
            <ac:spMk id="30" creationId="{7C1287C2-808E-85A0-D767-B2CA66FE76BB}"/>
          </ac:spMkLst>
        </pc:spChg>
        <pc:spChg chg="add del mod modVis">
          <ac:chgData name="Muchahary, Frankle" userId="0f2bf491-0617-4378-90b8-89af8fa381b9" providerId="ADAL" clId="{90877F19-00D2-4A00-8128-E78E36266C9A}" dt="2023-11-05T02:15:56.847" v="126044"/>
          <ac:spMkLst>
            <pc:docMk/>
            <pc:sldMk cId="2163110923" sldId="342"/>
            <ac:spMk id="30" creationId="{A33139A8-6B90-A63D-E104-E791495F35A4}"/>
          </ac:spMkLst>
        </pc:spChg>
        <pc:spChg chg="mod">
          <ac:chgData name="Muchahary, Frankle" userId="0f2bf491-0617-4378-90b8-89af8fa381b9" providerId="ADAL" clId="{90877F19-00D2-4A00-8128-E78E36266C9A}" dt="2023-11-05T02:38:59.746" v="127428" actId="1076"/>
          <ac:spMkLst>
            <pc:docMk/>
            <pc:sldMk cId="2163110923" sldId="342"/>
            <ac:spMk id="32" creationId="{F0CB495A-4E84-8A63-44BC-EEFEE4F2FB7A}"/>
          </ac:spMkLst>
        </pc:spChg>
        <pc:spChg chg="add del mod modVis">
          <ac:chgData name="Muchahary, Frankle" userId="0f2bf491-0617-4378-90b8-89af8fa381b9" providerId="ADAL" clId="{90877F19-00D2-4A00-8128-E78E36266C9A}" dt="2023-11-05T00:43:21.123" v="123506"/>
          <ac:spMkLst>
            <pc:docMk/>
            <pc:sldMk cId="2163110923" sldId="342"/>
            <ac:spMk id="34" creationId="{199E66B2-0BA6-A6CE-E386-E3C2B96FC2FA}"/>
          </ac:spMkLst>
        </pc:spChg>
        <pc:spChg chg="add del mod modVis">
          <ac:chgData name="Muchahary, Frankle" userId="0f2bf491-0617-4378-90b8-89af8fa381b9" providerId="ADAL" clId="{90877F19-00D2-4A00-8128-E78E36266C9A}" dt="2023-11-05T00:43:25.457" v="123540"/>
          <ac:spMkLst>
            <pc:docMk/>
            <pc:sldMk cId="2163110923" sldId="342"/>
            <ac:spMk id="35" creationId="{7E8B630C-33B7-A669-464F-8541A95E45FE}"/>
          </ac:spMkLst>
        </pc:spChg>
        <pc:spChg chg="add del mod modVis">
          <ac:chgData name="Muchahary, Frankle" userId="0f2bf491-0617-4378-90b8-89af8fa381b9" providerId="ADAL" clId="{90877F19-00D2-4A00-8128-E78E36266C9A}" dt="2023-11-05T02:34:39.798" v="127005"/>
          <ac:spMkLst>
            <pc:docMk/>
            <pc:sldMk cId="2163110923" sldId="342"/>
            <ac:spMk id="35" creationId="{A3DD6E26-C301-D6F5-347A-FFEACE58C8C9}"/>
          </ac:spMkLst>
        </pc:spChg>
        <pc:spChg chg="add del mod modVis">
          <ac:chgData name="Muchahary, Frankle" userId="0f2bf491-0617-4378-90b8-89af8fa381b9" providerId="ADAL" clId="{90877F19-00D2-4A00-8128-E78E36266C9A}" dt="2023-11-05T00:43:27.787" v="123577"/>
          <ac:spMkLst>
            <pc:docMk/>
            <pc:sldMk cId="2163110923" sldId="342"/>
            <ac:spMk id="36" creationId="{81C3E07B-F46B-180A-944B-30C9FC4D4EE8}"/>
          </ac:spMkLst>
        </pc:spChg>
        <pc:spChg chg="add del mod modVis">
          <ac:chgData name="Muchahary, Frankle" userId="0f2bf491-0617-4378-90b8-89af8fa381b9" providerId="ADAL" clId="{90877F19-00D2-4A00-8128-E78E36266C9A}" dt="2023-11-05T02:35:38.705" v="127125"/>
          <ac:spMkLst>
            <pc:docMk/>
            <pc:sldMk cId="2163110923" sldId="342"/>
            <ac:spMk id="36" creationId="{CFD6E6D1-31FD-54A2-8FA6-368DDDD4FEAC}"/>
          </ac:spMkLst>
        </pc:spChg>
        <pc:spChg chg="add del mod modVis">
          <ac:chgData name="Muchahary, Frankle" userId="0f2bf491-0617-4378-90b8-89af8fa381b9" providerId="ADAL" clId="{90877F19-00D2-4A00-8128-E78E36266C9A}" dt="2023-11-05T00:44:08.764" v="123605"/>
          <ac:spMkLst>
            <pc:docMk/>
            <pc:sldMk cId="2163110923" sldId="342"/>
            <ac:spMk id="37" creationId="{79F18A4C-0DAD-BF2E-15C3-A139C47BE7E8}"/>
          </ac:spMkLst>
        </pc:spChg>
        <pc:spChg chg="add del mod modVis">
          <ac:chgData name="Muchahary, Frankle" userId="0f2bf491-0617-4378-90b8-89af8fa381b9" providerId="ADAL" clId="{90877F19-00D2-4A00-8128-E78E36266C9A}" dt="2023-11-05T02:35:41.248" v="127167"/>
          <ac:spMkLst>
            <pc:docMk/>
            <pc:sldMk cId="2163110923" sldId="342"/>
            <ac:spMk id="37" creationId="{A25D61E4-0EA0-E5F1-2413-CC9473F3AED1}"/>
          </ac:spMkLst>
        </pc:spChg>
        <pc:spChg chg="add del mod modVis">
          <ac:chgData name="Muchahary, Frankle" userId="0f2bf491-0617-4378-90b8-89af8fa381b9" providerId="ADAL" clId="{90877F19-00D2-4A00-8128-E78E36266C9A}" dt="2023-11-05T02:35:42.375" v="127209"/>
          <ac:spMkLst>
            <pc:docMk/>
            <pc:sldMk cId="2163110923" sldId="342"/>
            <ac:spMk id="38" creationId="{08B3F256-8217-3294-0310-FAFD5942AF35}"/>
          </ac:spMkLst>
        </pc:spChg>
        <pc:spChg chg="add del mod modVis">
          <ac:chgData name="Muchahary, Frankle" userId="0f2bf491-0617-4378-90b8-89af8fa381b9" providerId="ADAL" clId="{90877F19-00D2-4A00-8128-E78E36266C9A}" dt="2023-11-05T00:44:16.018" v="123632"/>
          <ac:spMkLst>
            <pc:docMk/>
            <pc:sldMk cId="2163110923" sldId="342"/>
            <ac:spMk id="38" creationId="{1F041392-6000-373F-AE4F-966FEB7667D5}"/>
          </ac:spMkLst>
        </pc:spChg>
        <pc:spChg chg="add del mod modVis">
          <ac:chgData name="Muchahary, Frankle" userId="0f2bf491-0617-4378-90b8-89af8fa381b9" providerId="ADAL" clId="{90877F19-00D2-4A00-8128-E78E36266C9A}" dt="2023-11-05T00:44:21.928" v="123659"/>
          <ac:spMkLst>
            <pc:docMk/>
            <pc:sldMk cId="2163110923" sldId="342"/>
            <ac:spMk id="39" creationId="{30C0DE4F-E823-F91D-9F0B-45E1B5898AD2}"/>
          </ac:spMkLst>
        </pc:spChg>
        <pc:spChg chg="del mod modVis">
          <ac:chgData name="Muchahary, Frankle" userId="0f2bf491-0617-4378-90b8-89af8fa381b9" providerId="ADAL" clId="{90877F19-00D2-4A00-8128-E78E36266C9A}" dt="2023-11-05T00:58:08.172" v="124370" actId="478"/>
          <ac:spMkLst>
            <pc:docMk/>
            <pc:sldMk cId="2163110923" sldId="342"/>
            <ac:spMk id="41" creationId="{48BBBA7F-6482-DF56-7F66-641C1367BF38}"/>
          </ac:spMkLst>
        </pc:spChg>
        <pc:spChg chg="add del mod modVis">
          <ac:chgData name="Muchahary, Frankle" userId="0f2bf491-0617-4378-90b8-89af8fa381b9" providerId="ADAL" clId="{90877F19-00D2-4A00-8128-E78E36266C9A}" dt="2023-11-05T00:58:11.986" v="124406"/>
          <ac:spMkLst>
            <pc:docMk/>
            <pc:sldMk cId="2163110923" sldId="342"/>
            <ac:spMk id="42" creationId="{AFB07D5F-9108-67FE-E983-FB2C8AEBD15C}"/>
          </ac:spMkLst>
        </pc:spChg>
        <pc:spChg chg="add del mod modVis">
          <ac:chgData name="Muchahary, Frankle" userId="0f2bf491-0617-4378-90b8-89af8fa381b9" providerId="ADAL" clId="{90877F19-00D2-4A00-8128-E78E36266C9A}" dt="2023-11-05T00:58:13.886" v="124439"/>
          <ac:spMkLst>
            <pc:docMk/>
            <pc:sldMk cId="2163110923" sldId="342"/>
            <ac:spMk id="43" creationId="{98CCE3A5-F208-49BF-37F2-C3F6953C644F}"/>
          </ac:spMkLst>
        </pc:spChg>
        <pc:spChg chg="add del mod modVis">
          <ac:chgData name="Muchahary, Frankle" userId="0f2bf491-0617-4378-90b8-89af8fa381b9" providerId="ADAL" clId="{90877F19-00D2-4A00-8128-E78E36266C9A}" dt="2023-11-05T00:58:29.759" v="124493"/>
          <ac:spMkLst>
            <pc:docMk/>
            <pc:sldMk cId="2163110923" sldId="342"/>
            <ac:spMk id="44" creationId="{1B7B51A6-D291-8064-6972-846EC3A2F861}"/>
          </ac:spMkLst>
        </pc:spChg>
        <pc:spChg chg="add del mod modVis">
          <ac:chgData name="Muchahary, Frankle" userId="0f2bf491-0617-4378-90b8-89af8fa381b9" providerId="ADAL" clId="{90877F19-00D2-4A00-8128-E78E36266C9A}" dt="2023-11-05T00:58:32.860" v="124521"/>
          <ac:spMkLst>
            <pc:docMk/>
            <pc:sldMk cId="2163110923" sldId="342"/>
            <ac:spMk id="45" creationId="{2D43FE0C-5711-C019-FD5E-E0887BF1C609}"/>
          </ac:spMkLst>
        </pc:spChg>
        <pc:spChg chg="add del mod modVis">
          <ac:chgData name="Muchahary, Frankle" userId="0f2bf491-0617-4378-90b8-89af8fa381b9" providerId="ADAL" clId="{90877F19-00D2-4A00-8128-E78E36266C9A}" dt="2023-11-05T00:58:35.011" v="124549"/>
          <ac:spMkLst>
            <pc:docMk/>
            <pc:sldMk cId="2163110923" sldId="342"/>
            <ac:spMk id="46" creationId="{284B4930-0F2E-CE4E-2484-476438E6F9D0}"/>
          </ac:spMkLst>
        </pc:spChg>
        <pc:spChg chg="mod">
          <ac:chgData name="Muchahary, Frankle" userId="0f2bf491-0617-4378-90b8-89af8fa381b9" providerId="ADAL" clId="{90877F19-00D2-4A00-8128-E78E36266C9A}" dt="2023-11-08T05:43:01.236" v="163024" actId="1076"/>
          <ac:spMkLst>
            <pc:docMk/>
            <pc:sldMk cId="2163110923" sldId="342"/>
            <ac:spMk id="47" creationId="{C0C4B183-EC15-1CF8-EF03-CC4A23F76B8A}"/>
          </ac:spMkLst>
        </pc:spChg>
        <pc:spChg chg="add del mod modVis">
          <ac:chgData name="Muchahary, Frankle" userId="0f2bf491-0617-4378-90b8-89af8fa381b9" providerId="ADAL" clId="{90877F19-00D2-4A00-8128-E78E36266C9A}" dt="2023-11-05T00:58:39.192" v="124585"/>
          <ac:spMkLst>
            <pc:docMk/>
            <pc:sldMk cId="2163110923" sldId="342"/>
            <ac:spMk id="48" creationId="{728DD22F-CB0D-7B7C-BCCD-8198AC6B63B9}"/>
          </ac:spMkLst>
        </pc:spChg>
        <pc:spChg chg="add del mod modVis">
          <ac:chgData name="Muchahary, Frankle" userId="0f2bf491-0617-4378-90b8-89af8fa381b9" providerId="ADAL" clId="{90877F19-00D2-4A00-8128-E78E36266C9A}" dt="2023-11-05T00:58:40.580" v="124613"/>
          <ac:spMkLst>
            <pc:docMk/>
            <pc:sldMk cId="2163110923" sldId="342"/>
            <ac:spMk id="49" creationId="{9CD9B9BD-4131-4B9D-7FDE-1945F7094099}"/>
          </ac:spMkLst>
        </pc:spChg>
        <pc:spChg chg="add del mod modVis">
          <ac:chgData name="Muchahary, Frankle" userId="0f2bf491-0617-4378-90b8-89af8fa381b9" providerId="ADAL" clId="{90877F19-00D2-4A00-8128-E78E36266C9A}" dt="2023-11-05T00:58:42.781" v="124641"/>
          <ac:spMkLst>
            <pc:docMk/>
            <pc:sldMk cId="2163110923" sldId="342"/>
            <ac:spMk id="50" creationId="{B3FCC52B-F20B-A938-62BD-262013CE93F6}"/>
          </ac:spMkLst>
        </pc:spChg>
        <pc:spChg chg="add del mod modVis">
          <ac:chgData name="Muchahary, Frankle" userId="0f2bf491-0617-4378-90b8-89af8fa381b9" providerId="ADAL" clId="{90877F19-00D2-4A00-8128-E78E36266C9A}" dt="2023-11-05T00:58:47.961" v="124675"/>
          <ac:spMkLst>
            <pc:docMk/>
            <pc:sldMk cId="2163110923" sldId="342"/>
            <ac:spMk id="51" creationId="{509E92A4-A19D-314E-CE5F-E1E7620E8F46}"/>
          </ac:spMkLst>
        </pc:spChg>
        <pc:spChg chg="add del mod modVis">
          <ac:chgData name="Muchahary, Frankle" userId="0f2bf491-0617-4378-90b8-89af8fa381b9" providerId="ADAL" clId="{90877F19-00D2-4A00-8128-E78E36266C9A}" dt="2023-11-05T00:58:49.120" v="124702"/>
          <ac:spMkLst>
            <pc:docMk/>
            <pc:sldMk cId="2163110923" sldId="342"/>
            <ac:spMk id="52" creationId="{4C5A3DFD-5576-702A-0824-376BB8212A61}"/>
          </ac:spMkLst>
        </pc:spChg>
        <pc:spChg chg="mod">
          <ac:chgData name="Muchahary, Frankle" userId="0f2bf491-0617-4378-90b8-89af8fa381b9" providerId="ADAL" clId="{90877F19-00D2-4A00-8128-E78E36266C9A}" dt="2023-11-05T02:39:48.174" v="127482" actId="14100"/>
          <ac:spMkLst>
            <pc:docMk/>
            <pc:sldMk cId="2163110923" sldId="342"/>
            <ac:spMk id="54" creationId="{DAA88CFF-AE49-D57A-2166-C06E54586504}"/>
          </ac:spMkLst>
        </pc:spChg>
        <pc:spChg chg="add del mod modVis">
          <ac:chgData name="Muchahary, Frankle" userId="0f2bf491-0617-4378-90b8-89af8fa381b9" providerId="ADAL" clId="{90877F19-00D2-4A00-8128-E78E36266C9A}" dt="2023-11-05T00:58:51.132" v="124737"/>
          <ac:spMkLst>
            <pc:docMk/>
            <pc:sldMk cId="2163110923" sldId="342"/>
            <ac:spMk id="56" creationId="{69F2D499-89BF-EBE7-3C12-791DCA260731}"/>
          </ac:spMkLst>
        </pc:spChg>
        <pc:spChg chg="mod">
          <ac:chgData name="Muchahary, Frankle" userId="0f2bf491-0617-4378-90b8-89af8fa381b9" providerId="ADAL" clId="{90877F19-00D2-4A00-8128-E78E36266C9A}" dt="2023-11-05T02:39:48.174" v="127482" actId="14100"/>
          <ac:spMkLst>
            <pc:docMk/>
            <pc:sldMk cId="2163110923" sldId="342"/>
            <ac:spMk id="57" creationId="{5C5F1A32-F401-DBD4-90EC-F7616CE22E7D}"/>
          </ac:spMkLst>
        </pc:spChg>
        <pc:spChg chg="mod">
          <ac:chgData name="Muchahary, Frankle" userId="0f2bf491-0617-4378-90b8-89af8fa381b9" providerId="ADAL" clId="{90877F19-00D2-4A00-8128-E78E36266C9A}" dt="2023-11-05T02:39:48.174" v="127482" actId="14100"/>
          <ac:spMkLst>
            <pc:docMk/>
            <pc:sldMk cId="2163110923" sldId="342"/>
            <ac:spMk id="70" creationId="{4DADF261-8868-92BC-E121-32258FB35B07}"/>
          </ac:spMkLst>
        </pc:spChg>
        <pc:spChg chg="mod">
          <ac:chgData name="Muchahary, Frankle" userId="0f2bf491-0617-4378-90b8-89af8fa381b9" providerId="ADAL" clId="{90877F19-00D2-4A00-8128-E78E36266C9A}" dt="2023-11-06T07:39:07.134" v="157468" actId="20577"/>
          <ac:spMkLst>
            <pc:docMk/>
            <pc:sldMk cId="2163110923" sldId="342"/>
            <ac:spMk id="73" creationId="{E39B8983-DE77-65AC-6602-2C0D36B40C71}"/>
          </ac:spMkLst>
        </pc:spChg>
        <pc:spChg chg="mod">
          <ac:chgData name="Muchahary, Frankle" userId="0f2bf491-0617-4378-90b8-89af8fa381b9" providerId="ADAL" clId="{90877F19-00D2-4A00-8128-E78E36266C9A}" dt="2023-11-05T18:03:15.655" v="147367" actId="113"/>
          <ac:spMkLst>
            <pc:docMk/>
            <pc:sldMk cId="2163110923" sldId="342"/>
            <ac:spMk id="87" creationId="{3C7B8F76-76F8-9263-578B-D8FF2818A74D}"/>
          </ac:spMkLst>
        </pc:spChg>
        <pc:spChg chg="del mod">
          <ac:chgData name="Muchahary, Frankle" userId="0f2bf491-0617-4378-90b8-89af8fa381b9" providerId="ADAL" clId="{90877F19-00D2-4A00-8128-E78E36266C9A}" dt="2023-11-05T17:30:09.297" v="145734" actId="478"/>
          <ac:spMkLst>
            <pc:docMk/>
            <pc:sldMk cId="2163110923" sldId="342"/>
            <ac:spMk id="120" creationId="{88B6507C-E1A4-EE31-50D6-BF71BBCA20CE}"/>
          </ac:spMkLst>
        </pc:spChg>
        <pc:spChg chg="add del mod">
          <ac:chgData name="Muchahary, Frankle" userId="0f2bf491-0617-4378-90b8-89af8fa381b9" providerId="ADAL" clId="{90877F19-00D2-4A00-8128-E78E36266C9A}" dt="2023-11-08T05:43:01.236" v="163024" actId="1076"/>
          <ac:spMkLst>
            <pc:docMk/>
            <pc:sldMk cId="2163110923" sldId="342"/>
            <ac:spMk id="121" creationId="{62B92ED7-0B68-38F3-F74A-0C0D7734C880}"/>
          </ac:spMkLst>
        </pc:spChg>
        <pc:grpChg chg="mod">
          <ac:chgData name="Muchahary, Frankle" userId="0f2bf491-0617-4378-90b8-89af8fa381b9" providerId="ADAL" clId="{90877F19-00D2-4A00-8128-E78E36266C9A}" dt="2023-11-05T02:38:59.746" v="127428" actId="1076"/>
          <ac:grpSpMkLst>
            <pc:docMk/>
            <pc:sldMk cId="2163110923" sldId="342"/>
            <ac:grpSpMk id="24" creationId="{F0ED947B-426F-F204-2C01-41C07FF01DFB}"/>
          </ac:grpSpMkLst>
        </pc:grpChg>
        <pc:grpChg chg="mod">
          <ac:chgData name="Muchahary, Frankle" userId="0f2bf491-0617-4378-90b8-89af8fa381b9" providerId="ADAL" clId="{90877F19-00D2-4A00-8128-E78E36266C9A}" dt="2023-11-05T02:38:59.746" v="127428" actId="1076"/>
          <ac:grpSpMkLst>
            <pc:docMk/>
            <pc:sldMk cId="2163110923" sldId="342"/>
            <ac:grpSpMk id="27" creationId="{E3DCC40A-E5A2-1685-CE13-0AEF5CCD9383}"/>
          </ac:grpSpMkLst>
        </pc:grpChg>
        <pc:grpChg chg="add mod">
          <ac:chgData name="Muchahary, Frankle" userId="0f2bf491-0617-4378-90b8-89af8fa381b9" providerId="ADAL" clId="{90877F19-00D2-4A00-8128-E78E36266C9A}" dt="2023-11-08T05:43:01.236" v="163024" actId="1076"/>
          <ac:grpSpMkLst>
            <pc:docMk/>
            <pc:sldMk cId="2163110923" sldId="342"/>
            <ac:grpSpMk id="34" creationId="{6BEF6E4D-5B36-182B-53E4-6C52AEFA354E}"/>
          </ac:grpSpMkLst>
        </pc:grpChg>
        <pc:grpChg chg="mod">
          <ac:chgData name="Muchahary, Frankle" userId="0f2bf491-0617-4378-90b8-89af8fa381b9" providerId="ADAL" clId="{90877F19-00D2-4A00-8128-E78E36266C9A}" dt="2023-11-05T02:39:48.174" v="127482" actId="14100"/>
          <ac:grpSpMkLst>
            <pc:docMk/>
            <pc:sldMk cId="2163110923" sldId="342"/>
            <ac:grpSpMk id="53" creationId="{283E8311-CEE4-39BE-A300-CB856EE24753}"/>
          </ac:grpSpMkLst>
        </pc:grpChg>
        <pc:grpChg chg="mod">
          <ac:chgData name="Muchahary, Frankle" userId="0f2bf491-0617-4378-90b8-89af8fa381b9" providerId="ADAL" clId="{90877F19-00D2-4A00-8128-E78E36266C9A}" dt="2023-11-05T02:39:48.174" v="127482" actId="14100"/>
          <ac:grpSpMkLst>
            <pc:docMk/>
            <pc:sldMk cId="2163110923" sldId="342"/>
            <ac:grpSpMk id="71" creationId="{56118B30-E879-BD52-3ED1-A141EE9B3DA3}"/>
          </ac:grpSpMkLst>
        </pc:grpChg>
        <pc:grpChg chg="mod">
          <ac:chgData name="Muchahary, Frankle" userId="0f2bf491-0617-4378-90b8-89af8fa381b9" providerId="ADAL" clId="{90877F19-00D2-4A00-8128-E78E36266C9A}" dt="2023-11-05T02:38:59.746" v="127428" actId="1076"/>
          <ac:grpSpMkLst>
            <pc:docMk/>
            <pc:sldMk cId="2163110923" sldId="342"/>
            <ac:grpSpMk id="74" creationId="{12087B62-B001-95BE-1990-50FF77621DCA}"/>
          </ac:grpSpMkLst>
        </pc:grpChg>
        <pc:grpChg chg="mod">
          <ac:chgData name="Muchahary, Frankle" userId="0f2bf491-0617-4378-90b8-89af8fa381b9" providerId="ADAL" clId="{90877F19-00D2-4A00-8128-E78E36266C9A}" dt="2023-11-05T02:39:48.174" v="127482" actId="14100"/>
          <ac:grpSpMkLst>
            <pc:docMk/>
            <pc:sldMk cId="2163110923" sldId="342"/>
            <ac:grpSpMk id="88" creationId="{59FBEB72-852F-A047-8ED3-7F641792809F}"/>
          </ac:grpSpMkLst>
        </pc:grpChg>
        <pc:graphicFrameChg chg="mod">
          <ac:chgData name="Muchahary, Frankle" userId="0f2bf491-0617-4378-90b8-89af8fa381b9" providerId="ADAL" clId="{90877F19-00D2-4A00-8128-E78E36266C9A}" dt="2023-11-08T07:14:46.922" v="169744"/>
          <ac:graphicFrameMkLst>
            <pc:docMk/>
            <pc:sldMk cId="2163110923" sldId="342"/>
            <ac:graphicFrameMk id="4" creationId="{FD4A65FB-339A-B2BC-4155-257FFC3BBBB9}"/>
          </ac:graphicFrameMkLst>
        </pc:graphicFrameChg>
        <pc:picChg chg="mod">
          <ac:chgData name="Muchahary, Frankle" userId="0f2bf491-0617-4378-90b8-89af8fa381b9" providerId="ADAL" clId="{90877F19-00D2-4A00-8128-E78E36266C9A}" dt="2023-11-08T05:43:01.236" v="163024" actId="1076"/>
          <ac:picMkLst>
            <pc:docMk/>
            <pc:sldMk cId="2163110923" sldId="342"/>
            <ac:picMk id="113" creationId="{7B4B5499-F600-4BA9-0BCB-255FA09B4270}"/>
          </ac:picMkLst>
        </pc:picChg>
        <pc:picChg chg="del mod">
          <ac:chgData name="Muchahary, Frankle" userId="0f2bf491-0617-4378-90b8-89af8fa381b9" providerId="ADAL" clId="{90877F19-00D2-4A00-8128-E78E36266C9A}" dt="2023-11-05T17:30:10.629" v="145735" actId="478"/>
          <ac:picMkLst>
            <pc:docMk/>
            <pc:sldMk cId="2163110923" sldId="342"/>
            <ac:picMk id="116" creationId="{A1A78884-635D-7B81-90C8-E7BDD1EB3A58}"/>
          </ac:picMkLst>
        </pc:picChg>
        <pc:picChg chg="add del mod">
          <ac:chgData name="Muchahary, Frankle" userId="0f2bf491-0617-4378-90b8-89af8fa381b9" providerId="ADAL" clId="{90877F19-00D2-4A00-8128-E78E36266C9A}" dt="2023-11-08T05:43:01.236" v="163024" actId="1076"/>
          <ac:picMkLst>
            <pc:docMk/>
            <pc:sldMk cId="2163110923" sldId="342"/>
            <ac:picMk id="124" creationId="{B5855C86-D336-47A5-808A-4E77E1B21C4E}"/>
          </ac:picMkLst>
        </pc:picChg>
        <pc:cxnChg chg="mod">
          <ac:chgData name="Muchahary, Frankle" userId="0f2bf491-0617-4378-90b8-89af8fa381b9" providerId="ADAL" clId="{90877F19-00D2-4A00-8128-E78E36266C9A}" dt="2023-11-05T02:38:59.746" v="127428" actId="1076"/>
          <ac:cxnSpMkLst>
            <pc:docMk/>
            <pc:sldMk cId="2163110923" sldId="342"/>
            <ac:cxnSpMk id="31" creationId="{7D19BAA9-FF07-4E94-401D-D079FF93A101}"/>
          </ac:cxnSpMkLst>
        </pc:cxnChg>
        <pc:cxnChg chg="mod">
          <ac:chgData name="Muchahary, Frankle" userId="0f2bf491-0617-4378-90b8-89af8fa381b9" providerId="ADAL" clId="{90877F19-00D2-4A00-8128-E78E36266C9A}" dt="2023-11-05T02:38:59.746" v="127428" actId="1076"/>
          <ac:cxnSpMkLst>
            <pc:docMk/>
            <pc:sldMk cId="2163110923" sldId="342"/>
            <ac:cxnSpMk id="33" creationId="{FA7CA769-DA49-9AD3-F991-1076E616683D}"/>
          </ac:cxnSpMkLst>
        </pc:cxnChg>
        <pc:cxnChg chg="mod">
          <ac:chgData name="Muchahary, Frankle" userId="0f2bf491-0617-4378-90b8-89af8fa381b9" providerId="ADAL" clId="{90877F19-00D2-4A00-8128-E78E36266C9A}" dt="2023-11-05T02:39:48.174" v="127482" actId="14100"/>
          <ac:cxnSpMkLst>
            <pc:docMk/>
            <pc:sldMk cId="2163110923" sldId="342"/>
            <ac:cxnSpMk id="55" creationId="{CCFB3FFD-9F5B-BEA9-847A-F144086BE84B}"/>
          </ac:cxnSpMkLst>
        </pc:cxnChg>
        <pc:cxnChg chg="mod">
          <ac:chgData name="Muchahary, Frankle" userId="0f2bf491-0617-4378-90b8-89af8fa381b9" providerId="ADAL" clId="{90877F19-00D2-4A00-8128-E78E36266C9A}" dt="2023-11-05T02:39:48.174" v="127482" actId="14100"/>
          <ac:cxnSpMkLst>
            <pc:docMk/>
            <pc:sldMk cId="2163110923" sldId="342"/>
            <ac:cxnSpMk id="59" creationId="{0D21AE3C-1E8A-0526-2FBA-2325C445FA86}"/>
          </ac:cxnSpMkLst>
        </pc:cxnChg>
        <pc:cxnChg chg="mod">
          <ac:chgData name="Muchahary, Frankle" userId="0f2bf491-0617-4378-90b8-89af8fa381b9" providerId="ADAL" clId="{90877F19-00D2-4A00-8128-E78E36266C9A}" dt="2023-11-08T05:43:01.236" v="163024" actId="1076"/>
          <ac:cxnSpMkLst>
            <pc:docMk/>
            <pc:sldMk cId="2163110923" sldId="342"/>
            <ac:cxnSpMk id="96" creationId="{4EF1C26D-620F-4D8F-FDD6-86BDC1B5D99F}"/>
          </ac:cxnSpMkLst>
        </pc:cxnChg>
        <pc:cxnChg chg="add del mod">
          <ac:chgData name="Muchahary, Frankle" userId="0f2bf491-0617-4378-90b8-89af8fa381b9" providerId="ADAL" clId="{90877F19-00D2-4A00-8128-E78E36266C9A}" dt="2023-11-08T05:43:01.236" v="163024" actId="1076"/>
          <ac:cxnSpMkLst>
            <pc:docMk/>
            <pc:sldMk cId="2163110923" sldId="342"/>
            <ac:cxnSpMk id="108" creationId="{E0A1937A-06B5-76CE-CB29-D7596ED4DFA8}"/>
          </ac:cxnSpMkLst>
        </pc:cxnChg>
        <pc:cxnChg chg="del mod">
          <ac:chgData name="Muchahary, Frankle" userId="0f2bf491-0617-4378-90b8-89af8fa381b9" providerId="ADAL" clId="{90877F19-00D2-4A00-8128-E78E36266C9A}" dt="2023-11-05T17:30:12.707" v="145736" actId="478"/>
          <ac:cxnSpMkLst>
            <pc:docMk/>
            <pc:sldMk cId="2163110923" sldId="342"/>
            <ac:cxnSpMk id="118" creationId="{E0A1600F-CD1C-36CE-11DE-472FAF1EC878}"/>
          </ac:cxnSpMkLst>
        </pc:cxnChg>
      </pc:sldChg>
      <pc:sldChg chg="addSp modSp mod modTransition modShow modNotesTx">
        <pc:chgData name="Muchahary, Frankle" userId="0f2bf491-0617-4378-90b8-89af8fa381b9" providerId="ADAL" clId="{90877F19-00D2-4A00-8128-E78E36266C9A}" dt="2023-11-08T22:44:06.753" v="183544" actId="20577"/>
        <pc:sldMkLst>
          <pc:docMk/>
          <pc:sldMk cId="49457783" sldId="344"/>
        </pc:sldMkLst>
        <pc:spChg chg="mod">
          <ac:chgData name="Muchahary, Frankle" userId="0f2bf491-0617-4378-90b8-89af8fa381b9" providerId="ADAL" clId="{90877F19-00D2-4A00-8128-E78E36266C9A}" dt="2023-11-08T06:25:01.713" v="165634" actId="1076"/>
          <ac:spMkLst>
            <pc:docMk/>
            <pc:sldMk cId="49457783" sldId="344"/>
            <ac:spMk id="4" creationId="{E0CC89F0-C4F6-5E89-7129-09EE380CF4BC}"/>
          </ac:spMkLst>
        </pc:spChg>
        <pc:spChg chg="mod">
          <ac:chgData name="Muchahary, Frankle" userId="0f2bf491-0617-4378-90b8-89af8fa381b9" providerId="ADAL" clId="{90877F19-00D2-4A00-8128-E78E36266C9A}" dt="2023-11-06T06:03:26.553" v="153374" actId="122"/>
          <ac:spMkLst>
            <pc:docMk/>
            <pc:sldMk cId="49457783" sldId="344"/>
            <ac:spMk id="10" creationId="{3C1825B9-F36E-6F0B-687F-5D114E0AE34C}"/>
          </ac:spMkLst>
        </pc:spChg>
        <pc:spChg chg="mod">
          <ac:chgData name="Muchahary, Frankle" userId="0f2bf491-0617-4378-90b8-89af8fa381b9" providerId="ADAL" clId="{90877F19-00D2-4A00-8128-E78E36266C9A}" dt="2023-11-06T06:04:13.166" v="153376" actId="122"/>
          <ac:spMkLst>
            <pc:docMk/>
            <pc:sldMk cId="49457783" sldId="344"/>
            <ac:spMk id="19" creationId="{310B8FFB-1DFB-9CDF-FDBA-C149C60899E0}"/>
          </ac:spMkLst>
        </pc:spChg>
        <pc:spChg chg="mod">
          <ac:chgData name="Muchahary, Frankle" userId="0f2bf491-0617-4378-90b8-89af8fa381b9" providerId="ADAL" clId="{90877F19-00D2-4A00-8128-E78E36266C9A}" dt="2023-11-08T06:23:50.911" v="165626" actId="1035"/>
          <ac:spMkLst>
            <pc:docMk/>
            <pc:sldMk cId="49457783" sldId="344"/>
            <ac:spMk id="41" creationId="{9FC13BF8-0D75-BD8C-E404-69F40533ADC3}"/>
          </ac:spMkLst>
        </pc:spChg>
        <pc:spChg chg="mod">
          <ac:chgData name="Muchahary, Frankle" userId="0f2bf491-0617-4378-90b8-89af8fa381b9" providerId="ADAL" clId="{90877F19-00D2-4A00-8128-E78E36266C9A}" dt="2023-11-08T06:23:45.758" v="165620" actId="1035"/>
          <ac:spMkLst>
            <pc:docMk/>
            <pc:sldMk cId="49457783" sldId="344"/>
            <ac:spMk id="43" creationId="{F6BA117E-0D70-68CA-6A6D-B143D18A241E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45" creationId="{D8876B27-0868-D6A0-40DF-8F023452E636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47" creationId="{4925EE13-27FF-4848-2668-7A73E3085FED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49" creationId="{0B2F7E35-565E-5F2A-8276-4D815B4CF361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0" creationId="{2A94336B-F018-5F7F-7F85-FC84006192AA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1" creationId="{EBDDCB94-8C59-00C7-54CA-58ABCA3F70E9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3" creationId="{32802DFD-C58A-0A81-CD30-CB756ADC9613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4" creationId="{A1174F1A-02A4-8EB6-3D58-92DE5E7DE255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5" creationId="{9DF76CF2-C9EF-B9ED-6706-08AB2BC69F13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6" creationId="{61C8A954-4893-3FE7-AE24-AD59579D56E4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7" creationId="{E7AA4746-1DE1-6A9E-BF05-B78B3EC854CF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59" creationId="{BB80C42C-05BC-421B-44D5-A8D1616B26D0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0" creationId="{82C44519-43C0-484D-AC98-034731D3B3EF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1" creationId="{D8FA5F06-B2CD-B4FE-8A2F-8B27E6A3F182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2" creationId="{287EA0B6-1EDB-B97C-465D-B4AB60CCB2EC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3" creationId="{BD68D9A8-38D1-5FB8-840D-3EC478C87C6A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5" creationId="{B4973DE2-76E9-56BD-FA7F-FE6905E0EEF7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6" creationId="{FE6B20BB-6CE5-2E1F-1684-F73892D922DF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7" creationId="{5EE53B77-3B62-3C69-CB66-063872D016E6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8" creationId="{63DB9AC2-E189-3037-61AE-8E90C6C8FB3D}"/>
          </ac:spMkLst>
        </pc:spChg>
        <pc:spChg chg="mod">
          <ac:chgData name="Muchahary, Frankle" userId="0f2bf491-0617-4378-90b8-89af8fa381b9" providerId="ADAL" clId="{90877F19-00D2-4A00-8128-E78E36266C9A}" dt="2023-11-08T06:24:38.965" v="165631" actId="571"/>
          <ac:spMkLst>
            <pc:docMk/>
            <pc:sldMk cId="49457783" sldId="344"/>
            <ac:spMk id="69" creationId="{56C5C307-DF0F-3E1A-89BF-3E8D2B50F300}"/>
          </ac:spMkLst>
        </pc:spChg>
        <pc:grpChg chg="add mod">
          <ac:chgData name="Muchahary, Frankle" userId="0f2bf491-0617-4378-90b8-89af8fa381b9" providerId="ADAL" clId="{90877F19-00D2-4A00-8128-E78E36266C9A}" dt="2023-11-08T06:24:38.965" v="165631" actId="571"/>
          <ac:grpSpMkLst>
            <pc:docMk/>
            <pc:sldMk cId="49457783" sldId="344"/>
            <ac:grpSpMk id="2" creationId="{84509EF0-0540-2C51-EE89-A3A8FF6C2060}"/>
          </ac:grpSpMkLst>
        </pc:grpChg>
        <pc:grpChg chg="mod">
          <ac:chgData name="Muchahary, Frankle" userId="0f2bf491-0617-4378-90b8-89af8fa381b9" providerId="ADAL" clId="{90877F19-00D2-4A00-8128-E78E36266C9A}" dt="2023-11-08T06:25:01.713" v="165634" actId="1076"/>
          <ac:grpSpMkLst>
            <pc:docMk/>
            <pc:sldMk cId="49457783" sldId="344"/>
            <ac:grpSpMk id="5" creationId="{74895489-64D0-F6E7-187A-48A579BBF7C5}"/>
          </ac:grpSpMkLst>
        </pc:grpChg>
        <pc:grpChg chg="mod">
          <ac:chgData name="Muchahary, Frankle" userId="0f2bf491-0617-4378-90b8-89af8fa381b9" providerId="ADAL" clId="{90877F19-00D2-4A00-8128-E78E36266C9A}" dt="2023-11-08T06:25:01.713" v="165634" actId="1076"/>
          <ac:grpSpMkLst>
            <pc:docMk/>
            <pc:sldMk cId="49457783" sldId="344"/>
            <ac:grpSpMk id="15" creationId="{52175473-2753-2B7E-5027-DFDB9E6011B2}"/>
          </ac:grpSpMkLst>
        </pc:grpChg>
        <pc:grpChg chg="mod">
          <ac:chgData name="Muchahary, Frankle" userId="0f2bf491-0617-4378-90b8-89af8fa381b9" providerId="ADAL" clId="{90877F19-00D2-4A00-8128-E78E36266C9A}" dt="2023-11-08T06:25:01.713" v="165634" actId="1076"/>
          <ac:grpSpMkLst>
            <pc:docMk/>
            <pc:sldMk cId="49457783" sldId="344"/>
            <ac:grpSpMk id="21" creationId="{7E568BCB-AABF-B4F5-9B3D-2DC694BA00FD}"/>
          </ac:grpSpMkLst>
        </pc:grpChg>
        <pc:grpChg chg="mod">
          <ac:chgData name="Muchahary, Frankle" userId="0f2bf491-0617-4378-90b8-89af8fa381b9" providerId="ADAL" clId="{90877F19-00D2-4A00-8128-E78E36266C9A}" dt="2023-11-08T06:25:01.713" v="165634" actId="1076"/>
          <ac:grpSpMkLst>
            <pc:docMk/>
            <pc:sldMk cId="49457783" sldId="344"/>
            <ac:grpSpMk id="27" creationId="{06F43042-F607-7329-F93C-13264F3B22B1}"/>
          </ac:grpSpMkLst>
        </pc:grpChg>
        <pc:grpChg chg="mod">
          <ac:chgData name="Muchahary, Frankle" userId="0f2bf491-0617-4378-90b8-89af8fa381b9" providerId="ADAL" clId="{90877F19-00D2-4A00-8128-E78E36266C9A}" dt="2023-11-08T06:25:01.713" v="165634" actId="1076"/>
          <ac:grpSpMkLst>
            <pc:docMk/>
            <pc:sldMk cId="49457783" sldId="344"/>
            <ac:grpSpMk id="33" creationId="{A9FCCDA2-41F7-1280-ECB3-7B1EBEA86348}"/>
          </ac:grpSpMkLst>
        </pc:grpChg>
        <pc:grpChg chg="add mod">
          <ac:chgData name="Muchahary, Frankle" userId="0f2bf491-0617-4378-90b8-89af8fa381b9" providerId="ADAL" clId="{90877F19-00D2-4A00-8128-E78E36266C9A}" dt="2023-11-08T06:24:38.965" v="165631" actId="571"/>
          <ac:grpSpMkLst>
            <pc:docMk/>
            <pc:sldMk cId="49457783" sldId="344"/>
            <ac:grpSpMk id="52" creationId="{0C5F85AF-3A37-6ADC-CF0B-770721239C17}"/>
          </ac:grpSpMkLst>
        </pc:grpChg>
        <pc:grpChg chg="add mod">
          <ac:chgData name="Muchahary, Frankle" userId="0f2bf491-0617-4378-90b8-89af8fa381b9" providerId="ADAL" clId="{90877F19-00D2-4A00-8128-E78E36266C9A}" dt="2023-11-08T06:24:38.965" v="165631" actId="571"/>
          <ac:grpSpMkLst>
            <pc:docMk/>
            <pc:sldMk cId="49457783" sldId="344"/>
            <ac:grpSpMk id="58" creationId="{0ACAB849-7877-71E1-F4C2-E1EC1BAE05C7}"/>
          </ac:grpSpMkLst>
        </pc:grpChg>
        <pc:grpChg chg="add mod">
          <ac:chgData name="Muchahary, Frankle" userId="0f2bf491-0617-4378-90b8-89af8fa381b9" providerId="ADAL" clId="{90877F19-00D2-4A00-8128-E78E36266C9A}" dt="2023-11-08T06:24:38.965" v="165631" actId="571"/>
          <ac:grpSpMkLst>
            <pc:docMk/>
            <pc:sldMk cId="49457783" sldId="344"/>
            <ac:grpSpMk id="64" creationId="{2D27269E-83D7-179D-A850-00E17799B14E}"/>
          </ac:grpSpMkLst>
        </pc:grpChg>
        <pc:graphicFrameChg chg="mod">
          <ac:chgData name="Muchahary, Frankle" userId="0f2bf491-0617-4378-90b8-89af8fa381b9" providerId="ADAL" clId="{90877F19-00D2-4A00-8128-E78E36266C9A}" dt="2023-11-08T06:25:02.244" v="165638"/>
          <ac:graphicFrameMkLst>
            <pc:docMk/>
            <pc:sldMk cId="49457783" sldId="344"/>
            <ac:graphicFrameMk id="14" creationId="{17A90CED-A26D-EE3C-D1E0-6B7BEBBD1632}"/>
          </ac:graphicFrameMkLst>
        </pc:graphicFrameChg>
        <pc:picChg chg="mod">
          <ac:chgData name="Muchahary, Frankle" userId="0f2bf491-0617-4378-90b8-89af8fa381b9" providerId="ADAL" clId="{90877F19-00D2-4A00-8128-E78E36266C9A}" dt="2023-11-08T06:25:01.713" v="165634" actId="1076"/>
          <ac:picMkLst>
            <pc:docMk/>
            <pc:sldMk cId="49457783" sldId="344"/>
            <ac:picMk id="40" creationId="{39E42094-2FD5-339E-6E26-6FBB423DB584}"/>
          </ac:picMkLst>
        </pc:picChg>
        <pc:picChg chg="mod">
          <ac:chgData name="Muchahary, Frankle" userId="0f2bf491-0617-4378-90b8-89af8fa381b9" providerId="ADAL" clId="{90877F19-00D2-4A00-8128-E78E36266C9A}" dt="2023-11-08T06:25:01.713" v="165634" actId="1076"/>
          <ac:picMkLst>
            <pc:docMk/>
            <pc:sldMk cId="49457783" sldId="344"/>
            <ac:picMk id="42" creationId="{443C3472-489D-9577-2FBA-39411F22784F}"/>
          </ac:picMkLst>
        </pc:picChg>
        <pc:picChg chg="mod">
          <ac:chgData name="Muchahary, Frankle" userId="0f2bf491-0617-4378-90b8-89af8fa381b9" providerId="ADAL" clId="{90877F19-00D2-4A00-8128-E78E36266C9A}" dt="2023-11-08T06:25:01.713" v="165634" actId="1076"/>
          <ac:picMkLst>
            <pc:docMk/>
            <pc:sldMk cId="49457783" sldId="344"/>
            <ac:picMk id="44" creationId="{8423AAEE-F23C-4B5F-3547-A09630556690}"/>
          </ac:picMkLst>
        </pc:picChg>
        <pc:picChg chg="mod">
          <ac:chgData name="Muchahary, Frankle" userId="0f2bf491-0617-4378-90b8-89af8fa381b9" providerId="ADAL" clId="{90877F19-00D2-4A00-8128-E78E36266C9A}" dt="2023-11-08T06:25:01.713" v="165634" actId="1076"/>
          <ac:picMkLst>
            <pc:docMk/>
            <pc:sldMk cId="49457783" sldId="344"/>
            <ac:picMk id="46" creationId="{403B38AF-FD26-6177-E1AF-C59427D091C7}"/>
          </ac:picMkLst>
        </pc:picChg>
        <pc:picChg chg="mod">
          <ac:chgData name="Muchahary, Frankle" userId="0f2bf491-0617-4378-90b8-89af8fa381b9" providerId="ADAL" clId="{90877F19-00D2-4A00-8128-E78E36266C9A}" dt="2023-11-08T06:25:01.713" v="165634" actId="1076"/>
          <ac:picMkLst>
            <pc:docMk/>
            <pc:sldMk cId="49457783" sldId="344"/>
            <ac:picMk id="48" creationId="{A7F37ADC-8855-109E-DE27-115765856A82}"/>
          </ac:picMkLst>
        </pc:picChg>
        <pc:picChg chg="add mod">
          <ac:chgData name="Muchahary, Frankle" userId="0f2bf491-0617-4378-90b8-89af8fa381b9" providerId="ADAL" clId="{90877F19-00D2-4A00-8128-E78E36266C9A}" dt="2023-11-08T06:24:38.965" v="165631" actId="571"/>
          <ac:picMkLst>
            <pc:docMk/>
            <pc:sldMk cId="49457783" sldId="344"/>
            <ac:picMk id="70" creationId="{521514BD-9FAA-D7E1-6D1A-3E9E392F9937}"/>
          </ac:picMkLst>
        </pc:picChg>
        <pc:picChg chg="add mod">
          <ac:chgData name="Muchahary, Frankle" userId="0f2bf491-0617-4378-90b8-89af8fa381b9" providerId="ADAL" clId="{90877F19-00D2-4A00-8128-E78E36266C9A}" dt="2023-11-08T06:24:38.965" v="165631" actId="571"/>
          <ac:picMkLst>
            <pc:docMk/>
            <pc:sldMk cId="49457783" sldId="344"/>
            <ac:picMk id="71" creationId="{EA4751A1-A3EE-544F-08E4-A3CD3F4D6DAB}"/>
          </ac:picMkLst>
        </pc:picChg>
        <pc:picChg chg="add mod">
          <ac:chgData name="Muchahary, Frankle" userId="0f2bf491-0617-4378-90b8-89af8fa381b9" providerId="ADAL" clId="{90877F19-00D2-4A00-8128-E78E36266C9A}" dt="2023-11-08T06:24:38.965" v="165631" actId="571"/>
          <ac:picMkLst>
            <pc:docMk/>
            <pc:sldMk cId="49457783" sldId="344"/>
            <ac:picMk id="72" creationId="{980F7423-FEE2-AFB7-D7CF-DE71C9354688}"/>
          </ac:picMkLst>
        </pc:picChg>
        <pc:picChg chg="add mod">
          <ac:chgData name="Muchahary, Frankle" userId="0f2bf491-0617-4378-90b8-89af8fa381b9" providerId="ADAL" clId="{90877F19-00D2-4A00-8128-E78E36266C9A}" dt="2023-11-08T06:24:38.965" v="165631" actId="571"/>
          <ac:picMkLst>
            <pc:docMk/>
            <pc:sldMk cId="49457783" sldId="344"/>
            <ac:picMk id="73" creationId="{F7E0FC55-D80D-01E3-4087-D0806BC52C82}"/>
          </ac:picMkLst>
        </pc:picChg>
        <pc:cxnChg chg="mod">
          <ac:chgData name="Muchahary, Frankle" userId="0f2bf491-0617-4378-90b8-89af8fa381b9" providerId="ADAL" clId="{90877F19-00D2-4A00-8128-E78E36266C9A}" dt="2023-11-08T06:25:01.713" v="165634" actId="1076"/>
          <ac:cxnSpMkLst>
            <pc:docMk/>
            <pc:sldMk cId="49457783" sldId="344"/>
            <ac:cxnSpMk id="3" creationId="{42A6DAAF-249B-6510-8BA0-2A01B667B914}"/>
          </ac:cxnSpMkLst>
        </pc:cxnChg>
        <pc:cxnChg chg="mod">
          <ac:chgData name="Muchahary, Frankle" userId="0f2bf491-0617-4378-90b8-89af8fa381b9" providerId="ADAL" clId="{90877F19-00D2-4A00-8128-E78E36266C9A}" dt="2023-11-08T06:25:01.713" v="165634" actId="1076"/>
          <ac:cxnSpMkLst>
            <pc:docMk/>
            <pc:sldMk cId="49457783" sldId="344"/>
            <ac:cxnSpMk id="8" creationId="{CE38E98D-A47B-1E56-4EE0-7EAA8872D949}"/>
          </ac:cxnSpMkLst>
        </pc:cxnChg>
        <pc:cxnChg chg="add mod">
          <ac:chgData name="Muchahary, Frankle" userId="0f2bf491-0617-4378-90b8-89af8fa381b9" providerId="ADAL" clId="{90877F19-00D2-4A00-8128-E78E36266C9A}" dt="2023-11-08T06:25:01.713" v="165634" actId="1076"/>
          <ac:cxnSpMkLst>
            <pc:docMk/>
            <pc:sldMk cId="49457783" sldId="344"/>
            <ac:cxnSpMk id="12" creationId="{47C35336-465E-4B6D-F294-136B2A89D00A}"/>
          </ac:cxnSpMkLst>
        </pc:cxnChg>
        <pc:cxnChg chg="mod">
          <ac:chgData name="Muchahary, Frankle" userId="0f2bf491-0617-4378-90b8-89af8fa381b9" providerId="ADAL" clId="{90877F19-00D2-4A00-8128-E78E36266C9A}" dt="2023-11-08T06:25:01.713" v="165634" actId="1076"/>
          <ac:cxnSpMkLst>
            <pc:docMk/>
            <pc:sldMk cId="49457783" sldId="344"/>
            <ac:cxnSpMk id="13" creationId="{FA45D414-358C-8D80-2170-9AF0691AEBBD}"/>
          </ac:cxnSpMkLst>
        </pc:cxnChg>
        <pc:cxnChg chg="mod">
          <ac:chgData name="Muchahary, Frankle" userId="0f2bf491-0617-4378-90b8-89af8fa381b9" providerId="ADAL" clId="{90877F19-00D2-4A00-8128-E78E36266C9A}" dt="2023-11-08T06:25:01.713" v="165634" actId="1076"/>
          <ac:cxnSpMkLst>
            <pc:docMk/>
            <pc:sldMk cId="49457783" sldId="344"/>
            <ac:cxnSpMk id="39" creationId="{EC5FFFD9-84A8-7DD0-1D61-50DA69C018D3}"/>
          </ac:cxnSpMkLst>
        </pc:cxnChg>
      </pc:sldChg>
      <pc:sldChg chg="mod modClrScheme chgLayout">
        <pc:chgData name="Muchahary, Frankle" userId="0f2bf491-0617-4378-90b8-89af8fa381b9" providerId="ADAL" clId="{90877F19-00D2-4A00-8128-E78E36266C9A}" dt="2023-11-08T05:53:51.641" v="163413" actId="700"/>
        <pc:sldMkLst>
          <pc:docMk/>
          <pc:sldMk cId="3203526670" sldId="345"/>
        </pc:sldMkLst>
      </pc:sldChg>
      <pc:sldChg chg="modSp mod">
        <pc:chgData name="Muchahary, Frankle" userId="0f2bf491-0617-4378-90b8-89af8fa381b9" providerId="ADAL" clId="{90877F19-00D2-4A00-8128-E78E36266C9A}" dt="2023-11-05T04:09:56.935" v="145323"/>
        <pc:sldMkLst>
          <pc:docMk/>
          <pc:sldMk cId="401544748" sldId="346"/>
        </pc:sldMkLst>
        <pc:graphicFrameChg chg="mod">
          <ac:chgData name="Muchahary, Frankle" userId="0f2bf491-0617-4378-90b8-89af8fa381b9" providerId="ADAL" clId="{90877F19-00D2-4A00-8128-E78E36266C9A}" dt="2023-11-05T04:09:56.935" v="145323"/>
          <ac:graphicFrameMkLst>
            <pc:docMk/>
            <pc:sldMk cId="401544748" sldId="346"/>
            <ac:graphicFrameMk id="11" creationId="{E83FDBA9-EE18-2FC8-FEA5-169F42213708}"/>
          </ac:graphicFrameMkLst>
        </pc:graphicFrameChg>
      </pc:sldChg>
      <pc:sldChg chg="addSp delSp modSp mod">
        <pc:chgData name="Muchahary, Frankle" userId="0f2bf491-0617-4378-90b8-89af8fa381b9" providerId="ADAL" clId="{90877F19-00D2-4A00-8128-E78E36266C9A}" dt="2023-11-08T06:26:57.388" v="165755" actId="20577"/>
        <pc:sldMkLst>
          <pc:docMk/>
          <pc:sldMk cId="733552054" sldId="347"/>
        </pc:sldMkLst>
        <pc:spChg chg="mod">
          <ac:chgData name="Muchahary, Frankle" userId="0f2bf491-0617-4378-90b8-89af8fa381b9" providerId="ADAL" clId="{90877F19-00D2-4A00-8128-E78E36266C9A}" dt="2023-11-08T06:26:57.388" v="165755" actId="20577"/>
          <ac:spMkLst>
            <pc:docMk/>
            <pc:sldMk cId="733552054" sldId="347"/>
            <ac:spMk id="2" creationId="{DB6D9CF4-77C8-DFB3-D3B0-EECE2A266D7D}"/>
          </ac:spMkLst>
        </pc:spChg>
        <pc:spChg chg="add del mod">
          <ac:chgData name="Muchahary, Frankle" userId="0f2bf491-0617-4378-90b8-89af8fa381b9" providerId="ADAL" clId="{90877F19-00D2-4A00-8128-E78E36266C9A}" dt="2023-11-05T04:15:45.251" v="145342"/>
          <ac:spMkLst>
            <pc:docMk/>
            <pc:sldMk cId="733552054" sldId="347"/>
            <ac:spMk id="7" creationId="{B0A4F176-1D22-5D16-E72B-41FAF693CBF2}"/>
          </ac:spMkLst>
        </pc:spChg>
        <pc:spChg chg="add del mod">
          <ac:chgData name="Muchahary, Frankle" userId="0f2bf491-0617-4378-90b8-89af8fa381b9" providerId="ADAL" clId="{90877F19-00D2-4A00-8128-E78E36266C9A}" dt="2023-11-05T04:15:47.722" v="145344"/>
          <ac:spMkLst>
            <pc:docMk/>
            <pc:sldMk cId="733552054" sldId="347"/>
            <ac:spMk id="8" creationId="{97FEE682-10FC-2441-776E-E263A509C791}"/>
          </ac:spMkLst>
        </pc:spChg>
        <pc:spChg chg="mod">
          <ac:chgData name="Muchahary, Frankle" userId="0f2bf491-0617-4378-90b8-89af8fa381b9" providerId="ADAL" clId="{90877F19-00D2-4A00-8128-E78E36266C9A}" dt="2023-11-05T04:42:40.462" v="145530" actId="14861"/>
          <ac:spMkLst>
            <pc:docMk/>
            <pc:sldMk cId="733552054" sldId="347"/>
            <ac:spMk id="323" creationId="{C7C2516B-2BED-C330-BCB1-07F861875719}"/>
          </ac:spMkLst>
        </pc:spChg>
        <pc:spChg chg="mod">
          <ac:chgData name="Muchahary, Frankle" userId="0f2bf491-0617-4378-90b8-89af8fa381b9" providerId="ADAL" clId="{90877F19-00D2-4A00-8128-E78E36266C9A}" dt="2023-11-05T04:42:50.374" v="145533" actId="14861"/>
          <ac:spMkLst>
            <pc:docMk/>
            <pc:sldMk cId="733552054" sldId="347"/>
            <ac:spMk id="324" creationId="{27477198-8076-F2A5-0DB4-D2B7D384DD03}"/>
          </ac:spMkLst>
        </pc:spChg>
        <pc:picChg chg="add del mod">
          <ac:chgData name="Muchahary, Frankle" userId="0f2bf491-0617-4378-90b8-89af8fa381b9" providerId="ADAL" clId="{90877F19-00D2-4A00-8128-E78E36266C9A}" dt="2023-11-05T04:15:42.240" v="145340"/>
          <ac:picMkLst>
            <pc:docMk/>
            <pc:sldMk cId="733552054" sldId="347"/>
            <ac:picMk id="4" creationId="{D6DE1825-8183-A53D-CCE7-CE1C5683CE59}"/>
          </ac:picMkLst>
        </pc:picChg>
      </pc:sldChg>
      <pc:sldChg chg="addSp delSp modSp add del mod ord modTransition modClrScheme modAnim modShow chgLayout">
        <pc:chgData name="Muchahary, Frankle" userId="0f2bf491-0617-4378-90b8-89af8fa381b9" providerId="ADAL" clId="{90877F19-00D2-4A00-8128-E78E36266C9A}" dt="2023-11-05T18:11:42.577" v="150526" actId="2696"/>
        <pc:sldMkLst>
          <pc:docMk/>
          <pc:sldMk cId="302956161" sldId="351"/>
        </pc:sldMkLst>
        <pc:spChg chg="mod ord">
          <ac:chgData name="Muchahary, Frankle" userId="0f2bf491-0617-4378-90b8-89af8fa381b9" providerId="ADAL" clId="{90877F19-00D2-4A00-8128-E78E36266C9A}" dt="2023-11-05T01:54:33.088" v="125118" actId="948"/>
          <ac:spMkLst>
            <pc:docMk/>
            <pc:sldMk cId="302956161" sldId="351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5T01:44:01.207" v="124978"/>
          <ac:spMkLst>
            <pc:docMk/>
            <pc:sldMk cId="302956161" sldId="351"/>
            <ac:spMk id="7" creationId="{F25CE150-65C5-2E86-781E-A0B5A06C0CEC}"/>
          </ac:spMkLst>
        </pc:spChg>
        <pc:spChg chg="mod">
          <ac:chgData name="Muchahary, Frankle" userId="0f2bf491-0617-4378-90b8-89af8fa381b9" providerId="ADAL" clId="{90877F19-00D2-4A00-8128-E78E36266C9A}" dt="2023-11-05T02:25:28.951" v="126481" actId="404"/>
          <ac:spMkLst>
            <pc:docMk/>
            <pc:sldMk cId="302956161" sldId="351"/>
            <ac:spMk id="20" creationId="{B951EE68-AB38-8AB1-38C0-77F985312A08}"/>
          </ac:spMkLst>
        </pc:spChg>
        <pc:spChg chg="mod">
          <ac:chgData name="Muchahary, Frankle" userId="0f2bf491-0617-4378-90b8-89af8fa381b9" providerId="ADAL" clId="{90877F19-00D2-4A00-8128-E78E36266C9A}" dt="2023-11-05T02:25:25.906" v="126480" actId="404"/>
          <ac:spMkLst>
            <pc:docMk/>
            <pc:sldMk cId="302956161" sldId="351"/>
            <ac:spMk id="21" creationId="{90B4EF33-158D-5480-D8C1-7533D1B16D9B}"/>
          </ac:spMkLst>
        </pc:spChg>
        <pc:spChg chg="mod">
          <ac:chgData name="Muchahary, Frankle" userId="0f2bf491-0617-4378-90b8-89af8fa381b9" providerId="ADAL" clId="{90877F19-00D2-4A00-8128-E78E36266C9A}" dt="2023-11-05T02:25:31.985" v="126482" actId="404"/>
          <ac:spMkLst>
            <pc:docMk/>
            <pc:sldMk cId="302956161" sldId="351"/>
            <ac:spMk id="22" creationId="{E2A891C9-074E-59E5-BE4D-16A2BB47B048}"/>
          </ac:spMkLst>
        </pc:spChg>
        <pc:spChg chg="mod">
          <ac:chgData name="Muchahary, Frankle" userId="0f2bf491-0617-4378-90b8-89af8fa381b9" providerId="ADAL" clId="{90877F19-00D2-4A00-8128-E78E36266C9A}" dt="2023-11-05T01:47:01.079" v="125015" actId="1076"/>
          <ac:spMkLst>
            <pc:docMk/>
            <pc:sldMk cId="302956161" sldId="351"/>
            <ac:spMk id="25" creationId="{F295C6A8-0E98-1756-7084-48E1E3CF7089}"/>
          </ac:spMkLst>
        </pc:spChg>
        <pc:spChg chg="add del mod modVis">
          <ac:chgData name="Muchahary, Frankle" userId="0f2bf491-0617-4378-90b8-89af8fa381b9" providerId="ADAL" clId="{90877F19-00D2-4A00-8128-E78E36266C9A}" dt="2023-11-05T01:47:22.668" v="125065"/>
          <ac:spMkLst>
            <pc:docMk/>
            <pc:sldMk cId="302956161" sldId="351"/>
            <ac:spMk id="29" creationId="{50DB9B25-0AC4-EF40-A7F5-41C67AB1520C}"/>
          </ac:spMkLst>
        </pc:spChg>
        <pc:spChg chg="mod">
          <ac:chgData name="Muchahary, Frankle" userId="0f2bf491-0617-4378-90b8-89af8fa381b9" providerId="ADAL" clId="{90877F19-00D2-4A00-8128-E78E36266C9A}" dt="2023-11-05T01:47:01.079" v="125015" actId="1076"/>
          <ac:spMkLst>
            <pc:docMk/>
            <pc:sldMk cId="302956161" sldId="351"/>
            <ac:spMk id="32" creationId="{F0CB495A-4E84-8A63-44BC-EEFEE4F2FB7A}"/>
          </ac:spMkLst>
        </pc:spChg>
        <pc:spChg chg="mod">
          <ac:chgData name="Muchahary, Frankle" userId="0f2bf491-0617-4378-90b8-89af8fa381b9" providerId="ADAL" clId="{90877F19-00D2-4A00-8128-E78E36266C9A}" dt="2023-11-05T02:33:30.701" v="126927" actId="14100"/>
          <ac:spMkLst>
            <pc:docMk/>
            <pc:sldMk cId="302956161" sldId="351"/>
            <ac:spMk id="47" creationId="{C0C4B183-EC15-1CF8-EF03-CC4A23F76B8A}"/>
          </ac:spMkLst>
        </pc:spChg>
        <pc:spChg chg="add del mod modVis">
          <ac:chgData name="Muchahary, Frankle" userId="0f2bf491-0617-4378-90b8-89af8fa381b9" providerId="ADAL" clId="{90877F19-00D2-4A00-8128-E78E36266C9A}" dt="2023-11-05T01:54:33.137" v="125149"/>
          <ac:spMkLst>
            <pc:docMk/>
            <pc:sldMk cId="302956161" sldId="351"/>
            <ac:spMk id="51" creationId="{82A7D747-0E42-9DBD-550D-4A3872374D42}"/>
          </ac:spMkLst>
        </pc:spChg>
        <pc:spChg chg="add mod">
          <ac:chgData name="Muchahary, Frankle" userId="0f2bf491-0617-4378-90b8-89af8fa381b9" providerId="ADAL" clId="{90877F19-00D2-4A00-8128-E78E36266C9A}" dt="2023-11-05T02:27:41.060" v="126503" actId="571"/>
          <ac:spMkLst>
            <pc:docMk/>
            <pc:sldMk cId="302956161" sldId="351"/>
            <ac:spMk id="52" creationId="{9C33C5A8-3C93-88DE-2627-3AFABA2CDE49}"/>
          </ac:spMkLst>
        </pc:spChg>
        <pc:spChg chg="mod">
          <ac:chgData name="Muchahary, Frankle" userId="0f2bf491-0617-4378-90b8-89af8fa381b9" providerId="ADAL" clId="{90877F19-00D2-4A00-8128-E78E36266C9A}" dt="2023-11-05T01:46:46.583" v="125013" actId="1076"/>
          <ac:spMkLst>
            <pc:docMk/>
            <pc:sldMk cId="302956161" sldId="351"/>
            <ac:spMk id="54" creationId="{DAA88CFF-AE49-D57A-2166-C06E54586504}"/>
          </ac:spMkLst>
        </pc:spChg>
        <pc:spChg chg="mod">
          <ac:chgData name="Muchahary, Frankle" userId="0f2bf491-0617-4378-90b8-89af8fa381b9" providerId="ADAL" clId="{90877F19-00D2-4A00-8128-E78E36266C9A}" dt="2023-11-05T01:46:46.583" v="125013" actId="1076"/>
          <ac:spMkLst>
            <pc:docMk/>
            <pc:sldMk cId="302956161" sldId="351"/>
            <ac:spMk id="57" creationId="{5C5F1A32-F401-DBD4-90EC-F7616CE22E7D}"/>
          </ac:spMkLst>
        </pc:spChg>
        <pc:spChg chg="add mod">
          <ac:chgData name="Muchahary, Frankle" userId="0f2bf491-0617-4378-90b8-89af8fa381b9" providerId="ADAL" clId="{90877F19-00D2-4A00-8128-E78E36266C9A}" dt="2023-11-05T02:27:41.060" v="126503" actId="571"/>
          <ac:spMkLst>
            <pc:docMk/>
            <pc:sldMk cId="302956161" sldId="351"/>
            <ac:spMk id="63" creationId="{EEF51A4C-C54F-4531-3A07-93F2FFC9DB90}"/>
          </ac:spMkLst>
        </pc:spChg>
        <pc:spChg chg="mod">
          <ac:chgData name="Muchahary, Frankle" userId="0f2bf491-0617-4378-90b8-89af8fa381b9" providerId="ADAL" clId="{90877F19-00D2-4A00-8128-E78E36266C9A}" dt="2023-11-05T01:46:46.583" v="125013" actId="1076"/>
          <ac:spMkLst>
            <pc:docMk/>
            <pc:sldMk cId="302956161" sldId="351"/>
            <ac:spMk id="70" creationId="{4DADF261-8868-92BC-E121-32258FB35B07}"/>
          </ac:spMkLst>
        </pc:spChg>
        <pc:spChg chg="mod">
          <ac:chgData name="Muchahary, Frankle" userId="0f2bf491-0617-4378-90b8-89af8fa381b9" providerId="ADAL" clId="{90877F19-00D2-4A00-8128-E78E36266C9A}" dt="2023-11-05T02:25:08.796" v="126476" actId="20577"/>
          <ac:spMkLst>
            <pc:docMk/>
            <pc:sldMk cId="302956161" sldId="351"/>
            <ac:spMk id="73" creationId="{E39B8983-DE77-65AC-6602-2C0D36B40C71}"/>
          </ac:spMkLst>
        </pc:spChg>
        <pc:spChg chg="mod">
          <ac:chgData name="Muchahary, Frankle" userId="0f2bf491-0617-4378-90b8-89af8fa381b9" providerId="ADAL" clId="{90877F19-00D2-4A00-8128-E78E36266C9A}" dt="2023-11-05T02:25:04.137" v="126473" actId="113"/>
          <ac:spMkLst>
            <pc:docMk/>
            <pc:sldMk cId="302956161" sldId="351"/>
            <ac:spMk id="87" creationId="{3C7B8F76-76F8-9263-578B-D8FF2818A74D}"/>
          </ac:spMkLst>
        </pc:spChg>
        <pc:spChg chg="mod">
          <ac:chgData name="Muchahary, Frankle" userId="0f2bf491-0617-4378-90b8-89af8fa381b9" providerId="ADAL" clId="{90877F19-00D2-4A00-8128-E78E36266C9A}" dt="2023-11-05T02:34:00.686" v="126960" actId="20577"/>
          <ac:spMkLst>
            <pc:docMk/>
            <pc:sldMk cId="302956161" sldId="351"/>
            <ac:spMk id="120" creationId="{88B6507C-E1A4-EE31-50D6-BF71BBCA20CE}"/>
          </ac:spMkLst>
        </pc:spChg>
        <pc:spChg chg="mod">
          <ac:chgData name="Muchahary, Frankle" userId="0f2bf491-0617-4378-90b8-89af8fa381b9" providerId="ADAL" clId="{90877F19-00D2-4A00-8128-E78E36266C9A}" dt="2023-11-05T02:33:30.701" v="126927" actId="14100"/>
          <ac:spMkLst>
            <pc:docMk/>
            <pc:sldMk cId="302956161" sldId="351"/>
            <ac:spMk id="121" creationId="{62B92ED7-0B68-38F3-F74A-0C0D7734C880}"/>
          </ac:spMkLst>
        </pc:spChg>
        <pc:grpChg chg="mod">
          <ac:chgData name="Muchahary, Frankle" userId="0f2bf491-0617-4378-90b8-89af8fa381b9" providerId="ADAL" clId="{90877F19-00D2-4A00-8128-E78E36266C9A}" dt="2023-11-05T01:46:25.326" v="125009" actId="1076"/>
          <ac:grpSpMkLst>
            <pc:docMk/>
            <pc:sldMk cId="302956161" sldId="351"/>
            <ac:grpSpMk id="11" creationId="{0232F826-BE6B-B64C-5E85-DA2DC55DBA89}"/>
          </ac:grpSpMkLst>
        </pc:grpChg>
        <pc:grpChg chg="mod">
          <ac:chgData name="Muchahary, Frankle" userId="0f2bf491-0617-4378-90b8-89af8fa381b9" providerId="ADAL" clId="{90877F19-00D2-4A00-8128-E78E36266C9A}" dt="2023-11-05T01:47:01.079" v="125015" actId="1076"/>
          <ac:grpSpMkLst>
            <pc:docMk/>
            <pc:sldMk cId="302956161" sldId="351"/>
            <ac:grpSpMk id="24" creationId="{F0ED947B-426F-F204-2C01-41C07FF01DFB}"/>
          </ac:grpSpMkLst>
        </pc:grpChg>
        <pc:grpChg chg="mod">
          <ac:chgData name="Muchahary, Frankle" userId="0f2bf491-0617-4378-90b8-89af8fa381b9" providerId="ADAL" clId="{90877F19-00D2-4A00-8128-E78E36266C9A}" dt="2023-11-05T01:47:01.079" v="125015" actId="1076"/>
          <ac:grpSpMkLst>
            <pc:docMk/>
            <pc:sldMk cId="302956161" sldId="351"/>
            <ac:grpSpMk id="27" creationId="{E3DCC40A-E5A2-1685-CE13-0AEF5CCD9383}"/>
          </ac:grpSpMkLst>
        </pc:grpChg>
        <pc:grpChg chg="mod">
          <ac:chgData name="Muchahary, Frankle" userId="0f2bf491-0617-4378-90b8-89af8fa381b9" providerId="ADAL" clId="{90877F19-00D2-4A00-8128-E78E36266C9A}" dt="2023-11-05T01:46:46.583" v="125013" actId="1076"/>
          <ac:grpSpMkLst>
            <pc:docMk/>
            <pc:sldMk cId="302956161" sldId="351"/>
            <ac:grpSpMk id="53" creationId="{283E8311-CEE4-39BE-A300-CB856EE24753}"/>
          </ac:grpSpMkLst>
        </pc:grpChg>
        <pc:grpChg chg="add mod">
          <ac:chgData name="Muchahary, Frankle" userId="0f2bf491-0617-4378-90b8-89af8fa381b9" providerId="ADAL" clId="{90877F19-00D2-4A00-8128-E78E36266C9A}" dt="2023-11-05T02:33:30.701" v="126927" actId="14100"/>
          <ac:grpSpMkLst>
            <pc:docMk/>
            <pc:sldMk cId="302956161" sldId="351"/>
            <ac:grpSpMk id="64" creationId="{E3E4CA03-C501-F7E9-28BC-6D2DBFC361AA}"/>
          </ac:grpSpMkLst>
        </pc:grpChg>
        <pc:grpChg chg="mod">
          <ac:chgData name="Muchahary, Frankle" userId="0f2bf491-0617-4378-90b8-89af8fa381b9" providerId="ADAL" clId="{90877F19-00D2-4A00-8128-E78E36266C9A}" dt="2023-11-05T01:46:46.583" v="125013" actId="1076"/>
          <ac:grpSpMkLst>
            <pc:docMk/>
            <pc:sldMk cId="302956161" sldId="351"/>
            <ac:grpSpMk id="71" creationId="{56118B30-E879-BD52-3ED1-A141EE9B3DA3}"/>
          </ac:grpSpMkLst>
        </pc:grpChg>
        <pc:grpChg chg="mod">
          <ac:chgData name="Muchahary, Frankle" userId="0f2bf491-0617-4378-90b8-89af8fa381b9" providerId="ADAL" clId="{90877F19-00D2-4A00-8128-E78E36266C9A}" dt="2023-11-05T01:47:01.079" v="125015" actId="1076"/>
          <ac:grpSpMkLst>
            <pc:docMk/>
            <pc:sldMk cId="302956161" sldId="351"/>
            <ac:grpSpMk id="74" creationId="{12087B62-B001-95BE-1990-50FF77621DCA}"/>
          </ac:grpSpMkLst>
        </pc:grpChg>
        <pc:grpChg chg="mod">
          <ac:chgData name="Muchahary, Frankle" userId="0f2bf491-0617-4378-90b8-89af8fa381b9" providerId="ADAL" clId="{90877F19-00D2-4A00-8128-E78E36266C9A}" dt="2023-11-05T01:46:46.583" v="125013" actId="1076"/>
          <ac:grpSpMkLst>
            <pc:docMk/>
            <pc:sldMk cId="302956161" sldId="351"/>
            <ac:grpSpMk id="88" creationId="{59FBEB72-852F-A047-8ED3-7F641792809F}"/>
          </ac:grpSpMkLst>
        </pc:grpChg>
        <pc:graphicFrameChg chg="mod">
          <ac:chgData name="Muchahary, Frankle" userId="0f2bf491-0617-4378-90b8-89af8fa381b9" providerId="ADAL" clId="{90877F19-00D2-4A00-8128-E78E36266C9A}" dt="2023-11-05T01:54:33.139" v="125151"/>
          <ac:graphicFrameMkLst>
            <pc:docMk/>
            <pc:sldMk cId="302956161" sldId="351"/>
            <ac:graphicFrameMk id="4" creationId="{FD4A65FB-339A-B2BC-4155-257FFC3BBBB9}"/>
          </ac:graphicFrameMkLst>
        </pc:graphicFrameChg>
        <pc:picChg chg="add mod">
          <ac:chgData name="Muchahary, Frankle" userId="0f2bf491-0617-4378-90b8-89af8fa381b9" providerId="ADAL" clId="{90877F19-00D2-4A00-8128-E78E36266C9A}" dt="2023-11-05T02:27:41.060" v="126503" actId="571"/>
          <ac:picMkLst>
            <pc:docMk/>
            <pc:sldMk cId="302956161" sldId="351"/>
            <ac:picMk id="60" creationId="{381A6DAD-7214-C99B-65AC-EA14E2875619}"/>
          </ac:picMkLst>
        </pc:picChg>
        <pc:picChg chg="add mod">
          <ac:chgData name="Muchahary, Frankle" userId="0f2bf491-0617-4378-90b8-89af8fa381b9" providerId="ADAL" clId="{90877F19-00D2-4A00-8128-E78E36266C9A}" dt="2023-11-05T02:27:41.060" v="126503" actId="571"/>
          <ac:picMkLst>
            <pc:docMk/>
            <pc:sldMk cId="302956161" sldId="351"/>
            <ac:picMk id="61" creationId="{1A0EF200-EACD-0E95-DBD8-BA03BA1F01E2}"/>
          </ac:picMkLst>
        </pc:picChg>
        <pc:picChg chg="mod">
          <ac:chgData name="Muchahary, Frankle" userId="0f2bf491-0617-4378-90b8-89af8fa381b9" providerId="ADAL" clId="{90877F19-00D2-4A00-8128-E78E36266C9A}" dt="2023-11-05T02:33:30.701" v="126927" actId="14100"/>
          <ac:picMkLst>
            <pc:docMk/>
            <pc:sldMk cId="302956161" sldId="351"/>
            <ac:picMk id="113" creationId="{7B4B5499-F600-4BA9-0BCB-255FA09B4270}"/>
          </ac:picMkLst>
        </pc:picChg>
        <pc:picChg chg="mod">
          <ac:chgData name="Muchahary, Frankle" userId="0f2bf491-0617-4378-90b8-89af8fa381b9" providerId="ADAL" clId="{90877F19-00D2-4A00-8128-E78E36266C9A}" dt="2023-11-05T02:33:30.701" v="126927" actId="14100"/>
          <ac:picMkLst>
            <pc:docMk/>
            <pc:sldMk cId="302956161" sldId="351"/>
            <ac:picMk id="116" creationId="{A1A78884-635D-7B81-90C8-E7BDD1EB3A58}"/>
          </ac:picMkLst>
        </pc:picChg>
        <pc:picChg chg="mod">
          <ac:chgData name="Muchahary, Frankle" userId="0f2bf491-0617-4378-90b8-89af8fa381b9" providerId="ADAL" clId="{90877F19-00D2-4A00-8128-E78E36266C9A}" dt="2023-11-05T02:33:30.701" v="126927" actId="14100"/>
          <ac:picMkLst>
            <pc:docMk/>
            <pc:sldMk cId="302956161" sldId="351"/>
            <ac:picMk id="124" creationId="{B5855C86-D336-47A5-808A-4E77E1B21C4E}"/>
          </ac:picMkLst>
        </pc:picChg>
        <pc:cxnChg chg="mod">
          <ac:chgData name="Muchahary, Frankle" userId="0f2bf491-0617-4378-90b8-89af8fa381b9" providerId="ADAL" clId="{90877F19-00D2-4A00-8128-E78E36266C9A}" dt="2023-11-05T01:47:01.079" v="125015" actId="1076"/>
          <ac:cxnSpMkLst>
            <pc:docMk/>
            <pc:sldMk cId="302956161" sldId="351"/>
            <ac:cxnSpMk id="31" creationId="{7D19BAA9-FF07-4E94-401D-D079FF93A101}"/>
          </ac:cxnSpMkLst>
        </pc:cxnChg>
        <pc:cxnChg chg="mod">
          <ac:chgData name="Muchahary, Frankle" userId="0f2bf491-0617-4378-90b8-89af8fa381b9" providerId="ADAL" clId="{90877F19-00D2-4A00-8128-E78E36266C9A}" dt="2023-11-05T01:47:01.079" v="125015" actId="1076"/>
          <ac:cxnSpMkLst>
            <pc:docMk/>
            <pc:sldMk cId="302956161" sldId="351"/>
            <ac:cxnSpMk id="33" creationId="{FA7CA769-DA49-9AD3-F991-1076E616683D}"/>
          </ac:cxnSpMkLst>
        </pc:cxnChg>
        <pc:cxnChg chg="mod">
          <ac:chgData name="Muchahary, Frankle" userId="0f2bf491-0617-4378-90b8-89af8fa381b9" providerId="ADAL" clId="{90877F19-00D2-4A00-8128-E78E36266C9A}" dt="2023-11-05T01:46:46.583" v="125013" actId="1076"/>
          <ac:cxnSpMkLst>
            <pc:docMk/>
            <pc:sldMk cId="302956161" sldId="351"/>
            <ac:cxnSpMk id="55" creationId="{CCFB3FFD-9F5B-BEA9-847A-F144086BE84B}"/>
          </ac:cxnSpMkLst>
        </pc:cxnChg>
        <pc:cxnChg chg="add mod">
          <ac:chgData name="Muchahary, Frankle" userId="0f2bf491-0617-4378-90b8-89af8fa381b9" providerId="ADAL" clId="{90877F19-00D2-4A00-8128-E78E36266C9A}" dt="2023-11-05T02:27:41.060" v="126503" actId="571"/>
          <ac:cxnSpMkLst>
            <pc:docMk/>
            <pc:sldMk cId="302956161" sldId="351"/>
            <ac:cxnSpMk id="56" creationId="{33442E5A-F592-B231-7456-A08CC3D42AB4}"/>
          </ac:cxnSpMkLst>
        </pc:cxnChg>
        <pc:cxnChg chg="add mod">
          <ac:chgData name="Muchahary, Frankle" userId="0f2bf491-0617-4378-90b8-89af8fa381b9" providerId="ADAL" clId="{90877F19-00D2-4A00-8128-E78E36266C9A}" dt="2023-11-05T02:27:41.060" v="126503" actId="571"/>
          <ac:cxnSpMkLst>
            <pc:docMk/>
            <pc:sldMk cId="302956161" sldId="351"/>
            <ac:cxnSpMk id="58" creationId="{0E3A4B4B-AC99-6A82-A283-D2805C1BB084}"/>
          </ac:cxnSpMkLst>
        </pc:cxnChg>
        <pc:cxnChg chg="mod">
          <ac:chgData name="Muchahary, Frankle" userId="0f2bf491-0617-4378-90b8-89af8fa381b9" providerId="ADAL" clId="{90877F19-00D2-4A00-8128-E78E36266C9A}" dt="2023-11-05T01:46:46.583" v="125013" actId="1076"/>
          <ac:cxnSpMkLst>
            <pc:docMk/>
            <pc:sldMk cId="302956161" sldId="351"/>
            <ac:cxnSpMk id="59" creationId="{0D21AE3C-1E8A-0526-2FBA-2325C445FA86}"/>
          </ac:cxnSpMkLst>
        </pc:cxnChg>
        <pc:cxnChg chg="add mod">
          <ac:chgData name="Muchahary, Frankle" userId="0f2bf491-0617-4378-90b8-89af8fa381b9" providerId="ADAL" clId="{90877F19-00D2-4A00-8128-E78E36266C9A}" dt="2023-11-05T02:27:41.060" v="126503" actId="571"/>
          <ac:cxnSpMkLst>
            <pc:docMk/>
            <pc:sldMk cId="302956161" sldId="351"/>
            <ac:cxnSpMk id="62" creationId="{99E35097-38F0-8646-25EC-4A7DF53B1DB2}"/>
          </ac:cxnSpMkLst>
        </pc:cxnChg>
        <pc:cxnChg chg="mod">
          <ac:chgData name="Muchahary, Frankle" userId="0f2bf491-0617-4378-90b8-89af8fa381b9" providerId="ADAL" clId="{90877F19-00D2-4A00-8128-E78E36266C9A}" dt="2023-11-05T02:33:30.701" v="126927" actId="14100"/>
          <ac:cxnSpMkLst>
            <pc:docMk/>
            <pc:sldMk cId="302956161" sldId="351"/>
            <ac:cxnSpMk id="96" creationId="{4EF1C26D-620F-4D8F-FDD6-86BDC1B5D99F}"/>
          </ac:cxnSpMkLst>
        </pc:cxnChg>
        <pc:cxnChg chg="mod">
          <ac:chgData name="Muchahary, Frankle" userId="0f2bf491-0617-4378-90b8-89af8fa381b9" providerId="ADAL" clId="{90877F19-00D2-4A00-8128-E78E36266C9A}" dt="2023-11-05T02:33:30.701" v="126927" actId="14100"/>
          <ac:cxnSpMkLst>
            <pc:docMk/>
            <pc:sldMk cId="302956161" sldId="351"/>
            <ac:cxnSpMk id="108" creationId="{E0A1937A-06B5-76CE-CB29-D7596ED4DFA8}"/>
          </ac:cxnSpMkLst>
        </pc:cxnChg>
        <pc:cxnChg chg="mod">
          <ac:chgData name="Muchahary, Frankle" userId="0f2bf491-0617-4378-90b8-89af8fa381b9" providerId="ADAL" clId="{90877F19-00D2-4A00-8128-E78E36266C9A}" dt="2023-11-05T02:33:30.701" v="126927" actId="14100"/>
          <ac:cxnSpMkLst>
            <pc:docMk/>
            <pc:sldMk cId="302956161" sldId="351"/>
            <ac:cxnSpMk id="118" creationId="{E0A1600F-CD1C-36CE-11DE-472FAF1EC878}"/>
          </ac:cxnSpMkLst>
        </pc:cxnChg>
      </pc:sldChg>
      <pc:sldChg chg="add del">
        <pc:chgData name="Muchahary, Frankle" userId="0f2bf491-0617-4378-90b8-89af8fa381b9" providerId="ADAL" clId="{90877F19-00D2-4A00-8128-E78E36266C9A}" dt="2023-11-08T05:49:50.132" v="163076" actId="47"/>
        <pc:sldMkLst>
          <pc:docMk/>
          <pc:sldMk cId="3628047139" sldId="351"/>
        </pc:sldMkLst>
      </pc:sldChg>
      <pc:sldChg chg="add del">
        <pc:chgData name="Muchahary, Frankle" userId="0f2bf491-0617-4378-90b8-89af8fa381b9" providerId="ADAL" clId="{90877F19-00D2-4A00-8128-E78E36266C9A}" dt="2023-11-05T02:25:56.282" v="126488"/>
        <pc:sldMkLst>
          <pc:docMk/>
          <pc:sldMk cId="639799274" sldId="352"/>
        </pc:sldMkLst>
      </pc:sldChg>
      <pc:sldChg chg="add del">
        <pc:chgData name="Muchahary, Frankle" userId="0f2bf491-0617-4378-90b8-89af8fa381b9" providerId="ADAL" clId="{90877F19-00D2-4A00-8128-E78E36266C9A}" dt="2023-11-05T02:23:34.870" v="126235"/>
        <pc:sldMkLst>
          <pc:docMk/>
          <pc:sldMk cId="1377692251" sldId="352"/>
        </pc:sldMkLst>
      </pc:sldChg>
      <pc:sldChg chg="modSp mod modClrScheme chgLayout">
        <pc:chgData name="Muchahary, Frankle" userId="0f2bf491-0617-4378-90b8-89af8fa381b9" providerId="ADAL" clId="{90877F19-00D2-4A00-8128-E78E36266C9A}" dt="2023-11-08T06:04:36.243" v="163574" actId="1076"/>
        <pc:sldMkLst>
          <pc:docMk/>
          <pc:sldMk cId="1428870141" sldId="352"/>
        </pc:sldMkLst>
        <pc:spChg chg="mod">
          <ac:chgData name="Muchahary, Frankle" userId="0f2bf491-0617-4378-90b8-89af8fa381b9" providerId="ADAL" clId="{90877F19-00D2-4A00-8128-E78E36266C9A}" dt="2023-11-08T06:04:36.243" v="163574" actId="1076"/>
          <ac:spMkLst>
            <pc:docMk/>
            <pc:sldMk cId="1428870141" sldId="352"/>
            <ac:spMk id="9" creationId="{709C991E-8140-455E-F17F-56AEDDF39CC9}"/>
          </ac:spMkLst>
        </pc:spChg>
      </pc:sldChg>
      <pc:sldChg chg="addSp delSp modSp add mod">
        <pc:chgData name="Muchahary, Frankle" userId="0f2bf491-0617-4378-90b8-89af8fa381b9" providerId="ADAL" clId="{90877F19-00D2-4A00-8128-E78E36266C9A}" dt="2023-11-05T03:22:08.521" v="129721"/>
        <pc:sldMkLst>
          <pc:docMk/>
          <pc:sldMk cId="153294527" sldId="353"/>
        </pc:sldMkLst>
        <pc:spChg chg="mod ord">
          <ac:chgData name="Muchahary, Frankle" userId="0f2bf491-0617-4378-90b8-89af8fa381b9" providerId="ADAL" clId="{90877F19-00D2-4A00-8128-E78E36266C9A}" dt="2023-11-05T03:16:01.648" v="129659"/>
          <ac:spMkLst>
            <pc:docMk/>
            <pc:sldMk cId="153294527" sldId="353"/>
            <ac:spMk id="2" creationId="{D38E5C8C-3841-BCDE-2788-4F1BD656772E}"/>
          </ac:spMkLst>
        </pc:spChg>
        <pc:spChg chg="mod">
          <ac:chgData name="Muchahary, Frankle" userId="0f2bf491-0617-4378-90b8-89af8fa381b9" providerId="ADAL" clId="{90877F19-00D2-4A00-8128-E78E36266C9A}" dt="2023-11-05T03:16:01.651" v="129668"/>
          <ac:spMkLst>
            <pc:docMk/>
            <pc:sldMk cId="153294527" sldId="353"/>
            <ac:spMk id="3" creationId="{27851A68-3172-4EE2-8476-2E5DD39D0C47}"/>
          </ac:spMkLst>
        </pc:spChg>
        <pc:spChg chg="add del mod modVis">
          <ac:chgData name="Muchahary, Frankle" userId="0f2bf491-0617-4378-90b8-89af8fa381b9" providerId="ADAL" clId="{90877F19-00D2-4A00-8128-E78E36266C9A}" dt="2023-11-05T03:12:09.084" v="128565"/>
          <ac:spMkLst>
            <pc:docMk/>
            <pc:sldMk cId="153294527" sldId="353"/>
            <ac:spMk id="4" creationId="{31525DCE-C282-C6A8-4BAF-28EA1EF8F419}"/>
          </ac:spMkLst>
        </pc:spChg>
        <pc:spChg chg="mod">
          <ac:chgData name="Muchahary, Frankle" userId="0f2bf491-0617-4378-90b8-89af8fa381b9" providerId="ADAL" clId="{90877F19-00D2-4A00-8128-E78E36266C9A}" dt="2023-11-05T03:16:01.652" v="129669"/>
          <ac:spMkLst>
            <pc:docMk/>
            <pc:sldMk cId="153294527" sldId="353"/>
            <ac:spMk id="5" creationId="{7847591B-1221-76F8-F159-60F2713E193F}"/>
          </ac:spMkLst>
        </pc:spChg>
        <pc:spChg chg="add del mod modVis">
          <ac:chgData name="Muchahary, Frankle" userId="0f2bf491-0617-4378-90b8-89af8fa381b9" providerId="ADAL" clId="{90877F19-00D2-4A00-8128-E78E36266C9A}" dt="2023-11-05T03:12:29.979" v="128868"/>
          <ac:spMkLst>
            <pc:docMk/>
            <pc:sldMk cId="153294527" sldId="353"/>
            <ac:spMk id="10" creationId="{737F7EA7-B374-9827-46B2-FFE057FEC7E1}"/>
          </ac:spMkLst>
        </pc:spChg>
        <pc:spChg chg="add del mod modVis">
          <ac:chgData name="Muchahary, Frankle" userId="0f2bf491-0617-4378-90b8-89af8fa381b9" providerId="ADAL" clId="{90877F19-00D2-4A00-8128-E78E36266C9A}" dt="2023-11-05T03:13:04.819" v="129237"/>
          <ac:spMkLst>
            <pc:docMk/>
            <pc:sldMk cId="153294527" sldId="353"/>
            <ac:spMk id="12" creationId="{0D0AC988-C9DB-EE07-D5F6-76AD9CBEBD6A}"/>
          </ac:spMkLst>
        </pc:spChg>
        <pc:spChg chg="add del mod modVis">
          <ac:chgData name="Muchahary, Frankle" userId="0f2bf491-0617-4378-90b8-89af8fa381b9" providerId="ADAL" clId="{90877F19-00D2-4A00-8128-E78E36266C9A}" dt="2023-11-05T03:13:19.531" v="129269"/>
          <ac:spMkLst>
            <pc:docMk/>
            <pc:sldMk cId="153294527" sldId="353"/>
            <ac:spMk id="14" creationId="{CE386758-6E66-62BE-C3B5-DBA49181C79F}"/>
          </ac:spMkLst>
        </pc:spChg>
        <pc:spChg chg="mod">
          <ac:chgData name="Muchahary, Frankle" userId="0f2bf491-0617-4378-90b8-89af8fa381b9" providerId="ADAL" clId="{90877F19-00D2-4A00-8128-E78E36266C9A}" dt="2023-11-05T03:22:08.501" v="129716"/>
          <ac:spMkLst>
            <pc:docMk/>
            <pc:sldMk cId="153294527" sldId="353"/>
            <ac:spMk id="17" creationId="{83D8F380-3B49-E6D4-0802-6D4922AD150E}"/>
          </ac:spMkLst>
        </pc:spChg>
        <pc:spChg chg="add del mod modVis">
          <ac:chgData name="Muchahary, Frankle" userId="0f2bf491-0617-4378-90b8-89af8fa381b9" providerId="ADAL" clId="{90877F19-00D2-4A00-8128-E78E36266C9A}" dt="2023-11-05T03:14:03.498" v="129452"/>
          <ac:spMkLst>
            <pc:docMk/>
            <pc:sldMk cId="153294527" sldId="353"/>
            <ac:spMk id="19" creationId="{37AE2678-C2F8-8547-B80C-3003C0968577}"/>
          </ac:spMkLst>
        </pc:spChg>
        <pc:spChg chg="mod ord">
          <ac:chgData name="Muchahary, Frankle" userId="0f2bf491-0617-4378-90b8-89af8fa381b9" providerId="ADAL" clId="{90877F19-00D2-4A00-8128-E78E36266C9A}" dt="2023-11-05T03:16:01.654" v="129675"/>
          <ac:spMkLst>
            <pc:docMk/>
            <pc:sldMk cId="153294527" sldId="353"/>
            <ac:spMk id="20" creationId="{AB930219-4A48-DEF0-AE52-570BFDB1948F}"/>
          </ac:spMkLst>
        </pc:spChg>
        <pc:spChg chg="add del mod modVis">
          <ac:chgData name="Muchahary, Frankle" userId="0f2bf491-0617-4378-90b8-89af8fa381b9" providerId="ADAL" clId="{90877F19-00D2-4A00-8128-E78E36266C9A}" dt="2023-11-05T03:14:16.833" v="129510"/>
          <ac:spMkLst>
            <pc:docMk/>
            <pc:sldMk cId="153294527" sldId="353"/>
            <ac:spMk id="22" creationId="{1409F889-F9DD-94A2-AAC4-542E84346508}"/>
          </ac:spMkLst>
        </pc:spChg>
        <pc:spChg chg="add del mod modVis">
          <ac:chgData name="Muchahary, Frankle" userId="0f2bf491-0617-4378-90b8-89af8fa381b9" providerId="ADAL" clId="{90877F19-00D2-4A00-8128-E78E36266C9A}" dt="2023-11-05T03:14:34.451" v="129566"/>
          <ac:spMkLst>
            <pc:docMk/>
            <pc:sldMk cId="153294527" sldId="353"/>
            <ac:spMk id="23" creationId="{6FD5A2D9-BA59-0A63-0A54-7031477EE1C0}"/>
          </ac:spMkLst>
        </pc:spChg>
        <pc:spChg chg="add del mod modVis">
          <ac:chgData name="Muchahary, Frankle" userId="0f2bf491-0617-4378-90b8-89af8fa381b9" providerId="ADAL" clId="{90877F19-00D2-4A00-8128-E78E36266C9A}" dt="2023-11-05T03:16:01.668" v="129713"/>
          <ac:spMkLst>
            <pc:docMk/>
            <pc:sldMk cId="153294527" sldId="353"/>
            <ac:spMk id="25" creationId="{D6632B9B-1DFB-5E54-0134-300CA03013C7}"/>
          </ac:spMkLst>
        </pc:spChg>
        <pc:spChg chg="mod">
          <ac:chgData name="Muchahary, Frankle" userId="0f2bf491-0617-4378-90b8-89af8fa381b9" providerId="ADAL" clId="{90877F19-00D2-4A00-8128-E78E36266C9A}" dt="2023-11-05T03:16:01.657" v="129685"/>
          <ac:spMkLst>
            <pc:docMk/>
            <pc:sldMk cId="153294527" sldId="353"/>
            <ac:spMk id="58" creationId="{F3DFF600-8704-4CE6-3A0F-5CCAF2D9FE91}"/>
          </ac:spMkLst>
        </pc:spChg>
        <pc:spChg chg="mod">
          <ac:chgData name="Muchahary, Frankle" userId="0f2bf491-0617-4378-90b8-89af8fa381b9" providerId="ADAL" clId="{90877F19-00D2-4A00-8128-E78E36266C9A}" dt="2023-11-05T03:16:01.658" v="129686"/>
          <ac:spMkLst>
            <pc:docMk/>
            <pc:sldMk cId="153294527" sldId="353"/>
            <ac:spMk id="59" creationId="{B1C8EEB9-E3E5-126E-831C-7581C37541E1}"/>
          </ac:spMkLst>
        </pc:spChg>
        <pc:spChg chg="add del mod ord">
          <ac:chgData name="Muchahary, Frankle" userId="0f2bf491-0617-4378-90b8-89af8fa381b9" providerId="ADAL" clId="{90877F19-00D2-4A00-8128-E78E36266C9A}" dt="2023-11-05T03:16:01.661" v="129692"/>
          <ac:spMkLst>
            <pc:docMk/>
            <pc:sldMk cId="153294527" sldId="353"/>
            <ac:spMk id="61" creationId="{4E9DEBED-3FBB-BBD2-CED6-0F25DDE4D20C}"/>
          </ac:spMkLst>
        </pc:spChg>
        <pc:spChg chg="add del mod">
          <ac:chgData name="Muchahary, Frankle" userId="0f2bf491-0617-4378-90b8-89af8fa381b9" providerId="ADAL" clId="{90877F19-00D2-4A00-8128-E78E36266C9A}" dt="2023-11-05T03:22:08.512" v="129717"/>
          <ac:spMkLst>
            <pc:docMk/>
            <pc:sldMk cId="153294527" sldId="353"/>
            <ac:spMk id="63" creationId="{B3526834-F29D-322D-8656-3256FC3246BD}"/>
          </ac:spMkLst>
        </pc:spChg>
        <pc:spChg chg="mod">
          <ac:chgData name="Muchahary, Frankle" userId="0f2bf491-0617-4378-90b8-89af8fa381b9" providerId="ADAL" clId="{90877F19-00D2-4A00-8128-E78E36266C9A}" dt="2023-11-05T03:16:01.652" v="129670"/>
          <ac:spMkLst>
            <pc:docMk/>
            <pc:sldMk cId="153294527" sldId="353"/>
            <ac:spMk id="100" creationId="{9C681AFD-3E9F-290C-40CB-B94154E73CDC}"/>
          </ac:spMkLst>
        </pc:spChg>
        <pc:spChg chg="mod">
          <ac:chgData name="Muchahary, Frankle" userId="0f2bf491-0617-4378-90b8-89af8fa381b9" providerId="ADAL" clId="{90877F19-00D2-4A00-8128-E78E36266C9A}" dt="2023-11-05T03:16:01.653" v="129671"/>
          <ac:spMkLst>
            <pc:docMk/>
            <pc:sldMk cId="153294527" sldId="353"/>
            <ac:spMk id="106" creationId="{8A61F6B0-A72F-97AE-9D0B-25CCD3DFAC6B}"/>
          </ac:spMkLst>
        </pc:spChg>
        <pc:spChg chg="mod">
          <ac:chgData name="Muchahary, Frankle" userId="0f2bf491-0617-4378-90b8-89af8fa381b9" providerId="ADAL" clId="{90877F19-00D2-4A00-8128-E78E36266C9A}" dt="2023-11-05T03:16:01.659" v="129687"/>
          <ac:spMkLst>
            <pc:docMk/>
            <pc:sldMk cId="153294527" sldId="353"/>
            <ac:spMk id="114" creationId="{A18D2A71-E273-11B1-3871-9F04A2B75444}"/>
          </ac:spMkLst>
        </pc:spChg>
        <pc:spChg chg="mod">
          <ac:chgData name="Muchahary, Frankle" userId="0f2bf491-0617-4378-90b8-89af8fa381b9" providerId="ADAL" clId="{90877F19-00D2-4A00-8128-E78E36266C9A}" dt="2023-11-05T03:16:01.659" v="129688"/>
          <ac:spMkLst>
            <pc:docMk/>
            <pc:sldMk cId="153294527" sldId="353"/>
            <ac:spMk id="119" creationId="{6A5079A0-E0B7-A998-628C-CEE9C18840F0}"/>
          </ac:spMkLst>
        </pc:spChg>
        <pc:spChg chg="mod ord">
          <ac:chgData name="Muchahary, Frankle" userId="0f2bf491-0617-4378-90b8-89af8fa381b9" providerId="ADAL" clId="{90877F19-00D2-4A00-8128-E78E36266C9A}" dt="2023-11-05T03:16:01.662" v="129695"/>
          <ac:spMkLst>
            <pc:docMk/>
            <pc:sldMk cId="153294527" sldId="353"/>
            <ac:spMk id="128" creationId="{0576C39B-D19A-DA5D-7B20-A7AF9180C54C}"/>
          </ac:spMkLst>
        </pc:spChg>
        <pc:spChg chg="mod ord">
          <ac:chgData name="Muchahary, Frankle" userId="0f2bf491-0617-4378-90b8-89af8fa381b9" providerId="ADAL" clId="{90877F19-00D2-4A00-8128-E78E36266C9A}" dt="2023-11-05T03:16:01.654" v="129673"/>
          <ac:spMkLst>
            <pc:docMk/>
            <pc:sldMk cId="153294527" sldId="353"/>
            <ac:spMk id="131" creationId="{BF9B7918-3F38-BC06-24CC-274D2B034300}"/>
          </ac:spMkLst>
        </pc:spChg>
        <pc:spChg chg="mod ord">
          <ac:chgData name="Muchahary, Frankle" userId="0f2bf491-0617-4378-90b8-89af8fa381b9" providerId="ADAL" clId="{90877F19-00D2-4A00-8128-E78E36266C9A}" dt="2023-11-05T03:16:01.660" v="129690"/>
          <ac:spMkLst>
            <pc:docMk/>
            <pc:sldMk cId="153294527" sldId="353"/>
            <ac:spMk id="151" creationId="{653CC2D2-A109-865F-4838-3A09E80FE43F}"/>
          </ac:spMkLst>
        </pc:spChg>
        <pc:spChg chg="mod ord">
          <ac:chgData name="Muchahary, Frankle" userId="0f2bf491-0617-4378-90b8-89af8fa381b9" providerId="ADAL" clId="{90877F19-00D2-4A00-8128-E78E36266C9A}" dt="2023-11-05T03:16:01.663" v="129699"/>
          <ac:spMkLst>
            <pc:docMk/>
            <pc:sldMk cId="153294527" sldId="353"/>
            <ac:spMk id="163" creationId="{55970BFC-3EC6-4BDC-68C7-CE8956A2BD7B}"/>
          </ac:spMkLst>
        </pc:spChg>
        <pc:spChg chg="mod ord">
          <ac:chgData name="Muchahary, Frankle" userId="0f2bf491-0617-4378-90b8-89af8fa381b9" providerId="ADAL" clId="{90877F19-00D2-4A00-8128-E78E36266C9A}" dt="2023-11-05T03:16:01.664" v="129703"/>
          <ac:spMkLst>
            <pc:docMk/>
            <pc:sldMk cId="153294527" sldId="353"/>
            <ac:spMk id="213" creationId="{98A5CB74-676C-4BB8-387A-1297345D863B}"/>
          </ac:spMkLst>
        </pc:spChg>
        <pc:spChg chg="mod ord">
          <ac:chgData name="Muchahary, Frankle" userId="0f2bf491-0617-4378-90b8-89af8fa381b9" providerId="ADAL" clId="{90877F19-00D2-4A00-8128-E78E36266C9A}" dt="2023-11-05T03:16:01.665" v="129705"/>
          <ac:spMkLst>
            <pc:docMk/>
            <pc:sldMk cId="153294527" sldId="353"/>
            <ac:spMk id="219" creationId="{CD06FDE8-A56D-11DA-B974-2BB817B526D9}"/>
          </ac:spMkLst>
        </pc:spChg>
        <pc:graphicFrameChg chg="add del mod ord replST">
          <ac:chgData name="Muchahary, Frankle" userId="0f2bf491-0617-4378-90b8-89af8fa381b9" providerId="ADAL" clId="{90877F19-00D2-4A00-8128-E78E36266C9A}" dt="2023-11-05T03:12:15.933" v="128632"/>
          <ac:graphicFrameMkLst>
            <pc:docMk/>
            <pc:sldMk cId="153294527" sldId="353"/>
            <ac:graphicFrameMk id="6" creationId="{98F8B0EF-9179-1994-8AEA-BFCC4256DD3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12:19.412" v="128724"/>
          <ac:graphicFrameMkLst>
            <pc:docMk/>
            <pc:sldMk cId="153294527" sldId="353"/>
            <ac:graphicFrameMk id="7" creationId="{DAAF9B67-4600-BFC1-CE45-1D4F2DD2CF04}"/>
          </ac:graphicFrameMkLst>
        </pc:graphicFrameChg>
        <pc:graphicFrameChg chg="mod">
          <ac:chgData name="Muchahary, Frankle" userId="0f2bf491-0617-4378-90b8-89af8fa381b9" providerId="ADAL" clId="{90877F19-00D2-4A00-8128-E78E36266C9A}" dt="2023-11-05T03:22:08.521" v="129721"/>
          <ac:graphicFrameMkLst>
            <pc:docMk/>
            <pc:sldMk cId="153294527" sldId="353"/>
            <ac:graphicFrameMk id="8" creationId="{7C2468B8-94B3-1E45-C5D3-2E4C6420535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12:38.833" v="128963"/>
          <ac:graphicFrameMkLst>
            <pc:docMk/>
            <pc:sldMk cId="153294527" sldId="353"/>
            <ac:graphicFrameMk id="9" creationId="{57962CF2-F949-8989-6CC4-829CF13B3EC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16:01.615" v="129649"/>
          <ac:graphicFrameMkLst>
            <pc:docMk/>
            <pc:sldMk cId="153294527" sldId="353"/>
            <ac:graphicFrameMk id="11" creationId="{175FA188-6699-4EDE-9E85-3B1AE821B827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13:04.819" v="129237"/>
          <ac:graphicFrameMkLst>
            <pc:docMk/>
            <pc:sldMk cId="153294527" sldId="353"/>
            <ac:graphicFrameMk id="13" creationId="{91A69F29-6137-CF05-A4B7-07129FFF762F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5T03:16:01.649" v="129661"/>
          <ac:graphicFrameMkLst>
            <pc:docMk/>
            <pc:sldMk cId="153294527" sldId="353"/>
            <ac:graphicFrameMk id="21" creationId="{DE009413-4552-C0D9-80D3-28E93B1204AF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5T03:16:01.655" v="129678"/>
          <ac:graphicFrameMkLst>
            <pc:docMk/>
            <pc:sldMk cId="153294527" sldId="353"/>
            <ac:graphicFrameMk id="26" creationId="{37DB4D6A-7D92-B177-18FF-62B170157E94}"/>
          </ac:graphicFrameMkLst>
        </pc:graphicFrameChg>
        <pc:graphicFrameChg chg="del mod ord">
          <ac:chgData name="Muchahary, Frankle" userId="0f2bf491-0617-4378-90b8-89af8fa381b9" providerId="ADAL" clId="{90877F19-00D2-4A00-8128-E78E36266C9A}" dt="2023-11-05T03:14:03.445" v="129392"/>
          <ac:graphicFrameMkLst>
            <pc:docMk/>
            <pc:sldMk cId="153294527" sldId="353"/>
            <ac:graphicFrameMk id="184" creationId="{2208047C-AA51-9B7E-C610-5B7C33DB0799}"/>
          </ac:graphicFrameMkLst>
        </pc:graphicFrameChg>
        <pc:graphicFrameChg chg="del">
          <ac:chgData name="Muchahary, Frankle" userId="0f2bf491-0617-4378-90b8-89af8fa381b9" providerId="ADAL" clId="{90877F19-00D2-4A00-8128-E78E36266C9A}" dt="2023-11-05T03:12:09.036" v="128507"/>
          <ac:graphicFrameMkLst>
            <pc:docMk/>
            <pc:sldMk cId="153294527" sldId="353"/>
            <ac:graphicFrameMk id="227" creationId="{92468249-9B15-E077-5836-C6A4A9885BED}"/>
          </ac:graphicFrameMkLst>
        </pc:graphicFrameChg>
        <pc:cxnChg chg="add mod ord">
          <ac:chgData name="Muchahary, Frankle" userId="0f2bf491-0617-4378-90b8-89af8fa381b9" providerId="ADAL" clId="{90877F19-00D2-4A00-8128-E78E36266C9A}" dt="2023-11-05T03:16:01.666" v="129707"/>
          <ac:cxnSpMkLst>
            <pc:docMk/>
            <pc:sldMk cId="153294527" sldId="353"/>
            <ac:cxnSpMk id="16" creationId="{45F62A0D-CECE-F0A6-5C22-537E0A331C2D}"/>
          </ac:cxnSpMkLst>
        </pc:cxnChg>
        <pc:cxnChg chg="add mod ord">
          <ac:chgData name="Muchahary, Frankle" userId="0f2bf491-0617-4378-90b8-89af8fa381b9" providerId="ADAL" clId="{90877F19-00D2-4A00-8128-E78E36266C9A}" dt="2023-11-05T03:16:01.666" v="129709"/>
          <ac:cxnSpMkLst>
            <pc:docMk/>
            <pc:sldMk cId="153294527" sldId="353"/>
            <ac:cxnSpMk id="24" creationId="{0A1AAE7D-E594-9A0D-E299-3249B7E7C926}"/>
          </ac:cxnSpMkLst>
        </pc:cxnChg>
        <pc:cxnChg chg="mod ord">
          <ac:chgData name="Muchahary, Frankle" userId="0f2bf491-0617-4378-90b8-89af8fa381b9" providerId="ADAL" clId="{90877F19-00D2-4A00-8128-E78E36266C9A}" dt="2023-11-05T03:16:01.663" v="129697"/>
          <ac:cxnSpMkLst>
            <pc:docMk/>
            <pc:sldMk cId="153294527" sldId="353"/>
            <ac:cxnSpMk id="129" creationId="{4C684A90-A1E8-D5EF-1001-F0D6C7AFB3AB}"/>
          </ac:cxnSpMkLst>
        </pc:cxnChg>
        <pc:cxnChg chg="mod ord">
          <ac:chgData name="Muchahary, Frankle" userId="0f2bf491-0617-4378-90b8-89af8fa381b9" providerId="ADAL" clId="{90877F19-00D2-4A00-8128-E78E36266C9A}" dt="2023-11-05T03:16:01.649" v="129663"/>
          <ac:cxnSpMkLst>
            <pc:docMk/>
            <pc:sldMk cId="153294527" sldId="353"/>
            <ac:cxnSpMk id="133" creationId="{8226742B-C3A5-86A3-D506-D4B6A0A8D532}"/>
          </ac:cxnSpMkLst>
        </pc:cxnChg>
        <pc:cxnChg chg="mod ord">
          <ac:chgData name="Muchahary, Frankle" userId="0f2bf491-0617-4378-90b8-89af8fa381b9" providerId="ADAL" clId="{90877F19-00D2-4A00-8128-E78E36266C9A}" dt="2023-11-05T03:16:01.650" v="129665"/>
          <ac:cxnSpMkLst>
            <pc:docMk/>
            <pc:sldMk cId="153294527" sldId="353"/>
            <ac:cxnSpMk id="134" creationId="{E5EDAD51-0D82-C22C-D439-93A23ABED200}"/>
          </ac:cxnSpMkLst>
        </pc:cxnChg>
        <pc:cxnChg chg="mod ord">
          <ac:chgData name="Muchahary, Frankle" userId="0f2bf491-0617-4378-90b8-89af8fa381b9" providerId="ADAL" clId="{90877F19-00D2-4A00-8128-E78E36266C9A}" dt="2023-11-05T03:16:01.650" v="129667"/>
          <ac:cxnSpMkLst>
            <pc:docMk/>
            <pc:sldMk cId="153294527" sldId="353"/>
            <ac:cxnSpMk id="135" creationId="{C10A9ED0-DD2B-171F-FBAC-5A82D3DC6077}"/>
          </ac:cxnSpMkLst>
        </pc:cxnChg>
        <pc:cxnChg chg="mod ord">
          <ac:chgData name="Muchahary, Frankle" userId="0f2bf491-0617-4378-90b8-89af8fa381b9" providerId="ADAL" clId="{90877F19-00D2-4A00-8128-E78E36266C9A}" dt="2023-11-05T03:16:01.656" v="129680"/>
          <ac:cxnSpMkLst>
            <pc:docMk/>
            <pc:sldMk cId="153294527" sldId="353"/>
            <ac:cxnSpMk id="152" creationId="{0AE32392-9557-343F-6114-E5FE846AFF1C}"/>
          </ac:cxnSpMkLst>
        </pc:cxnChg>
        <pc:cxnChg chg="mod ord">
          <ac:chgData name="Muchahary, Frankle" userId="0f2bf491-0617-4378-90b8-89af8fa381b9" providerId="ADAL" clId="{90877F19-00D2-4A00-8128-E78E36266C9A}" dt="2023-11-05T03:16:01.656" v="129682"/>
          <ac:cxnSpMkLst>
            <pc:docMk/>
            <pc:sldMk cId="153294527" sldId="353"/>
            <ac:cxnSpMk id="153" creationId="{4F9DDF49-8C6A-BBEC-7E56-DF5C1D085364}"/>
          </ac:cxnSpMkLst>
        </pc:cxnChg>
        <pc:cxnChg chg="mod ord">
          <ac:chgData name="Muchahary, Frankle" userId="0f2bf491-0617-4378-90b8-89af8fa381b9" providerId="ADAL" clId="{90877F19-00D2-4A00-8128-E78E36266C9A}" dt="2023-11-05T03:16:01.657" v="129684"/>
          <ac:cxnSpMkLst>
            <pc:docMk/>
            <pc:sldMk cId="153294527" sldId="353"/>
            <ac:cxnSpMk id="154" creationId="{17D7B860-9CB3-8CDE-B0C4-EA5F0D10D961}"/>
          </ac:cxnSpMkLst>
        </pc:cxnChg>
        <pc:cxnChg chg="mod ord">
          <ac:chgData name="Muchahary, Frankle" userId="0f2bf491-0617-4378-90b8-89af8fa381b9" providerId="ADAL" clId="{90877F19-00D2-4A00-8128-E78E36266C9A}" dt="2023-11-05T03:16:01.663" v="129701"/>
          <ac:cxnSpMkLst>
            <pc:docMk/>
            <pc:sldMk cId="153294527" sldId="353"/>
            <ac:cxnSpMk id="164" creationId="{C5064760-9F70-E536-0BD1-75CC7AE3DA1A}"/>
          </ac:cxnSpMkLst>
        </pc:cxnChg>
      </pc:sldChg>
      <pc:sldChg chg="addSp delSp modSp add mod modClrScheme chgLayout">
        <pc:chgData name="Muchahary, Frankle" userId="0f2bf491-0617-4378-90b8-89af8fa381b9" providerId="ADAL" clId="{90877F19-00D2-4A00-8128-E78E36266C9A}" dt="2023-11-08T05:53:18.841" v="163410" actId="700"/>
        <pc:sldMkLst>
          <pc:docMk/>
          <pc:sldMk cId="2948950000" sldId="354"/>
        </pc:sldMkLst>
        <pc:spChg chg="mod ord">
          <ac:chgData name="Muchahary, Frankle" userId="0f2bf491-0617-4378-90b8-89af8fa381b9" providerId="ADAL" clId="{90877F19-00D2-4A00-8128-E78E36266C9A}" dt="2023-11-05T03:41:42.160" v="145052"/>
          <ac:spMkLst>
            <pc:docMk/>
            <pc:sldMk cId="2948950000" sldId="354"/>
            <ac:spMk id="2" creationId="{D38E5C8C-3841-BCDE-2788-4F1BD656772E}"/>
          </ac:spMkLst>
        </pc:spChg>
        <pc:spChg chg="del">
          <ac:chgData name="Muchahary, Frankle" userId="0f2bf491-0617-4378-90b8-89af8fa381b9" providerId="ADAL" clId="{90877F19-00D2-4A00-8128-E78E36266C9A}" dt="2023-11-05T03:23:50.644" v="129770"/>
          <ac:spMkLst>
            <pc:docMk/>
            <pc:sldMk cId="2948950000" sldId="354"/>
            <ac:spMk id="3" creationId="{27851A68-3172-4EE2-8476-2E5DD39D0C47}"/>
          </ac:spMkLst>
        </pc:spChg>
        <pc:spChg chg="add del mod modVis">
          <ac:chgData name="Muchahary, Frankle" userId="0f2bf491-0617-4378-90b8-89af8fa381b9" providerId="ADAL" clId="{90877F19-00D2-4A00-8128-E78E36266C9A}" dt="2023-11-05T03:23:42.893" v="129753"/>
          <ac:spMkLst>
            <pc:docMk/>
            <pc:sldMk cId="2948950000" sldId="354"/>
            <ac:spMk id="4" creationId="{FDE3568E-E0E7-42D8-81A1-9A5F03465587}"/>
          </ac:spMkLst>
        </pc:spChg>
        <pc:spChg chg="del">
          <ac:chgData name="Muchahary, Frankle" userId="0f2bf491-0617-4378-90b8-89af8fa381b9" providerId="ADAL" clId="{90877F19-00D2-4A00-8128-E78E36266C9A}" dt="2023-11-05T03:23:50.643" v="129768"/>
          <ac:spMkLst>
            <pc:docMk/>
            <pc:sldMk cId="2948950000" sldId="354"/>
            <ac:spMk id="5" creationId="{7847591B-1221-76F8-F159-60F2713E193F}"/>
          </ac:spMkLst>
        </pc:spChg>
        <pc:spChg chg="add del mod modVis">
          <ac:chgData name="Muchahary, Frankle" userId="0f2bf491-0617-4378-90b8-89af8fa381b9" providerId="ADAL" clId="{90877F19-00D2-4A00-8128-E78E36266C9A}" dt="2023-11-05T03:23:53.882" v="129914"/>
          <ac:spMkLst>
            <pc:docMk/>
            <pc:sldMk cId="2948950000" sldId="354"/>
            <ac:spMk id="6" creationId="{5608EC49-86AC-F009-5DFC-9D024D325D92}"/>
          </ac:spMkLst>
        </pc:spChg>
        <pc:spChg chg="add del mod modVis">
          <ac:chgData name="Muchahary, Frankle" userId="0f2bf491-0617-4378-90b8-89af8fa381b9" providerId="ADAL" clId="{90877F19-00D2-4A00-8128-E78E36266C9A}" dt="2023-11-05T03:24:09" v="130019"/>
          <ac:spMkLst>
            <pc:docMk/>
            <pc:sldMk cId="2948950000" sldId="354"/>
            <ac:spMk id="9" creationId="{F262937D-7B86-8645-A04B-3E92B0206780}"/>
          </ac:spMkLst>
        </pc:spChg>
        <pc:spChg chg="add del mod modVis">
          <ac:chgData name="Muchahary, Frankle" userId="0f2bf491-0617-4378-90b8-89af8fa381b9" providerId="ADAL" clId="{90877F19-00D2-4A00-8128-E78E36266C9A}" dt="2023-11-05T03:24:12.571" v="130097"/>
          <ac:spMkLst>
            <pc:docMk/>
            <pc:sldMk cId="2948950000" sldId="354"/>
            <ac:spMk id="11" creationId="{80B441F4-1E35-AC34-5FFD-2CC374801647}"/>
          </ac:spMkLst>
        </pc:spChg>
        <pc:spChg chg="add mod replST">
          <ac:chgData name="Muchahary, Frankle" userId="0f2bf491-0617-4378-90b8-89af8fa381b9" providerId="ADAL" clId="{90877F19-00D2-4A00-8128-E78E36266C9A}" dt="2023-11-05T03:41:42.175" v="145084"/>
          <ac:spMkLst>
            <pc:docMk/>
            <pc:sldMk cId="2948950000" sldId="354"/>
            <ac:spMk id="13" creationId="{EC99361F-542D-58A2-8885-BE41C5CB3848}"/>
          </ac:spMkLst>
        </pc:spChg>
        <pc:spChg chg="add del mod modVis">
          <ac:chgData name="Muchahary, Frankle" userId="0f2bf491-0617-4378-90b8-89af8fa381b9" providerId="ADAL" clId="{90877F19-00D2-4A00-8128-E78E36266C9A}" dt="2023-11-05T03:24:32.379" v="130497"/>
          <ac:spMkLst>
            <pc:docMk/>
            <pc:sldMk cId="2948950000" sldId="354"/>
            <ac:spMk id="14" creationId="{32A51113-8E02-E570-270E-CF0EEAF169F9}"/>
          </ac:spMkLst>
        </pc:spChg>
        <pc:spChg chg="add del mod replST">
          <ac:chgData name="Muchahary, Frankle" userId="0f2bf491-0617-4378-90b8-89af8fa381b9" providerId="ADAL" clId="{90877F19-00D2-4A00-8128-E78E36266C9A}" dt="2023-11-05T03:41:42.176" v="145085"/>
          <ac:spMkLst>
            <pc:docMk/>
            <pc:sldMk cId="2948950000" sldId="354"/>
            <ac:spMk id="15" creationId="{985059B3-79E3-4CCC-3270-A1E578D007F6}"/>
          </ac:spMkLst>
        </pc:spChg>
        <pc:spChg chg="del">
          <ac:chgData name="Muchahary, Frankle" userId="0f2bf491-0617-4378-90b8-89af8fa381b9" providerId="ADAL" clId="{90877F19-00D2-4A00-8128-E78E36266C9A}" dt="2023-11-05T03:23:42.851" v="129727"/>
          <ac:spMkLst>
            <pc:docMk/>
            <pc:sldMk cId="2948950000" sldId="354"/>
            <ac:spMk id="17" creationId="{83D8F380-3B49-E6D4-0802-6D4922AD150E}"/>
          </ac:spMkLst>
        </pc:spChg>
        <pc:spChg chg="add mod replST">
          <ac:chgData name="Muchahary, Frankle" userId="0f2bf491-0617-4378-90b8-89af8fa381b9" providerId="ADAL" clId="{90877F19-00D2-4A00-8128-E78E36266C9A}" dt="2023-11-05T03:41:42.170" v="145073"/>
          <ac:spMkLst>
            <pc:docMk/>
            <pc:sldMk cId="2948950000" sldId="354"/>
            <ac:spMk id="18" creationId="{3163B661-8C09-BC7E-82C6-7D3AE909F677}"/>
          </ac:spMkLst>
        </pc:spChg>
        <pc:spChg chg="add del mod replST">
          <ac:chgData name="Muchahary, Frankle" userId="0f2bf491-0617-4378-90b8-89af8fa381b9" providerId="ADAL" clId="{90877F19-00D2-4A00-8128-E78E36266C9A}" dt="2023-11-05T03:25:12.686" v="130974"/>
          <ac:spMkLst>
            <pc:docMk/>
            <pc:sldMk cId="2948950000" sldId="354"/>
            <ac:spMk id="19" creationId="{2E84D413-5691-04DE-8563-ADC215DEBD34}"/>
          </ac:spMkLst>
        </pc:spChg>
        <pc:spChg chg="del">
          <ac:chgData name="Muchahary, Frankle" userId="0f2bf491-0617-4378-90b8-89af8fa381b9" providerId="ADAL" clId="{90877F19-00D2-4A00-8128-E78E36266C9A}" dt="2023-11-05T03:23:42.850" v="129726"/>
          <ac:spMkLst>
            <pc:docMk/>
            <pc:sldMk cId="2948950000" sldId="354"/>
            <ac:spMk id="20" creationId="{AB930219-4A48-DEF0-AE52-570BFDB1948F}"/>
          </ac:spMkLst>
        </pc:spChg>
        <pc:spChg chg="add del mod replST">
          <ac:chgData name="Muchahary, Frankle" userId="0f2bf491-0617-4378-90b8-89af8fa381b9" providerId="ADAL" clId="{90877F19-00D2-4A00-8128-E78E36266C9A}" dt="2023-11-05T03:25:12.690" v="130976"/>
          <ac:spMkLst>
            <pc:docMk/>
            <pc:sldMk cId="2948950000" sldId="354"/>
            <ac:spMk id="22" creationId="{921044C4-CFD2-493E-A667-757ACC937213}"/>
          </ac:spMkLst>
        </pc:spChg>
        <pc:spChg chg="add mod replST">
          <ac:chgData name="Muchahary, Frankle" userId="0f2bf491-0617-4378-90b8-89af8fa381b9" providerId="ADAL" clId="{90877F19-00D2-4A00-8128-E78E36266C9A}" dt="2023-11-05T03:41:42.174" v="145081"/>
          <ac:spMkLst>
            <pc:docMk/>
            <pc:sldMk cId="2948950000" sldId="354"/>
            <ac:spMk id="25" creationId="{620B242F-FB96-1114-4235-7FB0BD74A9F2}"/>
          </ac:spMkLst>
        </pc:spChg>
        <pc:spChg chg="add del mod ord replST">
          <ac:chgData name="Muchahary, Frankle" userId="0f2bf491-0617-4378-90b8-89af8fa381b9" providerId="ADAL" clId="{90877F19-00D2-4A00-8128-E78E36266C9A}" dt="2023-11-05T03:41:42.175" v="145083"/>
          <ac:spMkLst>
            <pc:docMk/>
            <pc:sldMk cId="2948950000" sldId="354"/>
            <ac:spMk id="27" creationId="{A7DC921B-D373-06F3-836A-FF0FB048FA4A}"/>
          </ac:spMkLst>
        </pc:spChg>
        <pc:spChg chg="add del mod modVis">
          <ac:chgData name="Muchahary, Frankle" userId="0f2bf491-0617-4378-90b8-89af8fa381b9" providerId="ADAL" clId="{90877F19-00D2-4A00-8128-E78E36266C9A}" dt="2023-11-05T03:25:12.743" v="131005"/>
          <ac:spMkLst>
            <pc:docMk/>
            <pc:sldMk cId="2948950000" sldId="354"/>
            <ac:spMk id="34" creationId="{7C74691F-AED8-4F62-351E-50518F27D9D5}"/>
          </ac:spMkLst>
        </pc:spChg>
        <pc:spChg chg="add del mod modVis">
          <ac:chgData name="Muchahary, Frankle" userId="0f2bf491-0617-4378-90b8-89af8fa381b9" providerId="ADAL" clId="{90877F19-00D2-4A00-8128-E78E36266C9A}" dt="2023-11-05T03:25:23.543" v="131080"/>
          <ac:spMkLst>
            <pc:docMk/>
            <pc:sldMk cId="2948950000" sldId="354"/>
            <ac:spMk id="36" creationId="{21940470-8265-44A4-6E98-4433994C6AE1}"/>
          </ac:spMkLst>
        </pc:spChg>
        <pc:spChg chg="add mod replST">
          <ac:chgData name="Muchahary, Frankle" userId="0f2bf491-0617-4378-90b8-89af8fa381b9" providerId="ADAL" clId="{90877F19-00D2-4A00-8128-E78E36266C9A}" dt="2023-11-05T03:41:42.171" v="145074"/>
          <ac:spMkLst>
            <pc:docMk/>
            <pc:sldMk cId="2948950000" sldId="354"/>
            <ac:spMk id="38" creationId="{BBD3CB43-F04F-B920-A34B-98BA719DDBF5}"/>
          </ac:spMkLst>
        </pc:spChg>
        <pc:spChg chg="add del mod modVis">
          <ac:chgData name="Muchahary, Frankle" userId="0f2bf491-0617-4378-90b8-89af8fa381b9" providerId="ADAL" clId="{90877F19-00D2-4A00-8128-E78E36266C9A}" dt="2023-11-05T03:25:31.481" v="131161"/>
          <ac:spMkLst>
            <pc:docMk/>
            <pc:sldMk cId="2948950000" sldId="354"/>
            <ac:spMk id="39" creationId="{DCA8818F-6921-297D-D4F0-BC3E6899A923}"/>
          </ac:spMkLst>
        </pc:spChg>
        <pc:spChg chg="add del mod modVis">
          <ac:chgData name="Muchahary, Frankle" userId="0f2bf491-0617-4378-90b8-89af8fa381b9" providerId="ADAL" clId="{90877F19-00D2-4A00-8128-E78E36266C9A}" dt="2023-11-05T03:25:50.804" v="131293"/>
          <ac:spMkLst>
            <pc:docMk/>
            <pc:sldMk cId="2948950000" sldId="354"/>
            <ac:spMk id="43" creationId="{FC703F68-EE74-07D9-C57C-7932C10EF9D2}"/>
          </ac:spMkLst>
        </pc:spChg>
        <pc:spChg chg="add del mod modVis">
          <ac:chgData name="Muchahary, Frankle" userId="0f2bf491-0617-4378-90b8-89af8fa381b9" providerId="ADAL" clId="{90877F19-00D2-4A00-8128-E78E36266C9A}" dt="2023-11-05T03:25:58.320" v="131361"/>
          <ac:spMkLst>
            <pc:docMk/>
            <pc:sldMk cId="2948950000" sldId="354"/>
            <ac:spMk id="45" creationId="{78C1B9AF-9231-B18C-78FA-808BDCC3B347}"/>
          </ac:spMkLst>
        </pc:spChg>
        <pc:spChg chg="add del mod modVis">
          <ac:chgData name="Muchahary, Frankle" userId="0f2bf491-0617-4378-90b8-89af8fa381b9" providerId="ADAL" clId="{90877F19-00D2-4A00-8128-E78E36266C9A}" dt="2023-11-05T03:26:42.033" v="131590"/>
          <ac:spMkLst>
            <pc:docMk/>
            <pc:sldMk cId="2948950000" sldId="354"/>
            <ac:spMk id="50" creationId="{50FB73C7-C7BB-307B-53A3-C44941BF95CB}"/>
          </ac:spMkLst>
        </pc:spChg>
        <pc:spChg chg="add del mod modVis">
          <ac:chgData name="Muchahary, Frankle" userId="0f2bf491-0617-4378-90b8-89af8fa381b9" providerId="ADAL" clId="{90877F19-00D2-4A00-8128-E78E36266C9A}" dt="2023-11-05T03:26:46.005" v="131658"/>
          <ac:spMkLst>
            <pc:docMk/>
            <pc:sldMk cId="2948950000" sldId="354"/>
            <ac:spMk id="52" creationId="{26E545AB-1308-0960-7375-A112DAA15394}"/>
          </ac:spMkLst>
        </pc:spChg>
        <pc:spChg chg="add del mod modVis">
          <ac:chgData name="Muchahary, Frankle" userId="0f2bf491-0617-4378-90b8-89af8fa381b9" providerId="ADAL" clId="{90877F19-00D2-4A00-8128-E78E36266C9A}" dt="2023-11-05T03:27:47.480" v="131845"/>
          <ac:spMkLst>
            <pc:docMk/>
            <pc:sldMk cId="2948950000" sldId="354"/>
            <ac:spMk id="57" creationId="{FFA10EBD-11E3-0743-55A8-70CCBFCBC0AD}"/>
          </ac:spMkLst>
        </pc:spChg>
        <pc:spChg chg="del mod">
          <ac:chgData name="Muchahary, Frankle" userId="0f2bf491-0617-4378-90b8-89af8fa381b9" providerId="ADAL" clId="{90877F19-00D2-4A00-8128-E78E36266C9A}" dt="2023-11-05T03:24:47.773" v="130831"/>
          <ac:spMkLst>
            <pc:docMk/>
            <pc:sldMk cId="2948950000" sldId="354"/>
            <ac:spMk id="58" creationId="{F3DFF600-8704-4CE6-3A0F-5CCAF2D9FE91}"/>
          </ac:spMkLst>
        </pc:spChg>
        <pc:spChg chg="del mod">
          <ac:chgData name="Muchahary, Frankle" userId="0f2bf491-0617-4378-90b8-89af8fa381b9" providerId="ADAL" clId="{90877F19-00D2-4A00-8128-E78E36266C9A}" dt="2023-11-05T03:24:12.516" v="130059"/>
          <ac:spMkLst>
            <pc:docMk/>
            <pc:sldMk cId="2948950000" sldId="354"/>
            <ac:spMk id="59" creationId="{B1C8EEB9-E3E5-126E-831C-7581C37541E1}"/>
          </ac:spMkLst>
        </pc:spChg>
        <pc:spChg chg="del mod ord">
          <ac:chgData name="Muchahary, Frankle" userId="0f2bf491-0617-4378-90b8-89af8fa381b9" providerId="ADAL" clId="{90877F19-00D2-4A00-8128-E78E36266C9A}" dt="2023-11-05T03:24:47.767" v="130819"/>
          <ac:spMkLst>
            <pc:docMk/>
            <pc:sldMk cId="2948950000" sldId="354"/>
            <ac:spMk id="61" creationId="{4E9DEBED-3FBB-BBD2-CED6-0F25DDE4D20C}"/>
          </ac:spMkLst>
        </pc:spChg>
        <pc:spChg chg="add del mod modVis">
          <ac:chgData name="Muchahary, Frankle" userId="0f2bf491-0617-4378-90b8-89af8fa381b9" providerId="ADAL" clId="{90877F19-00D2-4A00-8128-E78E36266C9A}" dt="2023-11-05T03:27:51.872" v="131918"/>
          <ac:spMkLst>
            <pc:docMk/>
            <pc:sldMk cId="2948950000" sldId="354"/>
            <ac:spMk id="62" creationId="{3D6185B3-14B3-912F-FCCD-829A69719FBB}"/>
          </ac:spMkLst>
        </pc:spChg>
        <pc:spChg chg="del mod">
          <ac:chgData name="Muchahary, Frankle" userId="0f2bf491-0617-4378-90b8-89af8fa381b9" providerId="ADAL" clId="{90877F19-00D2-4A00-8128-E78E36266C9A}" dt="2023-11-05T03:24:47.767" v="130820"/>
          <ac:spMkLst>
            <pc:docMk/>
            <pc:sldMk cId="2948950000" sldId="354"/>
            <ac:spMk id="63" creationId="{B3526834-F29D-322D-8656-3256FC3246BD}"/>
          </ac:spMkLst>
        </pc:spChg>
        <pc:spChg chg="add del mod modVis">
          <ac:chgData name="Muchahary, Frankle" userId="0f2bf491-0617-4378-90b8-89af8fa381b9" providerId="ADAL" clId="{90877F19-00D2-4A00-8128-E78E36266C9A}" dt="2023-11-05T03:28:26.062" v="131969"/>
          <ac:spMkLst>
            <pc:docMk/>
            <pc:sldMk cId="2948950000" sldId="354"/>
            <ac:spMk id="65" creationId="{4845DABF-3436-58C4-FA3E-4B218C7C4771}"/>
          </ac:spMkLst>
        </pc:spChg>
        <pc:spChg chg="add del mod modVis">
          <ac:chgData name="Muchahary, Frankle" userId="0f2bf491-0617-4378-90b8-89af8fa381b9" providerId="ADAL" clId="{90877F19-00D2-4A00-8128-E78E36266C9A}" dt="2023-11-05T03:28:33.041" v="132020"/>
          <ac:spMkLst>
            <pc:docMk/>
            <pc:sldMk cId="2948950000" sldId="354"/>
            <ac:spMk id="67" creationId="{55533055-7EA4-D1C3-A573-917339477A96}"/>
          </ac:spMkLst>
        </pc:spChg>
        <pc:spChg chg="add del mod modVis">
          <ac:chgData name="Muchahary, Frankle" userId="0f2bf491-0617-4378-90b8-89af8fa381b9" providerId="ADAL" clId="{90877F19-00D2-4A00-8128-E78E36266C9A}" dt="2023-11-05T03:28:36.522" v="132071"/>
          <ac:spMkLst>
            <pc:docMk/>
            <pc:sldMk cId="2948950000" sldId="354"/>
            <ac:spMk id="69" creationId="{F961536D-7A62-350F-23E0-09C8C3BCB20F}"/>
          </ac:spMkLst>
        </pc:spChg>
        <pc:spChg chg="add del mod modVis">
          <ac:chgData name="Muchahary, Frankle" userId="0f2bf491-0617-4378-90b8-89af8fa381b9" providerId="ADAL" clId="{90877F19-00D2-4A00-8128-E78E36266C9A}" dt="2023-11-05T03:28:39.268" v="132122"/>
          <ac:spMkLst>
            <pc:docMk/>
            <pc:sldMk cId="2948950000" sldId="354"/>
            <ac:spMk id="71" creationId="{74DC2C93-361F-2BC3-B705-50F2C1BA863C}"/>
          </ac:spMkLst>
        </pc:spChg>
        <pc:spChg chg="add del mod modVis">
          <ac:chgData name="Muchahary, Frankle" userId="0f2bf491-0617-4378-90b8-89af8fa381b9" providerId="ADAL" clId="{90877F19-00D2-4A00-8128-E78E36266C9A}" dt="2023-11-05T03:28:53.103" v="132173"/>
          <ac:spMkLst>
            <pc:docMk/>
            <pc:sldMk cId="2948950000" sldId="354"/>
            <ac:spMk id="73" creationId="{7BB98A02-AEAC-372B-7845-2BC1D0545A0E}"/>
          </ac:spMkLst>
        </pc:spChg>
        <pc:spChg chg="add del mod modVis">
          <ac:chgData name="Muchahary, Frankle" userId="0f2bf491-0617-4378-90b8-89af8fa381b9" providerId="ADAL" clId="{90877F19-00D2-4A00-8128-E78E36266C9A}" dt="2023-11-05T03:29:37.832" v="132238"/>
          <ac:spMkLst>
            <pc:docMk/>
            <pc:sldMk cId="2948950000" sldId="354"/>
            <ac:spMk id="75" creationId="{7CD606E3-9EFE-D786-2F9F-92973E66FB10}"/>
          </ac:spMkLst>
        </pc:spChg>
        <pc:spChg chg="add del mod modVis">
          <ac:chgData name="Muchahary, Frankle" userId="0f2bf491-0617-4378-90b8-89af8fa381b9" providerId="ADAL" clId="{90877F19-00D2-4A00-8128-E78E36266C9A}" dt="2023-11-05T03:29:43.624" v="132303"/>
          <ac:spMkLst>
            <pc:docMk/>
            <pc:sldMk cId="2948950000" sldId="354"/>
            <ac:spMk id="77" creationId="{15065A77-80BE-1BF7-F2BD-FDD82591B53C}"/>
          </ac:spMkLst>
        </pc:spChg>
        <pc:spChg chg="add del mod replST">
          <ac:chgData name="Muchahary, Frankle" userId="0f2bf491-0617-4378-90b8-89af8fa381b9" providerId="ADAL" clId="{90877F19-00D2-4A00-8128-E78E36266C9A}" dt="2023-11-05T03:29:52.951" v="132497"/>
          <ac:spMkLst>
            <pc:docMk/>
            <pc:sldMk cId="2948950000" sldId="354"/>
            <ac:spMk id="79" creationId="{1FD89C82-F9F5-B294-511C-486C9CCD9707}"/>
          </ac:spMkLst>
        </pc:spChg>
        <pc:spChg chg="add del mod modVis">
          <ac:chgData name="Muchahary, Frankle" userId="0f2bf491-0617-4378-90b8-89af8fa381b9" providerId="ADAL" clId="{90877F19-00D2-4A00-8128-E78E36266C9A}" dt="2023-11-05T03:29:51.840" v="132412"/>
          <ac:spMkLst>
            <pc:docMk/>
            <pc:sldMk cId="2948950000" sldId="354"/>
            <ac:spMk id="80" creationId="{FF142E8E-8231-38C6-B497-630C3C639E80}"/>
          </ac:spMkLst>
        </pc:spChg>
        <pc:spChg chg="add del mod replST">
          <ac:chgData name="Muchahary, Frankle" userId="0f2bf491-0617-4378-90b8-89af8fa381b9" providerId="ADAL" clId="{90877F19-00D2-4A00-8128-E78E36266C9A}" dt="2023-11-05T03:29:54.867" v="132531"/>
          <ac:spMkLst>
            <pc:docMk/>
            <pc:sldMk cId="2948950000" sldId="354"/>
            <ac:spMk id="82" creationId="{B32E22CC-8803-ACF9-7750-9B5844051EE0}"/>
          </ac:spMkLst>
        </pc:spChg>
        <pc:spChg chg="add del mod modVis">
          <ac:chgData name="Muchahary, Frankle" userId="0f2bf491-0617-4378-90b8-89af8fa381b9" providerId="ADAL" clId="{90877F19-00D2-4A00-8128-E78E36266C9A}" dt="2023-11-05T03:29:52.985" v="132523"/>
          <ac:spMkLst>
            <pc:docMk/>
            <pc:sldMk cId="2948950000" sldId="354"/>
            <ac:spMk id="83" creationId="{C044648A-6326-DF2C-268F-103A08CF5819}"/>
          </ac:spMkLst>
        </pc:spChg>
        <pc:spChg chg="add del mod ord replST">
          <ac:chgData name="Muchahary, Frankle" userId="0f2bf491-0617-4378-90b8-89af8fa381b9" providerId="ADAL" clId="{90877F19-00D2-4A00-8128-E78E36266C9A}" dt="2023-11-05T03:41:09.105" v="144169"/>
          <ac:spMkLst>
            <pc:docMk/>
            <pc:sldMk cId="2948950000" sldId="354"/>
            <ac:spMk id="86" creationId="{ADFE1E65-56E1-883C-E9D6-4E2BA247B867}"/>
          </ac:spMkLst>
        </pc:spChg>
        <pc:spChg chg="add del mod modVis">
          <ac:chgData name="Muchahary, Frankle" userId="0f2bf491-0617-4378-90b8-89af8fa381b9" providerId="ADAL" clId="{90877F19-00D2-4A00-8128-E78E36266C9A}" dt="2023-11-05T03:29:58.509" v="132726"/>
          <ac:spMkLst>
            <pc:docMk/>
            <pc:sldMk cId="2948950000" sldId="354"/>
            <ac:spMk id="87" creationId="{A31C04C6-A64C-141F-D404-2719387F873D}"/>
          </ac:spMkLst>
        </pc:spChg>
        <pc:spChg chg="add del mod modVis">
          <ac:chgData name="Muchahary, Frankle" userId="0f2bf491-0617-4378-90b8-89af8fa381b9" providerId="ADAL" clId="{90877F19-00D2-4A00-8128-E78E36266C9A}" dt="2023-11-05T03:30:43.214" v="132802"/>
          <ac:spMkLst>
            <pc:docMk/>
            <pc:sldMk cId="2948950000" sldId="354"/>
            <ac:spMk id="92" creationId="{D94C3354-CFEA-B202-88DC-409D27835C6F}"/>
          </ac:spMkLst>
        </pc:spChg>
        <pc:spChg chg="add del mod modVis">
          <ac:chgData name="Muchahary, Frankle" userId="0f2bf491-0617-4378-90b8-89af8fa381b9" providerId="ADAL" clId="{90877F19-00D2-4A00-8128-E78E36266C9A}" dt="2023-11-05T03:30:46.428" v="132876"/>
          <ac:spMkLst>
            <pc:docMk/>
            <pc:sldMk cId="2948950000" sldId="354"/>
            <ac:spMk id="94" creationId="{58FC23FF-D59D-FBE2-C22B-8B79D15DDFF6}"/>
          </ac:spMkLst>
        </pc:spChg>
        <pc:spChg chg="add del mod modVis">
          <ac:chgData name="Muchahary, Frankle" userId="0f2bf491-0617-4378-90b8-89af8fa381b9" providerId="ADAL" clId="{90877F19-00D2-4A00-8128-E78E36266C9A}" dt="2023-11-05T03:31:00.775" v="132952"/>
          <ac:spMkLst>
            <pc:docMk/>
            <pc:sldMk cId="2948950000" sldId="354"/>
            <ac:spMk id="96" creationId="{4E5180CD-9117-DB97-3C81-995BDB1E4428}"/>
          </ac:spMkLst>
        </pc:spChg>
        <pc:spChg chg="add del mod modVis">
          <ac:chgData name="Muchahary, Frankle" userId="0f2bf491-0617-4378-90b8-89af8fa381b9" providerId="ADAL" clId="{90877F19-00D2-4A00-8128-E78E36266C9A}" dt="2023-11-05T03:31:04.522" v="133026"/>
          <ac:spMkLst>
            <pc:docMk/>
            <pc:sldMk cId="2948950000" sldId="354"/>
            <ac:spMk id="98" creationId="{56571F4B-D37C-497C-D116-C39D51DE6896}"/>
          </ac:spMkLst>
        </pc:spChg>
        <pc:spChg chg="del">
          <ac:chgData name="Muchahary, Frankle" userId="0f2bf491-0617-4378-90b8-89af8fa381b9" providerId="ADAL" clId="{90877F19-00D2-4A00-8128-E78E36266C9A}" dt="2023-11-05T03:23:50.644" v="129769"/>
          <ac:spMkLst>
            <pc:docMk/>
            <pc:sldMk cId="2948950000" sldId="354"/>
            <ac:spMk id="100" creationId="{9C681AFD-3E9F-290C-40CB-B94154E73CDC}"/>
          </ac:spMkLst>
        </pc:spChg>
        <pc:spChg chg="add del mod modVis">
          <ac:chgData name="Muchahary, Frankle" userId="0f2bf491-0617-4378-90b8-89af8fa381b9" providerId="ADAL" clId="{90877F19-00D2-4A00-8128-E78E36266C9A}" dt="2023-11-05T03:33:22.137" v="134065" actId="962"/>
          <ac:spMkLst>
            <pc:docMk/>
            <pc:sldMk cId="2948950000" sldId="354"/>
            <ac:spMk id="101" creationId="{9402C9ED-25B4-821D-E023-F7295B97AB69}"/>
          </ac:spMkLst>
        </pc:spChg>
        <pc:spChg chg="add del mod modVis">
          <ac:chgData name="Muchahary, Frankle" userId="0f2bf491-0617-4378-90b8-89af8fa381b9" providerId="ADAL" clId="{90877F19-00D2-4A00-8128-E78E36266C9A}" dt="2023-11-05T03:33:16.957" v="133736" actId="962"/>
          <ac:spMkLst>
            <pc:docMk/>
            <pc:sldMk cId="2948950000" sldId="354"/>
            <ac:spMk id="103" creationId="{A3323684-1E7D-0798-3CF1-7F3195B63720}"/>
          </ac:spMkLst>
        </pc:spChg>
        <pc:spChg chg="add del mod modVis">
          <ac:chgData name="Muchahary, Frankle" userId="0f2bf491-0617-4378-90b8-89af8fa381b9" providerId="ADAL" clId="{90877F19-00D2-4A00-8128-E78E36266C9A}" dt="2023-11-05T03:33:15.307" v="133416" actId="962"/>
          <ac:spMkLst>
            <pc:docMk/>
            <pc:sldMk cId="2948950000" sldId="354"/>
            <ac:spMk id="105" creationId="{8C0E93D2-10C1-3384-226C-AC7C08710190}"/>
          </ac:spMkLst>
        </pc:spChg>
        <pc:spChg chg="del">
          <ac:chgData name="Muchahary, Frankle" userId="0f2bf491-0617-4378-90b8-89af8fa381b9" providerId="ADAL" clId="{90877F19-00D2-4A00-8128-E78E36266C9A}" dt="2023-11-05T03:23:50.643" v="129767"/>
          <ac:spMkLst>
            <pc:docMk/>
            <pc:sldMk cId="2948950000" sldId="354"/>
            <ac:spMk id="106" creationId="{8A61F6B0-A72F-97AE-9D0B-25CCD3DFAC6B}"/>
          </ac:spMkLst>
        </pc:spChg>
        <pc:spChg chg="add del mod modVis">
          <ac:chgData name="Muchahary, Frankle" userId="0f2bf491-0617-4378-90b8-89af8fa381b9" providerId="ADAL" clId="{90877F19-00D2-4A00-8128-E78E36266C9A}" dt="2023-11-05T03:33:16.932" v="133690" actId="962"/>
          <ac:spMkLst>
            <pc:docMk/>
            <pc:sldMk cId="2948950000" sldId="354"/>
            <ac:spMk id="108" creationId="{E8F28838-16E6-DFDA-BCF2-CA4264E1F159}"/>
          </ac:spMkLst>
        </pc:spChg>
        <pc:spChg chg="add del mod modVis">
          <ac:chgData name="Muchahary, Frankle" userId="0f2bf491-0617-4378-90b8-89af8fa381b9" providerId="ADAL" clId="{90877F19-00D2-4A00-8128-E78E36266C9A}" dt="2023-11-05T03:33:22.112" v="134012" actId="962"/>
          <ac:spMkLst>
            <pc:docMk/>
            <pc:sldMk cId="2948950000" sldId="354"/>
            <ac:spMk id="110" creationId="{BFEF0D99-A114-089A-503F-BF9695615A13}"/>
          </ac:spMkLst>
        </pc:spChg>
        <pc:spChg chg="add del mod modVis">
          <ac:chgData name="Muchahary, Frankle" userId="0f2bf491-0617-4378-90b8-89af8fa381b9" providerId="ADAL" clId="{90877F19-00D2-4A00-8128-E78E36266C9A}" dt="2023-11-05T03:33:25.227" v="134323" actId="962"/>
          <ac:spMkLst>
            <pc:docMk/>
            <pc:sldMk cId="2948950000" sldId="354"/>
            <ac:spMk id="112" creationId="{FC27A0E5-2AEC-18D7-8962-5BDA180A5A32}"/>
          </ac:spMkLst>
        </pc:spChg>
        <pc:spChg chg="del mod">
          <ac:chgData name="Muchahary, Frankle" userId="0f2bf491-0617-4378-90b8-89af8fa381b9" providerId="ADAL" clId="{90877F19-00D2-4A00-8128-E78E36266C9A}" dt="2023-11-05T03:24:47.773" v="130830"/>
          <ac:spMkLst>
            <pc:docMk/>
            <pc:sldMk cId="2948950000" sldId="354"/>
            <ac:spMk id="114" creationId="{A18D2A71-E273-11B1-3871-9F04A2B75444}"/>
          </ac:spMkLst>
        </pc:spChg>
        <pc:spChg chg="add del mod modVis">
          <ac:chgData name="Muchahary, Frankle" userId="0f2bf491-0617-4378-90b8-89af8fa381b9" providerId="ADAL" clId="{90877F19-00D2-4A00-8128-E78E36266C9A}" dt="2023-11-05T03:33:26.026" v="134478"/>
          <ac:spMkLst>
            <pc:docMk/>
            <pc:sldMk cId="2948950000" sldId="354"/>
            <ac:spMk id="115" creationId="{8C9626E4-3297-26FF-16B4-DCE04F1BBF14}"/>
          </ac:spMkLst>
        </pc:spChg>
        <pc:spChg chg="add del mod modVis">
          <ac:chgData name="Muchahary, Frankle" userId="0f2bf491-0617-4378-90b8-89af8fa381b9" providerId="ADAL" clId="{90877F19-00D2-4A00-8128-E78E36266C9A}" dt="2023-11-05T03:33:42.227" v="134554"/>
          <ac:spMkLst>
            <pc:docMk/>
            <pc:sldMk cId="2948950000" sldId="354"/>
            <ac:spMk id="117" creationId="{840A010E-6B2F-4AC9-C5DC-396B5ED1D8F1}"/>
          </ac:spMkLst>
        </pc:spChg>
        <pc:spChg chg="del mod">
          <ac:chgData name="Muchahary, Frankle" userId="0f2bf491-0617-4378-90b8-89af8fa381b9" providerId="ADAL" clId="{90877F19-00D2-4A00-8128-E78E36266C9A}" dt="2023-11-05T03:24:47.772" v="130829"/>
          <ac:spMkLst>
            <pc:docMk/>
            <pc:sldMk cId="2948950000" sldId="354"/>
            <ac:spMk id="119" creationId="{6A5079A0-E0B7-A998-628C-CEE9C18840F0}"/>
          </ac:spMkLst>
        </pc:spChg>
        <pc:spChg chg="add del mod modVis">
          <ac:chgData name="Muchahary, Frankle" userId="0f2bf491-0617-4378-90b8-89af8fa381b9" providerId="ADAL" clId="{90877F19-00D2-4A00-8128-E78E36266C9A}" dt="2023-11-05T03:35:48.634" v="134744"/>
          <ac:spMkLst>
            <pc:docMk/>
            <pc:sldMk cId="2948950000" sldId="354"/>
            <ac:spMk id="121" creationId="{EBC26194-97A0-0DEA-67B3-4593A6008EDF}"/>
          </ac:spMkLst>
        </pc:spChg>
        <pc:spChg chg="add del mod modVis">
          <ac:chgData name="Muchahary, Frankle" userId="0f2bf491-0617-4378-90b8-89af8fa381b9" providerId="ADAL" clId="{90877F19-00D2-4A00-8128-E78E36266C9A}" dt="2023-11-05T03:35:51.168" v="134854"/>
          <ac:spMkLst>
            <pc:docMk/>
            <pc:sldMk cId="2948950000" sldId="354"/>
            <ac:spMk id="123" creationId="{CEB49BD0-85A8-630E-5F16-F500138331BF}"/>
          </ac:spMkLst>
        </pc:spChg>
        <pc:spChg chg="add del mod modVis">
          <ac:chgData name="Muchahary, Frankle" userId="0f2bf491-0617-4378-90b8-89af8fa381b9" providerId="ADAL" clId="{90877F19-00D2-4A00-8128-E78E36266C9A}" dt="2023-11-05T03:35:59.425" v="134993"/>
          <ac:spMkLst>
            <pc:docMk/>
            <pc:sldMk cId="2948950000" sldId="354"/>
            <ac:spMk id="125" creationId="{E40A6274-3FCB-C7C7-778C-37A0590EAA78}"/>
          </ac:spMkLst>
        </pc:spChg>
        <pc:spChg chg="add mod replST">
          <ac:chgData name="Muchahary, Frankle" userId="0f2bf491-0617-4378-90b8-89af8fa381b9" providerId="ADAL" clId="{90877F19-00D2-4A00-8128-E78E36266C9A}" dt="2023-11-05T03:41:42.170" v="145072"/>
          <ac:spMkLst>
            <pc:docMk/>
            <pc:sldMk cId="2948950000" sldId="354"/>
            <ac:spMk id="126" creationId="{29814101-6D09-583A-C86A-E2C672185F8A}"/>
          </ac:spMkLst>
        </pc:spChg>
        <pc:spChg chg="del">
          <ac:chgData name="Muchahary, Frankle" userId="0f2bf491-0617-4378-90b8-89af8fa381b9" providerId="ADAL" clId="{90877F19-00D2-4A00-8128-E78E36266C9A}" dt="2023-11-05T03:23:49.484" v="129758" actId="478"/>
          <ac:spMkLst>
            <pc:docMk/>
            <pc:sldMk cId="2948950000" sldId="354"/>
            <ac:spMk id="128" creationId="{0576C39B-D19A-DA5D-7B20-A7AF9180C54C}"/>
          </ac:spMkLst>
        </pc:spChg>
        <pc:spChg chg="add del mod modVis">
          <ac:chgData name="Muchahary, Frankle" userId="0f2bf491-0617-4378-90b8-89af8fa381b9" providerId="ADAL" clId="{90877F19-00D2-4A00-8128-E78E36266C9A}" dt="2023-11-05T03:36:04.485" v="135082"/>
          <ac:spMkLst>
            <pc:docMk/>
            <pc:sldMk cId="2948950000" sldId="354"/>
            <ac:spMk id="130" creationId="{8E13EBCC-3E1B-3F0C-088C-44B00F95CB4C}"/>
          </ac:spMkLst>
        </pc:spChg>
        <pc:spChg chg="del">
          <ac:chgData name="Muchahary, Frankle" userId="0f2bf491-0617-4378-90b8-89af8fa381b9" providerId="ADAL" clId="{90877F19-00D2-4A00-8128-E78E36266C9A}" dt="2023-11-05T03:23:50.643" v="129766"/>
          <ac:spMkLst>
            <pc:docMk/>
            <pc:sldMk cId="2948950000" sldId="354"/>
            <ac:spMk id="131" creationId="{BF9B7918-3F38-BC06-24CC-274D2B034300}"/>
          </ac:spMkLst>
        </pc:spChg>
        <pc:spChg chg="add del mod modVis">
          <ac:chgData name="Muchahary, Frankle" userId="0f2bf491-0617-4378-90b8-89af8fa381b9" providerId="ADAL" clId="{90877F19-00D2-4A00-8128-E78E36266C9A}" dt="2023-11-05T03:36:07.666" v="135171"/>
          <ac:spMkLst>
            <pc:docMk/>
            <pc:sldMk cId="2948950000" sldId="354"/>
            <ac:spMk id="136" creationId="{F13A679C-19EF-5A31-DDA9-DB3DBCEE5214}"/>
          </ac:spMkLst>
        </pc:spChg>
        <pc:spChg chg="add del mod modVis">
          <ac:chgData name="Muchahary, Frankle" userId="0f2bf491-0617-4378-90b8-89af8fa381b9" providerId="ADAL" clId="{90877F19-00D2-4A00-8128-E78E36266C9A}" dt="2023-11-05T03:36:15.749" v="135907"/>
          <ac:spMkLst>
            <pc:docMk/>
            <pc:sldMk cId="2948950000" sldId="354"/>
            <ac:spMk id="138" creationId="{43637728-34B5-575A-9567-EB38D53F7C57}"/>
          </ac:spMkLst>
        </pc:spChg>
        <pc:spChg chg="add del mod replST">
          <ac:chgData name="Muchahary, Frankle" userId="0f2bf491-0617-4378-90b8-89af8fa381b9" providerId="ADAL" clId="{90877F19-00D2-4A00-8128-E78E36266C9A}" dt="2023-11-05T03:36:16.041" v="135958"/>
          <ac:spMkLst>
            <pc:docMk/>
            <pc:sldMk cId="2948950000" sldId="354"/>
            <ac:spMk id="139" creationId="{73DB66B8-364C-35EF-FE9F-C016FD9154E3}"/>
          </ac:spMkLst>
        </pc:spChg>
        <pc:spChg chg="add del mod replST">
          <ac:chgData name="Muchahary, Frankle" userId="0f2bf491-0617-4378-90b8-89af8fa381b9" providerId="ADAL" clId="{90877F19-00D2-4A00-8128-E78E36266C9A}" dt="2023-11-05T03:36:16.042" v="135959"/>
          <ac:spMkLst>
            <pc:docMk/>
            <pc:sldMk cId="2948950000" sldId="354"/>
            <ac:spMk id="140" creationId="{A4DD207F-BBF4-012E-41F8-C0A4FAB8504D}"/>
          </ac:spMkLst>
        </pc:spChg>
        <pc:spChg chg="add del mod replST">
          <ac:chgData name="Muchahary, Frankle" userId="0f2bf491-0617-4378-90b8-89af8fa381b9" providerId="ADAL" clId="{90877F19-00D2-4A00-8128-E78E36266C9A}" dt="2023-11-05T03:36:16.042" v="135960"/>
          <ac:spMkLst>
            <pc:docMk/>
            <pc:sldMk cId="2948950000" sldId="354"/>
            <ac:spMk id="141" creationId="{A066F378-3405-FD66-B932-FF673705817D}"/>
          </ac:spMkLst>
        </pc:spChg>
        <pc:spChg chg="add del mod replST">
          <ac:chgData name="Muchahary, Frankle" userId="0f2bf491-0617-4378-90b8-89af8fa381b9" providerId="ADAL" clId="{90877F19-00D2-4A00-8128-E78E36266C9A}" dt="2023-11-05T03:36:16.043" v="135961"/>
          <ac:spMkLst>
            <pc:docMk/>
            <pc:sldMk cId="2948950000" sldId="354"/>
            <ac:spMk id="142" creationId="{F9380336-B60E-5867-7BA0-18FA087EF75C}"/>
          </ac:spMkLst>
        </pc:spChg>
        <pc:spChg chg="add del mod replST">
          <ac:chgData name="Muchahary, Frankle" userId="0f2bf491-0617-4378-90b8-89af8fa381b9" providerId="ADAL" clId="{90877F19-00D2-4A00-8128-E78E36266C9A}" dt="2023-11-05T03:36:16.043" v="135962"/>
          <ac:spMkLst>
            <pc:docMk/>
            <pc:sldMk cId="2948950000" sldId="354"/>
            <ac:spMk id="143" creationId="{6B9BF474-7A3E-6247-0822-9ABCA5C4933D}"/>
          </ac:spMkLst>
        </pc:spChg>
        <pc:spChg chg="add del mod replST">
          <ac:chgData name="Muchahary, Frankle" userId="0f2bf491-0617-4378-90b8-89af8fa381b9" providerId="ADAL" clId="{90877F19-00D2-4A00-8128-E78E36266C9A}" dt="2023-11-05T03:36:16.044" v="135963"/>
          <ac:spMkLst>
            <pc:docMk/>
            <pc:sldMk cId="2948950000" sldId="354"/>
            <ac:spMk id="144" creationId="{FCE709F3-72D1-6E97-AFAE-FD8FF9D2700A}"/>
          </ac:spMkLst>
        </pc:spChg>
        <pc:spChg chg="add del mod replST">
          <ac:chgData name="Muchahary, Frankle" userId="0f2bf491-0617-4378-90b8-89af8fa381b9" providerId="ADAL" clId="{90877F19-00D2-4A00-8128-E78E36266C9A}" dt="2023-11-05T03:36:16.044" v="135964"/>
          <ac:spMkLst>
            <pc:docMk/>
            <pc:sldMk cId="2948950000" sldId="354"/>
            <ac:spMk id="145" creationId="{32478FCE-F977-5A96-13EB-ACB476494A72}"/>
          </ac:spMkLst>
        </pc:spChg>
        <pc:spChg chg="add del mod replST">
          <ac:chgData name="Muchahary, Frankle" userId="0f2bf491-0617-4378-90b8-89af8fa381b9" providerId="ADAL" clId="{90877F19-00D2-4A00-8128-E78E36266C9A}" dt="2023-11-05T03:36:16.045" v="135965"/>
          <ac:spMkLst>
            <pc:docMk/>
            <pc:sldMk cId="2948950000" sldId="354"/>
            <ac:spMk id="146" creationId="{3328E35F-E723-1D0D-8853-59E924D68FE4}"/>
          </ac:spMkLst>
        </pc:spChg>
        <pc:spChg chg="add del mod replST">
          <ac:chgData name="Muchahary, Frankle" userId="0f2bf491-0617-4378-90b8-89af8fa381b9" providerId="ADAL" clId="{90877F19-00D2-4A00-8128-E78E36266C9A}" dt="2023-11-05T03:36:16.045" v="135966"/>
          <ac:spMkLst>
            <pc:docMk/>
            <pc:sldMk cId="2948950000" sldId="354"/>
            <ac:spMk id="147" creationId="{43F2A026-BB7F-C152-7708-372EB4C10D50}"/>
          </ac:spMkLst>
        </pc:spChg>
        <pc:spChg chg="add del mod replST">
          <ac:chgData name="Muchahary, Frankle" userId="0f2bf491-0617-4378-90b8-89af8fa381b9" providerId="ADAL" clId="{90877F19-00D2-4A00-8128-E78E36266C9A}" dt="2023-11-05T03:36:16.046" v="135967"/>
          <ac:spMkLst>
            <pc:docMk/>
            <pc:sldMk cId="2948950000" sldId="354"/>
            <ac:spMk id="148" creationId="{1B00BC5E-E09C-A140-3065-E70F00BEBF6A}"/>
          </ac:spMkLst>
        </pc:spChg>
        <pc:spChg chg="add del mod replST">
          <ac:chgData name="Muchahary, Frankle" userId="0f2bf491-0617-4378-90b8-89af8fa381b9" providerId="ADAL" clId="{90877F19-00D2-4A00-8128-E78E36266C9A}" dt="2023-11-05T03:36:16.048" v="135968"/>
          <ac:spMkLst>
            <pc:docMk/>
            <pc:sldMk cId="2948950000" sldId="354"/>
            <ac:spMk id="149" creationId="{3A05FC91-A4CB-F173-FF2B-5E7D6D94DF32}"/>
          </ac:spMkLst>
        </pc:spChg>
        <pc:spChg chg="del mod ord">
          <ac:chgData name="Muchahary, Frankle" userId="0f2bf491-0617-4378-90b8-89af8fa381b9" providerId="ADAL" clId="{90877F19-00D2-4A00-8128-E78E36266C9A}" dt="2023-11-05T03:24:47.772" v="130828"/>
          <ac:spMkLst>
            <pc:docMk/>
            <pc:sldMk cId="2948950000" sldId="354"/>
            <ac:spMk id="151" creationId="{653CC2D2-A109-865F-4838-3A09E80FE43F}"/>
          </ac:spMkLst>
        </pc:spChg>
        <pc:spChg chg="add del mod modVis">
          <ac:chgData name="Muchahary, Frankle" userId="0f2bf491-0617-4378-90b8-89af8fa381b9" providerId="ADAL" clId="{90877F19-00D2-4A00-8128-E78E36266C9A}" dt="2023-11-05T03:36:16.230" v="136171"/>
          <ac:spMkLst>
            <pc:docMk/>
            <pc:sldMk cId="2948950000" sldId="354"/>
            <ac:spMk id="155" creationId="{933289AF-9565-1437-E53B-703AE7AFDC50}"/>
          </ac:spMkLst>
        </pc:spChg>
        <pc:spChg chg="del">
          <ac:chgData name="Muchahary, Frankle" userId="0f2bf491-0617-4378-90b8-89af8fa381b9" providerId="ADAL" clId="{90877F19-00D2-4A00-8128-E78E36266C9A}" dt="2023-11-05T03:23:39.408" v="129723" actId="478"/>
          <ac:spMkLst>
            <pc:docMk/>
            <pc:sldMk cId="2948950000" sldId="354"/>
            <ac:spMk id="163" creationId="{55970BFC-3EC6-4BDC-68C7-CE8956A2BD7B}"/>
          </ac:spMkLst>
        </pc:spChg>
        <pc:spChg chg="add del mod modVis">
          <ac:chgData name="Muchahary, Frankle" userId="0f2bf491-0617-4378-90b8-89af8fa381b9" providerId="ADAL" clId="{90877F19-00D2-4A00-8128-E78E36266C9A}" dt="2023-11-05T03:36:22.419" v="136927"/>
          <ac:spMkLst>
            <pc:docMk/>
            <pc:sldMk cId="2948950000" sldId="354"/>
            <ac:spMk id="169" creationId="{10135E02-73E1-89ED-B83D-BB7472E7CF55}"/>
          </ac:spMkLst>
        </pc:spChg>
        <pc:spChg chg="add del mod replST">
          <ac:chgData name="Muchahary, Frankle" userId="0f2bf491-0617-4378-90b8-89af8fa381b9" providerId="ADAL" clId="{90877F19-00D2-4A00-8128-E78E36266C9A}" dt="2023-11-05T03:36:23.238" v="136978"/>
          <ac:spMkLst>
            <pc:docMk/>
            <pc:sldMk cId="2948950000" sldId="354"/>
            <ac:spMk id="170" creationId="{26F6B2FD-FB12-BCF8-39FA-78BEE5D4E6C6}"/>
          </ac:spMkLst>
        </pc:spChg>
        <pc:spChg chg="add del mod replST">
          <ac:chgData name="Muchahary, Frankle" userId="0f2bf491-0617-4378-90b8-89af8fa381b9" providerId="ADAL" clId="{90877F19-00D2-4A00-8128-E78E36266C9A}" dt="2023-11-05T03:36:23.239" v="136979"/>
          <ac:spMkLst>
            <pc:docMk/>
            <pc:sldMk cId="2948950000" sldId="354"/>
            <ac:spMk id="171" creationId="{328606EA-D33A-3141-DB0B-C67BD0B803F8}"/>
          </ac:spMkLst>
        </pc:spChg>
        <pc:spChg chg="add del mod replST">
          <ac:chgData name="Muchahary, Frankle" userId="0f2bf491-0617-4378-90b8-89af8fa381b9" providerId="ADAL" clId="{90877F19-00D2-4A00-8128-E78E36266C9A}" dt="2023-11-05T03:36:23.240" v="136980"/>
          <ac:spMkLst>
            <pc:docMk/>
            <pc:sldMk cId="2948950000" sldId="354"/>
            <ac:spMk id="172" creationId="{60ABA867-5334-BBEC-7E56-9261EB2357AA}"/>
          </ac:spMkLst>
        </pc:spChg>
        <pc:spChg chg="add del mod replST">
          <ac:chgData name="Muchahary, Frankle" userId="0f2bf491-0617-4378-90b8-89af8fa381b9" providerId="ADAL" clId="{90877F19-00D2-4A00-8128-E78E36266C9A}" dt="2023-11-05T03:36:23.240" v="136981"/>
          <ac:spMkLst>
            <pc:docMk/>
            <pc:sldMk cId="2948950000" sldId="354"/>
            <ac:spMk id="173" creationId="{55E8D50A-02EC-C157-ACB8-6DAB94C3BE2C}"/>
          </ac:spMkLst>
        </pc:spChg>
        <pc:spChg chg="add del mod replST">
          <ac:chgData name="Muchahary, Frankle" userId="0f2bf491-0617-4378-90b8-89af8fa381b9" providerId="ADAL" clId="{90877F19-00D2-4A00-8128-E78E36266C9A}" dt="2023-11-05T03:36:23.241" v="136982"/>
          <ac:spMkLst>
            <pc:docMk/>
            <pc:sldMk cId="2948950000" sldId="354"/>
            <ac:spMk id="174" creationId="{AE7E06A2-782D-AA0B-339B-03BF01E9EC5A}"/>
          </ac:spMkLst>
        </pc:spChg>
        <pc:spChg chg="add del mod replST">
          <ac:chgData name="Muchahary, Frankle" userId="0f2bf491-0617-4378-90b8-89af8fa381b9" providerId="ADAL" clId="{90877F19-00D2-4A00-8128-E78E36266C9A}" dt="2023-11-05T03:36:23.241" v="136983"/>
          <ac:spMkLst>
            <pc:docMk/>
            <pc:sldMk cId="2948950000" sldId="354"/>
            <ac:spMk id="175" creationId="{5E9A49DE-4EDC-A165-2C5E-BFD2B049B6F2}"/>
          </ac:spMkLst>
        </pc:spChg>
        <pc:spChg chg="add del mod replST">
          <ac:chgData name="Muchahary, Frankle" userId="0f2bf491-0617-4378-90b8-89af8fa381b9" providerId="ADAL" clId="{90877F19-00D2-4A00-8128-E78E36266C9A}" dt="2023-11-05T03:36:23.242" v="136984"/>
          <ac:spMkLst>
            <pc:docMk/>
            <pc:sldMk cId="2948950000" sldId="354"/>
            <ac:spMk id="176" creationId="{7F36B5AE-923F-707F-857C-BB9EF82CBA03}"/>
          </ac:spMkLst>
        </pc:spChg>
        <pc:spChg chg="add del mod replST">
          <ac:chgData name="Muchahary, Frankle" userId="0f2bf491-0617-4378-90b8-89af8fa381b9" providerId="ADAL" clId="{90877F19-00D2-4A00-8128-E78E36266C9A}" dt="2023-11-05T03:36:23.242" v="136985"/>
          <ac:spMkLst>
            <pc:docMk/>
            <pc:sldMk cId="2948950000" sldId="354"/>
            <ac:spMk id="177" creationId="{D01AFF1B-E612-434D-3901-D3EE82C1B749}"/>
          </ac:spMkLst>
        </pc:spChg>
        <pc:spChg chg="add del mod replST">
          <ac:chgData name="Muchahary, Frankle" userId="0f2bf491-0617-4378-90b8-89af8fa381b9" providerId="ADAL" clId="{90877F19-00D2-4A00-8128-E78E36266C9A}" dt="2023-11-05T03:36:23.243" v="136986"/>
          <ac:spMkLst>
            <pc:docMk/>
            <pc:sldMk cId="2948950000" sldId="354"/>
            <ac:spMk id="178" creationId="{E88C6B13-F9E5-EF4E-6666-11D4B0B7D91E}"/>
          </ac:spMkLst>
        </pc:spChg>
        <pc:spChg chg="add del mod replST">
          <ac:chgData name="Muchahary, Frankle" userId="0f2bf491-0617-4378-90b8-89af8fa381b9" providerId="ADAL" clId="{90877F19-00D2-4A00-8128-E78E36266C9A}" dt="2023-11-05T03:36:23.244" v="136987"/>
          <ac:spMkLst>
            <pc:docMk/>
            <pc:sldMk cId="2948950000" sldId="354"/>
            <ac:spMk id="179" creationId="{45088E12-EFE4-B505-E776-060C7B2BC08B}"/>
          </ac:spMkLst>
        </pc:spChg>
        <pc:spChg chg="add del mod replST">
          <ac:chgData name="Muchahary, Frankle" userId="0f2bf491-0617-4378-90b8-89af8fa381b9" providerId="ADAL" clId="{90877F19-00D2-4A00-8128-E78E36266C9A}" dt="2023-11-05T03:36:23.244" v="136988"/>
          <ac:spMkLst>
            <pc:docMk/>
            <pc:sldMk cId="2948950000" sldId="354"/>
            <ac:spMk id="180" creationId="{923CB3CB-4427-1C1B-F2E5-1A71A0D63354}"/>
          </ac:spMkLst>
        </pc:spChg>
        <pc:spChg chg="add del mod modVis">
          <ac:chgData name="Muchahary, Frankle" userId="0f2bf491-0617-4378-90b8-89af8fa381b9" providerId="ADAL" clId="{90877F19-00D2-4A00-8128-E78E36266C9A}" dt="2023-11-05T03:36:23.321" v="137041"/>
          <ac:spMkLst>
            <pc:docMk/>
            <pc:sldMk cId="2948950000" sldId="354"/>
            <ac:spMk id="182" creationId="{370D53C5-8B87-B9D7-1F26-BDF2ACF7E7EF}"/>
          </ac:spMkLst>
        </pc:spChg>
        <pc:spChg chg="add del mod modVis">
          <ac:chgData name="Muchahary, Frankle" userId="0f2bf491-0617-4378-90b8-89af8fa381b9" providerId="ADAL" clId="{90877F19-00D2-4A00-8128-E78E36266C9A}" dt="2023-11-05T03:36:27.828" v="137797"/>
          <ac:spMkLst>
            <pc:docMk/>
            <pc:sldMk cId="2948950000" sldId="354"/>
            <ac:spMk id="184" creationId="{E135295F-5417-274A-3A19-3FD79A89B079}"/>
          </ac:spMkLst>
        </pc:spChg>
        <pc:spChg chg="add del mod replST">
          <ac:chgData name="Muchahary, Frankle" userId="0f2bf491-0617-4378-90b8-89af8fa381b9" providerId="ADAL" clId="{90877F19-00D2-4A00-8128-E78E36266C9A}" dt="2023-11-05T03:36:28.668" v="137848"/>
          <ac:spMkLst>
            <pc:docMk/>
            <pc:sldMk cId="2948950000" sldId="354"/>
            <ac:spMk id="185" creationId="{A01F743F-AE38-1E54-CE27-6C9A22B23A0F}"/>
          </ac:spMkLst>
        </pc:spChg>
        <pc:spChg chg="add del mod replST">
          <ac:chgData name="Muchahary, Frankle" userId="0f2bf491-0617-4378-90b8-89af8fa381b9" providerId="ADAL" clId="{90877F19-00D2-4A00-8128-E78E36266C9A}" dt="2023-11-05T03:36:28.669" v="137849"/>
          <ac:spMkLst>
            <pc:docMk/>
            <pc:sldMk cId="2948950000" sldId="354"/>
            <ac:spMk id="186" creationId="{E99D9D6C-F4D0-58F5-2D88-EFE574F52028}"/>
          </ac:spMkLst>
        </pc:spChg>
        <pc:spChg chg="add del mod replST">
          <ac:chgData name="Muchahary, Frankle" userId="0f2bf491-0617-4378-90b8-89af8fa381b9" providerId="ADAL" clId="{90877F19-00D2-4A00-8128-E78E36266C9A}" dt="2023-11-05T03:36:28.670" v="137850"/>
          <ac:spMkLst>
            <pc:docMk/>
            <pc:sldMk cId="2948950000" sldId="354"/>
            <ac:spMk id="187" creationId="{CC8744FA-F102-7140-CCD0-69E6B62CF69D}"/>
          </ac:spMkLst>
        </pc:spChg>
        <pc:spChg chg="add del mod replST">
          <ac:chgData name="Muchahary, Frankle" userId="0f2bf491-0617-4378-90b8-89af8fa381b9" providerId="ADAL" clId="{90877F19-00D2-4A00-8128-E78E36266C9A}" dt="2023-11-05T03:36:28.671" v="137851"/>
          <ac:spMkLst>
            <pc:docMk/>
            <pc:sldMk cId="2948950000" sldId="354"/>
            <ac:spMk id="188" creationId="{DF36802B-5EE1-47B7-A813-68D2BB5AC951}"/>
          </ac:spMkLst>
        </pc:spChg>
        <pc:spChg chg="add del mod replST">
          <ac:chgData name="Muchahary, Frankle" userId="0f2bf491-0617-4378-90b8-89af8fa381b9" providerId="ADAL" clId="{90877F19-00D2-4A00-8128-E78E36266C9A}" dt="2023-11-05T03:36:28.672" v="137852"/>
          <ac:spMkLst>
            <pc:docMk/>
            <pc:sldMk cId="2948950000" sldId="354"/>
            <ac:spMk id="189" creationId="{9C65C200-1C6D-3146-7080-2D7E738C0530}"/>
          </ac:spMkLst>
        </pc:spChg>
        <pc:spChg chg="add del mod replST">
          <ac:chgData name="Muchahary, Frankle" userId="0f2bf491-0617-4378-90b8-89af8fa381b9" providerId="ADAL" clId="{90877F19-00D2-4A00-8128-E78E36266C9A}" dt="2023-11-05T03:36:28.672" v="137853"/>
          <ac:spMkLst>
            <pc:docMk/>
            <pc:sldMk cId="2948950000" sldId="354"/>
            <ac:spMk id="190" creationId="{7384855F-8BC8-A0CF-2E36-6A6DBBEC26C7}"/>
          </ac:spMkLst>
        </pc:spChg>
        <pc:spChg chg="add del mod replST">
          <ac:chgData name="Muchahary, Frankle" userId="0f2bf491-0617-4378-90b8-89af8fa381b9" providerId="ADAL" clId="{90877F19-00D2-4A00-8128-E78E36266C9A}" dt="2023-11-05T03:36:28.673" v="137854"/>
          <ac:spMkLst>
            <pc:docMk/>
            <pc:sldMk cId="2948950000" sldId="354"/>
            <ac:spMk id="191" creationId="{5438077F-E0A2-1624-73D3-891B9A51938C}"/>
          </ac:spMkLst>
        </pc:spChg>
        <pc:spChg chg="add del mod replST">
          <ac:chgData name="Muchahary, Frankle" userId="0f2bf491-0617-4378-90b8-89af8fa381b9" providerId="ADAL" clId="{90877F19-00D2-4A00-8128-E78E36266C9A}" dt="2023-11-05T03:36:28.674" v="137855"/>
          <ac:spMkLst>
            <pc:docMk/>
            <pc:sldMk cId="2948950000" sldId="354"/>
            <ac:spMk id="192" creationId="{6089FDD1-DFD9-5629-A916-A91361ACB3F3}"/>
          </ac:spMkLst>
        </pc:spChg>
        <pc:spChg chg="add del mod replST">
          <ac:chgData name="Muchahary, Frankle" userId="0f2bf491-0617-4378-90b8-89af8fa381b9" providerId="ADAL" clId="{90877F19-00D2-4A00-8128-E78E36266C9A}" dt="2023-11-05T03:36:28.674" v="137856"/>
          <ac:spMkLst>
            <pc:docMk/>
            <pc:sldMk cId="2948950000" sldId="354"/>
            <ac:spMk id="193" creationId="{19A93276-787A-BA5B-A31E-F50B2F0E4172}"/>
          </ac:spMkLst>
        </pc:spChg>
        <pc:spChg chg="add del mod replST">
          <ac:chgData name="Muchahary, Frankle" userId="0f2bf491-0617-4378-90b8-89af8fa381b9" providerId="ADAL" clId="{90877F19-00D2-4A00-8128-E78E36266C9A}" dt="2023-11-05T03:36:28.675" v="137857"/>
          <ac:spMkLst>
            <pc:docMk/>
            <pc:sldMk cId="2948950000" sldId="354"/>
            <ac:spMk id="194" creationId="{69722DC5-502A-97A9-8F88-C49429FF9B50}"/>
          </ac:spMkLst>
        </pc:spChg>
        <pc:spChg chg="add del mod replST">
          <ac:chgData name="Muchahary, Frankle" userId="0f2bf491-0617-4378-90b8-89af8fa381b9" providerId="ADAL" clId="{90877F19-00D2-4A00-8128-E78E36266C9A}" dt="2023-11-05T03:36:28.676" v="137858"/>
          <ac:spMkLst>
            <pc:docMk/>
            <pc:sldMk cId="2948950000" sldId="354"/>
            <ac:spMk id="195" creationId="{B2C2BD19-446F-4C07-560B-B589ADBDA0ED}"/>
          </ac:spMkLst>
        </pc:spChg>
        <pc:spChg chg="add del mod modVis">
          <ac:chgData name="Muchahary, Frankle" userId="0f2bf491-0617-4378-90b8-89af8fa381b9" providerId="ADAL" clId="{90877F19-00D2-4A00-8128-E78E36266C9A}" dt="2023-11-05T03:36:28.746" v="137911"/>
          <ac:spMkLst>
            <pc:docMk/>
            <pc:sldMk cId="2948950000" sldId="354"/>
            <ac:spMk id="197" creationId="{F9321B86-3354-2482-D331-066CA4224876}"/>
          </ac:spMkLst>
        </pc:spChg>
        <pc:spChg chg="add del mod modVis">
          <ac:chgData name="Muchahary, Frankle" userId="0f2bf491-0617-4378-90b8-89af8fa381b9" providerId="ADAL" clId="{90877F19-00D2-4A00-8128-E78E36266C9A}" dt="2023-11-05T03:36:30.891" v="138667"/>
          <ac:spMkLst>
            <pc:docMk/>
            <pc:sldMk cId="2948950000" sldId="354"/>
            <ac:spMk id="199" creationId="{BBD3B5A7-4FE4-9647-BD89-12CBE4281845}"/>
          </ac:spMkLst>
        </pc:spChg>
        <pc:spChg chg="add del mod replST">
          <ac:chgData name="Muchahary, Frankle" userId="0f2bf491-0617-4378-90b8-89af8fa381b9" providerId="ADAL" clId="{90877F19-00D2-4A00-8128-E78E36266C9A}" dt="2023-11-05T03:36:45.269" v="139380"/>
          <ac:spMkLst>
            <pc:docMk/>
            <pc:sldMk cId="2948950000" sldId="354"/>
            <ac:spMk id="200" creationId="{C921D6D8-AB0E-7584-AE7F-8E3717AF68A3}"/>
          </ac:spMkLst>
        </pc:spChg>
        <pc:spChg chg="add del mod replST">
          <ac:chgData name="Muchahary, Frankle" userId="0f2bf491-0617-4378-90b8-89af8fa381b9" providerId="ADAL" clId="{90877F19-00D2-4A00-8128-E78E36266C9A}" dt="2023-11-05T03:36:45.270" v="139381"/>
          <ac:spMkLst>
            <pc:docMk/>
            <pc:sldMk cId="2948950000" sldId="354"/>
            <ac:spMk id="201" creationId="{7B6E2594-B4D2-8101-5969-8564FFEE933F}"/>
          </ac:spMkLst>
        </pc:spChg>
        <pc:spChg chg="add del mod replST">
          <ac:chgData name="Muchahary, Frankle" userId="0f2bf491-0617-4378-90b8-89af8fa381b9" providerId="ADAL" clId="{90877F19-00D2-4A00-8128-E78E36266C9A}" dt="2023-11-05T03:36:45.270" v="139382"/>
          <ac:spMkLst>
            <pc:docMk/>
            <pc:sldMk cId="2948950000" sldId="354"/>
            <ac:spMk id="202" creationId="{E3749662-3420-4318-D254-A1A763B7D17F}"/>
          </ac:spMkLst>
        </pc:spChg>
        <pc:spChg chg="add del mod replST">
          <ac:chgData name="Muchahary, Frankle" userId="0f2bf491-0617-4378-90b8-89af8fa381b9" providerId="ADAL" clId="{90877F19-00D2-4A00-8128-E78E36266C9A}" dt="2023-11-05T03:36:45.270" v="139383"/>
          <ac:spMkLst>
            <pc:docMk/>
            <pc:sldMk cId="2948950000" sldId="354"/>
            <ac:spMk id="203" creationId="{AD121C5B-AEB5-CE2D-2D3B-48C27FA26C3D}"/>
          </ac:spMkLst>
        </pc:spChg>
        <pc:spChg chg="add del mod replST">
          <ac:chgData name="Muchahary, Frankle" userId="0f2bf491-0617-4378-90b8-89af8fa381b9" providerId="ADAL" clId="{90877F19-00D2-4A00-8128-E78E36266C9A}" dt="2023-11-05T03:36:45.271" v="139384"/>
          <ac:spMkLst>
            <pc:docMk/>
            <pc:sldMk cId="2948950000" sldId="354"/>
            <ac:spMk id="204" creationId="{D4E32242-5F8F-2536-752A-C4F105CD5C75}"/>
          </ac:spMkLst>
        </pc:spChg>
        <pc:spChg chg="add del mod replST">
          <ac:chgData name="Muchahary, Frankle" userId="0f2bf491-0617-4378-90b8-89af8fa381b9" providerId="ADAL" clId="{90877F19-00D2-4A00-8128-E78E36266C9A}" dt="2023-11-05T03:36:45.271" v="139385"/>
          <ac:spMkLst>
            <pc:docMk/>
            <pc:sldMk cId="2948950000" sldId="354"/>
            <ac:spMk id="205" creationId="{E6637A3D-1D33-4D7C-0E61-AD4FD0C2611E}"/>
          </ac:spMkLst>
        </pc:spChg>
        <pc:spChg chg="add del mod replST">
          <ac:chgData name="Muchahary, Frankle" userId="0f2bf491-0617-4378-90b8-89af8fa381b9" providerId="ADAL" clId="{90877F19-00D2-4A00-8128-E78E36266C9A}" dt="2023-11-05T03:36:45.272" v="139386"/>
          <ac:spMkLst>
            <pc:docMk/>
            <pc:sldMk cId="2948950000" sldId="354"/>
            <ac:spMk id="206" creationId="{8223EDA5-6B1C-97FB-4954-4719A2AFE621}"/>
          </ac:spMkLst>
        </pc:spChg>
        <pc:spChg chg="add del mod replST">
          <ac:chgData name="Muchahary, Frankle" userId="0f2bf491-0617-4378-90b8-89af8fa381b9" providerId="ADAL" clId="{90877F19-00D2-4A00-8128-E78E36266C9A}" dt="2023-11-05T03:36:45.272" v="139387"/>
          <ac:spMkLst>
            <pc:docMk/>
            <pc:sldMk cId="2948950000" sldId="354"/>
            <ac:spMk id="207" creationId="{159F6B17-8162-2146-8A31-F9D0FD0F6153}"/>
          </ac:spMkLst>
        </pc:spChg>
        <pc:spChg chg="add del mod replST">
          <ac:chgData name="Muchahary, Frankle" userId="0f2bf491-0617-4378-90b8-89af8fa381b9" providerId="ADAL" clId="{90877F19-00D2-4A00-8128-E78E36266C9A}" dt="2023-11-05T03:36:45.273" v="139388"/>
          <ac:spMkLst>
            <pc:docMk/>
            <pc:sldMk cId="2948950000" sldId="354"/>
            <ac:spMk id="208" creationId="{37027E69-E9C3-BE71-FD68-F6868F52B028}"/>
          </ac:spMkLst>
        </pc:spChg>
        <pc:spChg chg="add del mod replST">
          <ac:chgData name="Muchahary, Frankle" userId="0f2bf491-0617-4378-90b8-89af8fa381b9" providerId="ADAL" clId="{90877F19-00D2-4A00-8128-E78E36266C9A}" dt="2023-11-05T03:36:45.273" v="139389"/>
          <ac:spMkLst>
            <pc:docMk/>
            <pc:sldMk cId="2948950000" sldId="354"/>
            <ac:spMk id="209" creationId="{9485893E-8C34-A95B-D198-7889FA2893DA}"/>
          </ac:spMkLst>
        </pc:spChg>
        <pc:spChg chg="add del mod replST">
          <ac:chgData name="Muchahary, Frankle" userId="0f2bf491-0617-4378-90b8-89af8fa381b9" providerId="ADAL" clId="{90877F19-00D2-4A00-8128-E78E36266C9A}" dt="2023-11-05T03:36:45.273" v="139390"/>
          <ac:spMkLst>
            <pc:docMk/>
            <pc:sldMk cId="2948950000" sldId="354"/>
            <ac:spMk id="210" creationId="{C1A34840-1CFB-0113-2A46-D30D52A16655}"/>
          </ac:spMkLst>
        </pc:spChg>
        <pc:spChg chg="add del mod modVis">
          <ac:chgData name="Muchahary, Frankle" userId="0f2bf491-0617-4378-90b8-89af8fa381b9" providerId="ADAL" clId="{90877F19-00D2-4A00-8128-E78E36266C9A}" dt="2023-11-05T03:36:43.036" v="139196"/>
          <ac:spMkLst>
            <pc:docMk/>
            <pc:sldMk cId="2948950000" sldId="354"/>
            <ac:spMk id="212" creationId="{1E1265C2-8387-DE2C-1930-BCE8B2DB4B15}"/>
          </ac:spMkLst>
        </pc:spChg>
        <pc:spChg chg="del mod ord">
          <ac:chgData name="Muchahary, Frankle" userId="0f2bf491-0617-4378-90b8-89af8fa381b9" providerId="ADAL" clId="{90877F19-00D2-4A00-8128-E78E36266C9A}" dt="2023-11-05T03:26:21.645" v="131448" actId="478"/>
          <ac:spMkLst>
            <pc:docMk/>
            <pc:sldMk cId="2948950000" sldId="354"/>
            <ac:spMk id="213" creationId="{98A5CB74-676C-4BB8-387A-1297345D863B}"/>
          </ac:spMkLst>
        </pc:spChg>
        <pc:spChg chg="add mod replST delST">
          <ac:chgData name="Muchahary, Frankle" userId="0f2bf491-0617-4378-90b8-89af8fa381b9" providerId="ADAL" clId="{90877F19-00D2-4A00-8128-E78E36266C9A}" dt="2023-11-05T03:36:43.036" v="139196"/>
          <ac:spMkLst>
            <pc:docMk/>
            <pc:sldMk cId="2948950000" sldId="354"/>
            <ac:spMk id="214" creationId="{74D621E8-CA2F-2D5D-A9AA-E459CB3670B6}"/>
          </ac:spMkLst>
        </pc:spChg>
        <pc:spChg chg="add mod replST delST">
          <ac:chgData name="Muchahary, Frankle" userId="0f2bf491-0617-4378-90b8-89af8fa381b9" providerId="ADAL" clId="{90877F19-00D2-4A00-8128-E78E36266C9A}" dt="2023-11-05T03:36:43.036" v="139196"/>
          <ac:spMkLst>
            <pc:docMk/>
            <pc:sldMk cId="2948950000" sldId="354"/>
            <ac:spMk id="215" creationId="{5D54BA9C-9038-3CA1-C354-C5563B2B5362}"/>
          </ac:spMkLst>
        </pc:spChg>
        <pc:spChg chg="add del mod modVis">
          <ac:chgData name="Muchahary, Frankle" userId="0f2bf491-0617-4378-90b8-89af8fa381b9" providerId="ADAL" clId="{90877F19-00D2-4A00-8128-E78E36266C9A}" dt="2023-11-05T03:36:45.408" v="139550"/>
          <ac:spMkLst>
            <pc:docMk/>
            <pc:sldMk cId="2948950000" sldId="354"/>
            <ac:spMk id="217" creationId="{C98379DC-6F32-2CA8-F267-5EDE93E42589}"/>
          </ac:spMkLst>
        </pc:spChg>
        <pc:spChg chg="add del mod replST">
          <ac:chgData name="Muchahary, Frankle" userId="0f2bf491-0617-4378-90b8-89af8fa381b9" providerId="ADAL" clId="{90877F19-00D2-4A00-8128-E78E36266C9A}" dt="2023-11-05T03:36:45.616" v="139591"/>
          <ac:spMkLst>
            <pc:docMk/>
            <pc:sldMk cId="2948950000" sldId="354"/>
            <ac:spMk id="218" creationId="{01D9DA3F-8EA0-C956-B7A1-741E4AEDE857}"/>
          </ac:spMkLst>
        </pc:spChg>
        <pc:spChg chg="del mod ord">
          <ac:chgData name="Muchahary, Frankle" userId="0f2bf491-0617-4378-90b8-89af8fa381b9" providerId="ADAL" clId="{90877F19-00D2-4A00-8128-E78E36266C9A}" dt="2023-11-05T03:33:48.194" v="134557" actId="478"/>
          <ac:spMkLst>
            <pc:docMk/>
            <pc:sldMk cId="2948950000" sldId="354"/>
            <ac:spMk id="219" creationId="{CD06FDE8-A56D-11DA-B974-2BB817B526D9}"/>
          </ac:spMkLst>
        </pc:spChg>
        <pc:spChg chg="add del mod modVis">
          <ac:chgData name="Muchahary, Frankle" userId="0f2bf491-0617-4378-90b8-89af8fa381b9" providerId="ADAL" clId="{90877F19-00D2-4A00-8128-E78E36266C9A}" dt="2023-11-05T03:36:45.673" v="139644"/>
          <ac:spMkLst>
            <pc:docMk/>
            <pc:sldMk cId="2948950000" sldId="354"/>
            <ac:spMk id="221" creationId="{850B452B-4F9C-60E9-1410-234DAD2978A7}"/>
          </ac:spMkLst>
        </pc:spChg>
        <pc:spChg chg="add del mod modVis">
          <ac:chgData name="Muchahary, Frankle" userId="0f2bf491-0617-4378-90b8-89af8fa381b9" providerId="ADAL" clId="{90877F19-00D2-4A00-8128-E78E36266C9A}" dt="2023-11-05T03:36:55.926" v="139808"/>
          <ac:spMkLst>
            <pc:docMk/>
            <pc:sldMk cId="2948950000" sldId="354"/>
            <ac:spMk id="223" creationId="{6485A283-DDE5-9D5D-FA96-870965C5C843}"/>
          </ac:spMkLst>
        </pc:spChg>
        <pc:spChg chg="add del mod replST">
          <ac:chgData name="Muchahary, Frankle" userId="0f2bf491-0617-4378-90b8-89af8fa381b9" providerId="ADAL" clId="{90877F19-00D2-4A00-8128-E78E36266C9A}" dt="2023-11-05T03:37:04.182" v="139849"/>
          <ac:spMkLst>
            <pc:docMk/>
            <pc:sldMk cId="2948950000" sldId="354"/>
            <ac:spMk id="224" creationId="{5B44B28D-AE5B-2E88-DA77-AAA64ADD7920}"/>
          </ac:spMkLst>
        </pc:spChg>
        <pc:spChg chg="add del mod modVis">
          <ac:chgData name="Muchahary, Frankle" userId="0f2bf491-0617-4378-90b8-89af8fa381b9" providerId="ADAL" clId="{90877F19-00D2-4A00-8128-E78E36266C9A}" dt="2023-11-05T03:37:04.240" v="139902"/>
          <ac:spMkLst>
            <pc:docMk/>
            <pc:sldMk cId="2948950000" sldId="354"/>
            <ac:spMk id="226" creationId="{4F9DBE9F-AADD-0AF5-4BFA-712BB33E8E77}"/>
          </ac:spMkLst>
        </pc:spChg>
        <pc:spChg chg="add del mod modVis">
          <ac:chgData name="Muchahary, Frankle" userId="0f2bf491-0617-4378-90b8-89af8fa381b9" providerId="ADAL" clId="{90877F19-00D2-4A00-8128-E78E36266C9A}" dt="2023-11-05T03:37:08.502" v="139998"/>
          <ac:spMkLst>
            <pc:docMk/>
            <pc:sldMk cId="2948950000" sldId="354"/>
            <ac:spMk id="228" creationId="{4FA1858F-58EE-A3A9-BF10-86FD9860F412}"/>
          </ac:spMkLst>
        </pc:spChg>
        <pc:spChg chg="add del mod modVis">
          <ac:chgData name="Muchahary, Frankle" userId="0f2bf491-0617-4378-90b8-89af8fa381b9" providerId="ADAL" clId="{90877F19-00D2-4A00-8128-E78E36266C9A}" dt="2023-11-05T03:37:17.633" v="140120"/>
          <ac:spMkLst>
            <pc:docMk/>
            <pc:sldMk cId="2948950000" sldId="354"/>
            <ac:spMk id="230" creationId="{BAF98209-B7CD-3B16-F1A5-C6E17FCD33E8}"/>
          </ac:spMkLst>
        </pc:spChg>
        <pc:spChg chg="add del mod modVis">
          <ac:chgData name="Muchahary, Frankle" userId="0f2bf491-0617-4378-90b8-89af8fa381b9" providerId="ADAL" clId="{90877F19-00D2-4A00-8128-E78E36266C9A}" dt="2023-11-05T03:37:21.192" v="140282"/>
          <ac:spMkLst>
            <pc:docMk/>
            <pc:sldMk cId="2948950000" sldId="354"/>
            <ac:spMk id="232" creationId="{6D450BCB-3D74-F2E8-79BB-7D59C600D138}"/>
          </ac:spMkLst>
        </pc:spChg>
        <pc:spChg chg="add del mod replST">
          <ac:chgData name="Muchahary, Frankle" userId="0f2bf491-0617-4378-90b8-89af8fa381b9" providerId="ADAL" clId="{90877F19-00D2-4A00-8128-E78E36266C9A}" dt="2023-11-05T03:37:32.963" v="140721"/>
          <ac:spMkLst>
            <pc:docMk/>
            <pc:sldMk cId="2948950000" sldId="354"/>
            <ac:spMk id="233" creationId="{2F35EC6C-6E85-B770-8767-D5B639602E23}"/>
          </ac:spMkLst>
        </pc:spChg>
        <pc:spChg chg="add del mod modVis">
          <ac:chgData name="Muchahary, Frankle" userId="0f2bf491-0617-4378-90b8-89af8fa381b9" providerId="ADAL" clId="{90877F19-00D2-4A00-8128-E78E36266C9A}" dt="2023-11-05T03:37:28.305" v="140474"/>
          <ac:spMkLst>
            <pc:docMk/>
            <pc:sldMk cId="2948950000" sldId="354"/>
            <ac:spMk id="235" creationId="{CD5FF98B-7896-9843-033A-D08C1EF7412E}"/>
          </ac:spMkLst>
        </pc:spChg>
        <pc:spChg chg="add del mod replST">
          <ac:chgData name="Muchahary, Frankle" userId="0f2bf491-0617-4378-90b8-89af8fa381b9" providerId="ADAL" clId="{90877F19-00D2-4A00-8128-E78E36266C9A}" dt="2023-11-05T03:37:32.965" v="140723"/>
          <ac:spMkLst>
            <pc:docMk/>
            <pc:sldMk cId="2948950000" sldId="354"/>
            <ac:spMk id="236" creationId="{92B0A6D6-F2DB-50C6-E413-B11DDCA3CE30}"/>
          </ac:spMkLst>
        </pc:spChg>
        <pc:spChg chg="add del mod modVis">
          <ac:chgData name="Muchahary, Frankle" userId="0f2bf491-0617-4378-90b8-89af8fa381b9" providerId="ADAL" clId="{90877F19-00D2-4A00-8128-E78E36266C9A}" dt="2023-11-05T03:37:30.818" v="140654"/>
          <ac:spMkLst>
            <pc:docMk/>
            <pc:sldMk cId="2948950000" sldId="354"/>
            <ac:spMk id="238" creationId="{14747562-2BEC-C658-51F4-DE46F05DA590}"/>
          </ac:spMkLst>
        </pc:spChg>
        <pc:spChg chg="add del mod replST">
          <ac:chgData name="Muchahary, Frankle" userId="0f2bf491-0617-4378-90b8-89af8fa381b9" providerId="ADAL" clId="{90877F19-00D2-4A00-8128-E78E36266C9A}" dt="2023-11-05T03:37:32.964" v="140722"/>
          <ac:spMkLst>
            <pc:docMk/>
            <pc:sldMk cId="2948950000" sldId="354"/>
            <ac:spMk id="239" creationId="{6511F35B-D313-0EC8-BAE8-B0B5260FC55D}"/>
          </ac:spMkLst>
        </pc:spChg>
        <pc:spChg chg="add del mod modVis">
          <ac:chgData name="Muchahary, Frankle" userId="0f2bf491-0617-4378-90b8-89af8fa381b9" providerId="ADAL" clId="{90877F19-00D2-4A00-8128-E78E36266C9A}" dt="2023-11-05T03:37:33.029" v="140772"/>
          <ac:spMkLst>
            <pc:docMk/>
            <pc:sldMk cId="2948950000" sldId="354"/>
            <ac:spMk id="241" creationId="{64721304-9CA8-BEF8-CC2D-E0D1DBAC0C95}"/>
          </ac:spMkLst>
        </pc:spChg>
        <pc:spChg chg="add del mod modVis">
          <ac:chgData name="Muchahary, Frankle" userId="0f2bf491-0617-4378-90b8-89af8fa381b9" providerId="ADAL" clId="{90877F19-00D2-4A00-8128-E78E36266C9A}" dt="2023-11-05T03:37:44.618" v="140846"/>
          <ac:spMkLst>
            <pc:docMk/>
            <pc:sldMk cId="2948950000" sldId="354"/>
            <ac:spMk id="243" creationId="{BEF472EE-66B5-17D2-03BF-8D8D25235682}"/>
          </ac:spMkLst>
        </pc:spChg>
        <pc:spChg chg="add del mod modVis">
          <ac:chgData name="Muchahary, Frankle" userId="0f2bf491-0617-4378-90b8-89af8fa381b9" providerId="ADAL" clId="{90877F19-00D2-4A00-8128-E78E36266C9A}" dt="2023-11-05T03:37:51.246" v="140994"/>
          <ac:spMkLst>
            <pc:docMk/>
            <pc:sldMk cId="2948950000" sldId="354"/>
            <ac:spMk id="245" creationId="{2E00976D-D17C-C9A3-178A-70F71098597C}"/>
          </ac:spMkLst>
        </pc:spChg>
        <pc:spChg chg="add mod replST">
          <ac:chgData name="Muchahary, Frankle" userId="0f2bf491-0617-4378-90b8-89af8fa381b9" providerId="ADAL" clId="{90877F19-00D2-4A00-8128-E78E36266C9A}" dt="2023-11-05T03:41:42.171" v="145075"/>
          <ac:spMkLst>
            <pc:docMk/>
            <pc:sldMk cId="2948950000" sldId="354"/>
            <ac:spMk id="246" creationId="{B6F3AD08-8222-9D3F-BF30-71A422D62E2E}"/>
          </ac:spMkLst>
        </pc:spChg>
        <pc:spChg chg="add del mod modVis">
          <ac:chgData name="Muchahary, Frankle" userId="0f2bf491-0617-4378-90b8-89af8fa381b9" providerId="ADAL" clId="{90877F19-00D2-4A00-8128-E78E36266C9A}" dt="2023-11-05T03:37:55.306" v="141102"/>
          <ac:spMkLst>
            <pc:docMk/>
            <pc:sldMk cId="2948950000" sldId="354"/>
            <ac:spMk id="248" creationId="{86BEC5B6-D8FF-FEAE-5DE4-758DA8FDEB00}"/>
          </ac:spMkLst>
        </pc:spChg>
        <pc:spChg chg="add del mod modVis">
          <ac:chgData name="Muchahary, Frankle" userId="0f2bf491-0617-4378-90b8-89af8fa381b9" providerId="ADAL" clId="{90877F19-00D2-4A00-8128-E78E36266C9A}" dt="2023-11-05T03:38:00.733" v="141178"/>
          <ac:spMkLst>
            <pc:docMk/>
            <pc:sldMk cId="2948950000" sldId="354"/>
            <ac:spMk id="250" creationId="{C27EC535-E51E-B3B2-56D5-D0376F19B815}"/>
          </ac:spMkLst>
        </pc:spChg>
        <pc:spChg chg="add del mod modVis">
          <ac:chgData name="Muchahary, Frankle" userId="0f2bf491-0617-4378-90b8-89af8fa381b9" providerId="ADAL" clId="{90877F19-00D2-4A00-8128-E78E36266C9A}" dt="2023-11-05T03:38:04.996" v="141282"/>
          <ac:spMkLst>
            <pc:docMk/>
            <pc:sldMk cId="2948950000" sldId="354"/>
            <ac:spMk id="252" creationId="{87B78A65-6F29-75D7-098E-945C2353FA27}"/>
          </ac:spMkLst>
        </pc:spChg>
        <pc:spChg chg="add del mod modVis">
          <ac:chgData name="Muchahary, Frankle" userId="0f2bf491-0617-4378-90b8-89af8fa381b9" providerId="ADAL" clId="{90877F19-00D2-4A00-8128-E78E36266C9A}" dt="2023-11-05T03:38:13.438" v="142148"/>
          <ac:spMkLst>
            <pc:docMk/>
            <pc:sldMk cId="2948950000" sldId="354"/>
            <ac:spMk id="254" creationId="{FD78A883-E674-8D2A-2BDD-170E5742FA6E}"/>
          </ac:spMkLst>
        </pc:spChg>
        <pc:spChg chg="add mod replST">
          <ac:chgData name="Muchahary, Frankle" userId="0f2bf491-0617-4378-90b8-89af8fa381b9" providerId="ADAL" clId="{90877F19-00D2-4A00-8128-E78E36266C9A}" dt="2023-11-05T03:41:42.161" v="145055"/>
          <ac:spMkLst>
            <pc:docMk/>
            <pc:sldMk cId="2948950000" sldId="354"/>
            <ac:spMk id="255" creationId="{8F762782-E686-7CAA-89C8-6D87D37B862B}"/>
          </ac:spMkLst>
        </pc:spChg>
        <pc:spChg chg="add mod replST">
          <ac:chgData name="Muchahary, Frankle" userId="0f2bf491-0617-4378-90b8-89af8fa381b9" providerId="ADAL" clId="{90877F19-00D2-4A00-8128-E78E36266C9A}" dt="2023-11-05T03:41:42.162" v="145056"/>
          <ac:spMkLst>
            <pc:docMk/>
            <pc:sldMk cId="2948950000" sldId="354"/>
            <ac:spMk id="256" creationId="{7772F0AB-883C-5A10-D874-E08D4F2E5C7A}"/>
          </ac:spMkLst>
        </pc:spChg>
        <pc:spChg chg="add mod replST">
          <ac:chgData name="Muchahary, Frankle" userId="0f2bf491-0617-4378-90b8-89af8fa381b9" providerId="ADAL" clId="{90877F19-00D2-4A00-8128-E78E36266C9A}" dt="2023-11-05T03:41:42.162" v="145057"/>
          <ac:spMkLst>
            <pc:docMk/>
            <pc:sldMk cId="2948950000" sldId="354"/>
            <ac:spMk id="257" creationId="{54B18322-5141-4E42-349B-30F03FE695B2}"/>
          </ac:spMkLst>
        </pc:spChg>
        <pc:spChg chg="add mod replST">
          <ac:chgData name="Muchahary, Frankle" userId="0f2bf491-0617-4378-90b8-89af8fa381b9" providerId="ADAL" clId="{90877F19-00D2-4A00-8128-E78E36266C9A}" dt="2023-11-05T03:41:42.163" v="145058"/>
          <ac:spMkLst>
            <pc:docMk/>
            <pc:sldMk cId="2948950000" sldId="354"/>
            <ac:spMk id="258" creationId="{AFF51CEF-3F41-FA06-04FE-543BBE66295F}"/>
          </ac:spMkLst>
        </pc:spChg>
        <pc:spChg chg="add mod replST">
          <ac:chgData name="Muchahary, Frankle" userId="0f2bf491-0617-4378-90b8-89af8fa381b9" providerId="ADAL" clId="{90877F19-00D2-4A00-8128-E78E36266C9A}" dt="2023-11-05T03:41:42.163" v="145059"/>
          <ac:spMkLst>
            <pc:docMk/>
            <pc:sldMk cId="2948950000" sldId="354"/>
            <ac:spMk id="259" creationId="{D4A0569B-46CF-F935-0F91-EDEB3FF9ADB2}"/>
          </ac:spMkLst>
        </pc:spChg>
        <pc:spChg chg="add mod replST">
          <ac:chgData name="Muchahary, Frankle" userId="0f2bf491-0617-4378-90b8-89af8fa381b9" providerId="ADAL" clId="{90877F19-00D2-4A00-8128-E78E36266C9A}" dt="2023-11-05T03:41:42.164" v="145060"/>
          <ac:spMkLst>
            <pc:docMk/>
            <pc:sldMk cId="2948950000" sldId="354"/>
            <ac:spMk id="260" creationId="{49B6F86E-C605-89B6-2BB7-E82B785502C5}"/>
          </ac:spMkLst>
        </pc:spChg>
        <pc:spChg chg="add mod replST">
          <ac:chgData name="Muchahary, Frankle" userId="0f2bf491-0617-4378-90b8-89af8fa381b9" providerId="ADAL" clId="{90877F19-00D2-4A00-8128-E78E36266C9A}" dt="2023-11-05T03:41:42.164" v="145061"/>
          <ac:spMkLst>
            <pc:docMk/>
            <pc:sldMk cId="2948950000" sldId="354"/>
            <ac:spMk id="261" creationId="{4B73CDE0-AF8E-DB4F-665C-8D9DA35170B5}"/>
          </ac:spMkLst>
        </pc:spChg>
        <pc:spChg chg="add mod replST">
          <ac:chgData name="Muchahary, Frankle" userId="0f2bf491-0617-4378-90b8-89af8fa381b9" providerId="ADAL" clId="{90877F19-00D2-4A00-8128-E78E36266C9A}" dt="2023-11-05T03:41:42.165" v="145062"/>
          <ac:spMkLst>
            <pc:docMk/>
            <pc:sldMk cId="2948950000" sldId="354"/>
            <ac:spMk id="262" creationId="{5DA1366D-78FC-CAB3-DF80-31290F838472}"/>
          </ac:spMkLst>
        </pc:spChg>
        <pc:spChg chg="add mod replST">
          <ac:chgData name="Muchahary, Frankle" userId="0f2bf491-0617-4378-90b8-89af8fa381b9" providerId="ADAL" clId="{90877F19-00D2-4A00-8128-E78E36266C9A}" dt="2023-11-05T03:41:42.166" v="145063"/>
          <ac:spMkLst>
            <pc:docMk/>
            <pc:sldMk cId="2948950000" sldId="354"/>
            <ac:spMk id="263" creationId="{C84163D6-9061-BCDA-4117-54B5BB69F48D}"/>
          </ac:spMkLst>
        </pc:spChg>
        <pc:spChg chg="add mod replST">
          <ac:chgData name="Muchahary, Frankle" userId="0f2bf491-0617-4378-90b8-89af8fa381b9" providerId="ADAL" clId="{90877F19-00D2-4A00-8128-E78E36266C9A}" dt="2023-11-05T03:41:42.167" v="145064"/>
          <ac:spMkLst>
            <pc:docMk/>
            <pc:sldMk cId="2948950000" sldId="354"/>
            <ac:spMk id="264" creationId="{D1427242-A773-68B8-5EAF-CDC3685D3276}"/>
          </ac:spMkLst>
        </pc:spChg>
        <pc:spChg chg="add mod replST">
          <ac:chgData name="Muchahary, Frankle" userId="0f2bf491-0617-4378-90b8-89af8fa381b9" providerId="ADAL" clId="{90877F19-00D2-4A00-8128-E78E36266C9A}" dt="2023-11-05T03:41:42.167" v="145065"/>
          <ac:spMkLst>
            <pc:docMk/>
            <pc:sldMk cId="2948950000" sldId="354"/>
            <ac:spMk id="265" creationId="{013DC600-4929-07A9-8F5D-6A898B533EB5}"/>
          </ac:spMkLst>
        </pc:spChg>
        <pc:spChg chg="add del mod modVis">
          <ac:chgData name="Muchahary, Frankle" userId="0f2bf491-0617-4378-90b8-89af8fa381b9" providerId="ADAL" clId="{90877F19-00D2-4A00-8128-E78E36266C9A}" dt="2023-11-05T03:38:15.105" v="142265"/>
          <ac:spMkLst>
            <pc:docMk/>
            <pc:sldMk cId="2948950000" sldId="354"/>
            <ac:spMk id="267" creationId="{9E6239A5-C69A-855C-A7FB-DFB3CE84DFEE}"/>
          </ac:spMkLst>
        </pc:spChg>
        <pc:spChg chg="add del mod modVis">
          <ac:chgData name="Muchahary, Frankle" userId="0f2bf491-0617-4378-90b8-89af8fa381b9" providerId="ADAL" clId="{90877F19-00D2-4A00-8128-E78E36266C9A}" dt="2023-11-05T03:38:19.752" v="142363"/>
          <ac:spMkLst>
            <pc:docMk/>
            <pc:sldMk cId="2948950000" sldId="354"/>
            <ac:spMk id="269" creationId="{DA8CE987-7677-C3C2-90F3-B7433A8DC14C}"/>
          </ac:spMkLst>
        </pc:spChg>
        <pc:spChg chg="add del mod modVis">
          <ac:chgData name="Muchahary, Frankle" userId="0f2bf491-0617-4378-90b8-89af8fa381b9" providerId="ADAL" clId="{90877F19-00D2-4A00-8128-E78E36266C9A}" dt="2023-11-05T03:38:34.664" v="142525"/>
          <ac:spMkLst>
            <pc:docMk/>
            <pc:sldMk cId="2948950000" sldId="354"/>
            <ac:spMk id="271" creationId="{452324E6-C805-B0FC-8E7C-E5E10A897189}"/>
          </ac:spMkLst>
        </pc:spChg>
        <pc:spChg chg="add del mod replST">
          <ac:chgData name="Muchahary, Frankle" userId="0f2bf491-0617-4378-90b8-89af8fa381b9" providerId="ADAL" clId="{90877F19-00D2-4A00-8128-E78E36266C9A}" dt="2023-11-05T03:38:38.917" v="142580"/>
          <ac:spMkLst>
            <pc:docMk/>
            <pc:sldMk cId="2948950000" sldId="354"/>
            <ac:spMk id="272" creationId="{B1377863-8689-9C51-C6C9-7A7FB43486CA}"/>
          </ac:spMkLst>
        </pc:spChg>
        <pc:spChg chg="add del mod modVis">
          <ac:chgData name="Muchahary, Frankle" userId="0f2bf491-0617-4378-90b8-89af8fa381b9" providerId="ADAL" clId="{90877F19-00D2-4A00-8128-E78E36266C9A}" dt="2023-11-05T03:38:38.970" v="142625"/>
          <ac:spMkLst>
            <pc:docMk/>
            <pc:sldMk cId="2948950000" sldId="354"/>
            <ac:spMk id="274" creationId="{2C94191A-0F3F-E482-27E9-EAE4959BA128}"/>
          </ac:spMkLst>
        </pc:spChg>
        <pc:spChg chg="add del mod modVis">
          <ac:chgData name="Muchahary, Frankle" userId="0f2bf491-0617-4378-90b8-89af8fa381b9" providerId="ADAL" clId="{90877F19-00D2-4A00-8128-E78E36266C9A}" dt="2023-11-05T03:38:42.037" v="142787"/>
          <ac:spMkLst>
            <pc:docMk/>
            <pc:sldMk cId="2948950000" sldId="354"/>
            <ac:spMk id="276" creationId="{0333BC82-985B-2038-6280-6D30003620FB}"/>
          </ac:spMkLst>
        </pc:spChg>
        <pc:spChg chg="add mod replST">
          <ac:chgData name="Muchahary, Frankle" userId="0f2bf491-0617-4378-90b8-89af8fa381b9" providerId="ADAL" clId="{90877F19-00D2-4A00-8128-E78E36266C9A}" dt="2023-11-05T03:41:42.172" v="145076"/>
          <ac:spMkLst>
            <pc:docMk/>
            <pc:sldMk cId="2948950000" sldId="354"/>
            <ac:spMk id="277" creationId="{26A3177C-D9DF-3170-34D6-5485A2E39F08}"/>
          </ac:spMkLst>
        </pc:spChg>
        <pc:spChg chg="add del mod modVis">
          <ac:chgData name="Muchahary, Frankle" userId="0f2bf491-0617-4378-90b8-89af8fa381b9" providerId="ADAL" clId="{90877F19-00D2-4A00-8128-E78E36266C9A}" dt="2023-11-05T03:38:50.669" v="142909"/>
          <ac:spMkLst>
            <pc:docMk/>
            <pc:sldMk cId="2948950000" sldId="354"/>
            <ac:spMk id="279" creationId="{0E267B94-2320-D283-7C86-D2745FE0F78C}"/>
          </ac:spMkLst>
        </pc:spChg>
        <pc:spChg chg="add del mod modVis">
          <ac:chgData name="Muchahary, Frankle" userId="0f2bf491-0617-4378-90b8-89af8fa381b9" providerId="ADAL" clId="{90877F19-00D2-4A00-8128-E78E36266C9A}" dt="2023-11-05T03:38:52.110" v="143009"/>
          <ac:spMkLst>
            <pc:docMk/>
            <pc:sldMk cId="2948950000" sldId="354"/>
            <ac:spMk id="281" creationId="{6D46C339-81FF-B72A-5863-504423226083}"/>
          </ac:spMkLst>
        </pc:spChg>
        <pc:spChg chg="add del mod modVis">
          <ac:chgData name="Muchahary, Frankle" userId="0f2bf491-0617-4378-90b8-89af8fa381b9" providerId="ADAL" clId="{90877F19-00D2-4A00-8128-E78E36266C9A}" dt="2023-11-05T03:38:52.999" v="143173"/>
          <ac:spMkLst>
            <pc:docMk/>
            <pc:sldMk cId="2948950000" sldId="354"/>
            <ac:spMk id="283" creationId="{44B27121-638F-5BBF-6AFE-39A7E6F637ED}"/>
          </ac:spMkLst>
        </pc:spChg>
        <pc:spChg chg="add mod replST">
          <ac:chgData name="Muchahary, Frankle" userId="0f2bf491-0617-4378-90b8-89af8fa381b9" providerId="ADAL" clId="{90877F19-00D2-4A00-8128-E78E36266C9A}" dt="2023-11-05T03:41:42.172" v="145077"/>
          <ac:spMkLst>
            <pc:docMk/>
            <pc:sldMk cId="2948950000" sldId="354"/>
            <ac:spMk id="284" creationId="{C0C84B8F-AD0C-65D8-3708-8C0D1F8BD05A}"/>
          </ac:spMkLst>
        </pc:spChg>
        <pc:spChg chg="add del mod modVis">
          <ac:chgData name="Muchahary, Frankle" userId="0f2bf491-0617-4378-90b8-89af8fa381b9" providerId="ADAL" clId="{90877F19-00D2-4A00-8128-E78E36266C9A}" dt="2023-11-05T03:38:56.673" v="143297"/>
          <ac:spMkLst>
            <pc:docMk/>
            <pc:sldMk cId="2948950000" sldId="354"/>
            <ac:spMk id="286" creationId="{20105627-FE31-A4E7-BA0B-C155C2449D65}"/>
          </ac:spMkLst>
        </pc:spChg>
        <pc:spChg chg="add del mod modVis">
          <ac:chgData name="Muchahary, Frankle" userId="0f2bf491-0617-4378-90b8-89af8fa381b9" providerId="ADAL" clId="{90877F19-00D2-4A00-8128-E78E36266C9A}" dt="2023-11-05T03:38:57.430" v="143399"/>
          <ac:spMkLst>
            <pc:docMk/>
            <pc:sldMk cId="2948950000" sldId="354"/>
            <ac:spMk id="288" creationId="{840EB5DF-4449-4E16-D4BE-BD662178013F}"/>
          </ac:spMkLst>
        </pc:spChg>
        <pc:spChg chg="add del mod modVis">
          <ac:chgData name="Muchahary, Frankle" userId="0f2bf491-0617-4378-90b8-89af8fa381b9" providerId="ADAL" clId="{90877F19-00D2-4A00-8128-E78E36266C9A}" dt="2023-11-05T03:38:58.236" v="143565"/>
          <ac:spMkLst>
            <pc:docMk/>
            <pc:sldMk cId="2948950000" sldId="354"/>
            <ac:spMk id="290" creationId="{0BD187AD-5F4E-7CDF-AC40-F3B9A9FBF81F}"/>
          </ac:spMkLst>
        </pc:spChg>
        <pc:spChg chg="add mod replST">
          <ac:chgData name="Muchahary, Frankle" userId="0f2bf491-0617-4378-90b8-89af8fa381b9" providerId="ADAL" clId="{90877F19-00D2-4A00-8128-E78E36266C9A}" dt="2023-11-05T03:41:42.173" v="145078"/>
          <ac:spMkLst>
            <pc:docMk/>
            <pc:sldMk cId="2948950000" sldId="354"/>
            <ac:spMk id="291" creationId="{EF660BAC-E244-C0FB-2323-C3613018DFFF}"/>
          </ac:spMkLst>
        </pc:spChg>
        <pc:spChg chg="add del mod modVis">
          <ac:chgData name="Muchahary, Frankle" userId="0f2bf491-0617-4378-90b8-89af8fa381b9" providerId="ADAL" clId="{90877F19-00D2-4A00-8128-E78E36266C9A}" dt="2023-11-05T03:39:02.537" v="143691"/>
          <ac:spMkLst>
            <pc:docMk/>
            <pc:sldMk cId="2948950000" sldId="354"/>
            <ac:spMk id="293" creationId="{A0E0682E-D9D8-585B-E806-4D1407ED0B90}"/>
          </ac:spMkLst>
        </pc:spChg>
        <pc:spChg chg="add del mod modVis">
          <ac:chgData name="Muchahary, Frankle" userId="0f2bf491-0617-4378-90b8-89af8fa381b9" providerId="ADAL" clId="{90877F19-00D2-4A00-8128-E78E36266C9A}" dt="2023-11-05T03:39:03.361" v="143795"/>
          <ac:spMkLst>
            <pc:docMk/>
            <pc:sldMk cId="2948950000" sldId="354"/>
            <ac:spMk id="295" creationId="{892C392D-2B83-03B5-AFAE-0400835E0039}"/>
          </ac:spMkLst>
        </pc:spChg>
        <pc:spChg chg="add del mod modVis">
          <ac:chgData name="Muchahary, Frankle" userId="0f2bf491-0617-4378-90b8-89af8fa381b9" providerId="ADAL" clId="{90877F19-00D2-4A00-8128-E78E36266C9A}" dt="2023-11-05T03:39:12.200" v="143951"/>
          <ac:spMkLst>
            <pc:docMk/>
            <pc:sldMk cId="2948950000" sldId="354"/>
            <ac:spMk id="297" creationId="{290448B9-D435-C0B3-AFD5-484AF836E219}"/>
          </ac:spMkLst>
        </pc:spChg>
        <pc:spChg chg="add del mod modVis">
          <ac:chgData name="Muchahary, Frankle" userId="0f2bf491-0617-4378-90b8-89af8fa381b9" providerId="ADAL" clId="{90877F19-00D2-4A00-8128-E78E36266C9A}" dt="2023-11-05T03:40:38.450" v="144055"/>
          <ac:spMkLst>
            <pc:docMk/>
            <pc:sldMk cId="2948950000" sldId="354"/>
            <ac:spMk id="299" creationId="{38B22E12-E344-6ED9-880B-16ED2BD4C6FC}"/>
          </ac:spMkLst>
        </pc:spChg>
        <pc:spChg chg="add del mod modVis">
          <ac:chgData name="Muchahary, Frankle" userId="0f2bf491-0617-4378-90b8-89af8fa381b9" providerId="ADAL" clId="{90877F19-00D2-4A00-8128-E78E36266C9A}" dt="2023-11-05T03:41:05.480" v="144159"/>
          <ac:spMkLst>
            <pc:docMk/>
            <pc:sldMk cId="2948950000" sldId="354"/>
            <ac:spMk id="301" creationId="{C3C4F396-F7B7-CBD1-37E2-8B7083117BF3}"/>
          </ac:spMkLst>
        </pc:spChg>
        <pc:spChg chg="add del mod modVis">
          <ac:chgData name="Muchahary, Frankle" userId="0f2bf491-0617-4378-90b8-89af8fa381b9" providerId="ADAL" clId="{90877F19-00D2-4A00-8128-E78E36266C9A}" dt="2023-11-05T03:41:09.281" v="144262"/>
          <ac:spMkLst>
            <pc:docMk/>
            <pc:sldMk cId="2948950000" sldId="354"/>
            <ac:spMk id="303" creationId="{B7EBFFB0-5FFF-F121-A253-B2DAFEED70E1}"/>
          </ac:spMkLst>
        </pc:spChg>
        <pc:spChg chg="add del mod modVis">
          <ac:chgData name="Muchahary, Frankle" userId="0f2bf491-0617-4378-90b8-89af8fa381b9" providerId="ADAL" clId="{90877F19-00D2-4A00-8128-E78E36266C9A}" dt="2023-11-05T03:41:11.828" v="144357"/>
          <ac:spMkLst>
            <pc:docMk/>
            <pc:sldMk cId="2948950000" sldId="354"/>
            <ac:spMk id="305" creationId="{5160DB9B-2CFB-4F6B-3854-12978130DC1A}"/>
          </ac:spMkLst>
        </pc:spChg>
        <pc:spChg chg="add del mod modVis">
          <ac:chgData name="Muchahary, Frankle" userId="0f2bf491-0617-4378-90b8-89af8fa381b9" providerId="ADAL" clId="{90877F19-00D2-4A00-8128-E78E36266C9A}" dt="2023-11-05T03:41:15.686" v="144581"/>
          <ac:spMkLst>
            <pc:docMk/>
            <pc:sldMk cId="2948950000" sldId="354"/>
            <ac:spMk id="307" creationId="{41ED3173-09D9-C9E4-EF1E-71C0088A3BB1}"/>
          </ac:spMkLst>
        </pc:spChg>
        <pc:spChg chg="add del mod ord replST">
          <ac:chgData name="Muchahary, Frankle" userId="0f2bf491-0617-4378-90b8-89af8fa381b9" providerId="ADAL" clId="{90877F19-00D2-4A00-8128-E78E36266C9A}" dt="2023-11-05T03:41:34.852" v="144617"/>
          <ac:spMkLst>
            <pc:docMk/>
            <pc:sldMk cId="2948950000" sldId="354"/>
            <ac:spMk id="308" creationId="{9484389C-E259-CF48-DE61-723DD0B34549}"/>
          </ac:spMkLst>
        </pc:spChg>
        <pc:spChg chg="add del mod modVis">
          <ac:chgData name="Muchahary, Frankle" userId="0f2bf491-0617-4378-90b8-89af8fa381b9" providerId="ADAL" clId="{90877F19-00D2-4A00-8128-E78E36266C9A}" dt="2023-11-05T03:41:34.978" v="144710"/>
          <ac:spMkLst>
            <pc:docMk/>
            <pc:sldMk cId="2948950000" sldId="354"/>
            <ac:spMk id="313" creationId="{B27EC51C-B329-748F-9B80-48CD04E39E60}"/>
          </ac:spMkLst>
        </pc:spChg>
        <pc:spChg chg="add del mod modVis">
          <ac:chgData name="Muchahary, Frankle" userId="0f2bf491-0617-4378-90b8-89af8fa381b9" providerId="ADAL" clId="{90877F19-00D2-4A00-8128-E78E36266C9A}" dt="2023-11-05T03:41:38.274" v="144934"/>
          <ac:spMkLst>
            <pc:docMk/>
            <pc:sldMk cId="2948950000" sldId="354"/>
            <ac:spMk id="315" creationId="{F159F1E0-8C13-0159-5AAA-2EAF42B4CCAF}"/>
          </ac:spMkLst>
        </pc:spChg>
        <pc:spChg chg="add mod ord replST">
          <ac:chgData name="Muchahary, Frankle" userId="0f2bf491-0617-4378-90b8-89af8fa381b9" providerId="ADAL" clId="{90877F19-00D2-4A00-8128-E78E36266C9A}" dt="2023-11-05T03:41:42.173" v="145080"/>
          <ac:spMkLst>
            <pc:docMk/>
            <pc:sldMk cId="2948950000" sldId="354"/>
            <ac:spMk id="316" creationId="{69D6838A-4C57-A8BF-E356-BE6A10F24FA3}"/>
          </ac:spMkLst>
        </pc:spChg>
        <pc:spChg chg="add del mod modVis">
          <ac:chgData name="Muchahary, Frankle" userId="0f2bf491-0617-4378-90b8-89af8fa381b9" providerId="ADAL" clId="{90877F19-00D2-4A00-8128-E78E36266C9A}" dt="2023-11-05T03:41:42.176" v="145089"/>
          <ac:spMkLst>
            <pc:docMk/>
            <pc:sldMk cId="2948950000" sldId="354"/>
            <ac:spMk id="321" creationId="{51F2E510-3682-13F8-A004-AE8BF8E849FC}"/>
          </ac:spMkLst>
        </pc:spChg>
        <pc:graphicFrameChg chg="add del mod ord replST">
          <ac:chgData name="Muchahary, Frankle" userId="0f2bf491-0617-4378-90b8-89af8fa381b9" providerId="ADAL" clId="{90877F19-00D2-4A00-8128-E78E36266C9A}" dt="2023-11-05T03:24:08.952" v="129984"/>
          <ac:graphicFrameMkLst>
            <pc:docMk/>
            <pc:sldMk cId="2948950000" sldId="354"/>
            <ac:graphicFrameMk id="7" creationId="{068AE8E9-592B-1B9B-057E-D88FA2D9FB38}"/>
          </ac:graphicFrameMkLst>
        </pc:graphicFrameChg>
        <pc:graphicFrameChg chg="mod">
          <ac:chgData name="Muchahary, Frankle" userId="0f2bf491-0617-4378-90b8-89af8fa381b9" providerId="ADAL" clId="{90877F19-00D2-4A00-8128-E78E36266C9A}" dt="2023-11-05T03:41:42.183" v="145091"/>
          <ac:graphicFrameMkLst>
            <pc:docMk/>
            <pc:sldMk cId="2948950000" sldId="354"/>
            <ac:graphicFrameMk id="8" creationId="{7C2468B8-94B3-1E45-C5D3-2E4C6420535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12.522" v="130063"/>
          <ac:graphicFrameMkLst>
            <pc:docMk/>
            <pc:sldMk cId="2948950000" sldId="354"/>
            <ac:graphicFrameMk id="10" creationId="{4FCB138A-632A-EBA4-ABA0-0AD0E0A868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45.024" v="130678"/>
          <ac:graphicFrameMkLst>
            <pc:docMk/>
            <pc:sldMk cId="2948950000" sldId="354"/>
            <ac:graphicFrameMk id="12" creationId="{4E2D2242-306E-0FF8-6ACB-EB93C8645D15}"/>
          </ac:graphicFrameMkLst>
        </pc:graphicFrameChg>
        <pc:graphicFrameChg chg="del">
          <ac:chgData name="Muchahary, Frankle" userId="0f2bf491-0617-4378-90b8-89af8fa381b9" providerId="ADAL" clId="{90877F19-00D2-4A00-8128-E78E36266C9A}" dt="2023-11-05T03:23:50.647" v="129772"/>
          <ac:graphicFrameMkLst>
            <pc:docMk/>
            <pc:sldMk cId="2948950000" sldId="354"/>
            <ac:graphicFrameMk id="21" creationId="{DE009413-4552-C0D9-80D3-28E93B1204A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40.511" v="130519"/>
          <ac:graphicFrameMkLst>
            <pc:docMk/>
            <pc:sldMk cId="2948950000" sldId="354"/>
            <ac:graphicFrameMk id="23" creationId="{E75B5C49-0FF5-C598-1141-DB0BFE0BFEFB}"/>
          </ac:graphicFrameMkLst>
        </pc:graphicFrameChg>
        <pc:graphicFrameChg chg="del">
          <ac:chgData name="Muchahary, Frankle" userId="0f2bf491-0617-4378-90b8-89af8fa381b9" providerId="ADAL" clId="{90877F19-00D2-4A00-8128-E78E36266C9A}" dt="2023-11-05T03:23:53.833" v="129879"/>
          <ac:graphicFrameMkLst>
            <pc:docMk/>
            <pc:sldMk cId="2948950000" sldId="354"/>
            <ac:graphicFrameMk id="26" creationId="{37DB4D6A-7D92-B177-18FF-62B170157E9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42.255" v="130582"/>
          <ac:graphicFrameMkLst>
            <pc:docMk/>
            <pc:sldMk cId="2948950000" sldId="354"/>
            <ac:graphicFrameMk id="28" creationId="{21473680-6989-DDA7-7243-A0EE0BDB24A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50.941" v="130858"/>
          <ac:graphicFrameMkLst>
            <pc:docMk/>
            <pc:sldMk cId="2948950000" sldId="354"/>
            <ac:graphicFrameMk id="29" creationId="{A1A86C09-6DD1-4EE6-92CA-6B01FB4669C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46.090" v="130774"/>
          <ac:graphicFrameMkLst>
            <pc:docMk/>
            <pc:sldMk cId="2948950000" sldId="354"/>
            <ac:graphicFrameMk id="30" creationId="{656392CB-25A3-F72C-A7BC-DFAF927FAA8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47.776" v="130833"/>
          <ac:graphicFrameMkLst>
            <pc:docMk/>
            <pc:sldMk cId="2948950000" sldId="354"/>
            <ac:graphicFrameMk id="31" creationId="{DE6218D8-C63D-85DB-E929-83456BDA193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4:53.058" v="130904"/>
          <ac:graphicFrameMkLst>
            <pc:docMk/>
            <pc:sldMk cId="2948950000" sldId="354"/>
            <ac:graphicFrameMk id="32" creationId="{4C6AB633-E551-C5EB-B3BD-900ACF3186C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12.697" v="130980"/>
          <ac:graphicFrameMkLst>
            <pc:docMk/>
            <pc:sldMk cId="2948950000" sldId="354"/>
            <ac:graphicFrameMk id="33" creationId="{1FB1A133-98BF-1DC6-8E86-7311CB17B88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23.492" v="131055"/>
          <ac:graphicFrameMkLst>
            <pc:docMk/>
            <pc:sldMk cId="2948950000" sldId="354"/>
            <ac:graphicFrameMk id="35" creationId="{9E7AED4B-D58B-FACE-8CEC-46E7E39A3AD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31.429" v="131135"/>
          <ac:graphicFrameMkLst>
            <pc:docMk/>
            <pc:sldMk cId="2948950000" sldId="354"/>
            <ac:graphicFrameMk id="37" creationId="{BE689775-F2DD-F262-6C69-CC52E3F38B4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34.406" v="131169"/>
          <ac:graphicFrameMkLst>
            <pc:docMk/>
            <pc:sldMk cId="2948950000" sldId="354"/>
            <ac:graphicFrameMk id="40" creationId="{FCB6200E-9044-4D07-0951-D8C331F817E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35.504" v="131201"/>
          <ac:graphicFrameMkLst>
            <pc:docMk/>
            <pc:sldMk cId="2948950000" sldId="354"/>
            <ac:graphicFrameMk id="41" creationId="{9CE19DA8-7792-46C5-7625-8E487C68912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50.764" v="131265"/>
          <ac:graphicFrameMkLst>
            <pc:docMk/>
            <pc:sldMk cId="2948950000" sldId="354"/>
            <ac:graphicFrameMk id="42" creationId="{6E921698-66A2-3FFB-F83B-7D62618DBC3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5:58.278" v="131333"/>
          <ac:graphicFrameMkLst>
            <pc:docMk/>
            <pc:sldMk cId="2948950000" sldId="354"/>
            <ac:graphicFrameMk id="44" creationId="{F05916C4-FEAD-7930-B210-E0A4634F670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12.234" v="131420"/>
          <ac:graphicFrameMkLst>
            <pc:docMk/>
            <pc:sldMk cId="2948950000" sldId="354"/>
            <ac:graphicFrameMk id="46" creationId="{312FFCA8-31CB-2466-F39E-A883B5D4B62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23.669" v="131462"/>
          <ac:graphicFrameMkLst>
            <pc:docMk/>
            <pc:sldMk cId="2948950000" sldId="354"/>
            <ac:graphicFrameMk id="47" creationId="{F4C00E83-4E7C-2D2C-2488-1A95F8125C5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24.986" v="131498"/>
          <ac:graphicFrameMkLst>
            <pc:docMk/>
            <pc:sldMk cId="2948950000" sldId="354"/>
            <ac:graphicFrameMk id="48" creationId="{C4738783-40EB-C73E-38ED-84E3B7EECCE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41.990" v="131560"/>
          <ac:graphicFrameMkLst>
            <pc:docMk/>
            <pc:sldMk cId="2948950000" sldId="354"/>
            <ac:graphicFrameMk id="49" creationId="{EA115967-C083-0918-521A-420CD30C95A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45.962" v="131632"/>
          <ac:graphicFrameMkLst>
            <pc:docMk/>
            <pc:sldMk cId="2948950000" sldId="354"/>
            <ac:graphicFrameMk id="51" creationId="{E67ABF1B-0280-7B46-3A9F-D069538F19B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6:56.385" v="131688"/>
          <ac:graphicFrameMkLst>
            <pc:docMk/>
            <pc:sldMk cId="2948950000" sldId="354"/>
            <ac:graphicFrameMk id="53" creationId="{2D07288F-F901-D603-2DE4-4963561E4FF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7:42.409" v="131719"/>
          <ac:graphicFrameMkLst>
            <pc:docMk/>
            <pc:sldMk cId="2948950000" sldId="354"/>
            <ac:graphicFrameMk id="54" creationId="{3CEE73E0-9F0A-B998-6BF6-C01E06168F8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7:43.850" v="131748"/>
          <ac:graphicFrameMkLst>
            <pc:docMk/>
            <pc:sldMk cId="2948950000" sldId="354"/>
            <ac:graphicFrameMk id="55" creationId="{678AE9C3-D87A-55DA-E03B-B96E04FB231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7:47.440" v="131822"/>
          <ac:graphicFrameMkLst>
            <pc:docMk/>
            <pc:sldMk cId="2948950000" sldId="354"/>
            <ac:graphicFrameMk id="56" creationId="{1A8FB2D0-6C1B-134E-4687-EF41489251C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7:51.828" v="131895"/>
          <ac:graphicFrameMkLst>
            <pc:docMk/>
            <pc:sldMk cId="2948950000" sldId="354"/>
            <ac:graphicFrameMk id="60" creationId="{F120669E-A1C5-0595-70FA-C0E62FFA40D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8:26.022" v="131946"/>
          <ac:graphicFrameMkLst>
            <pc:docMk/>
            <pc:sldMk cId="2948950000" sldId="354"/>
            <ac:graphicFrameMk id="64" creationId="{7E6D530A-34AF-DF35-D268-EFE496A81CB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8:32.994" v="131997"/>
          <ac:graphicFrameMkLst>
            <pc:docMk/>
            <pc:sldMk cId="2948950000" sldId="354"/>
            <ac:graphicFrameMk id="66" creationId="{80A47402-32A6-20B8-2221-0D13FD276B5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8:36.475" v="132048"/>
          <ac:graphicFrameMkLst>
            <pc:docMk/>
            <pc:sldMk cId="2948950000" sldId="354"/>
            <ac:graphicFrameMk id="68" creationId="{868233C7-0282-90F5-DEFE-934C847333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8:39.229" v="132099"/>
          <ac:graphicFrameMkLst>
            <pc:docMk/>
            <pc:sldMk cId="2948950000" sldId="354"/>
            <ac:graphicFrameMk id="70" creationId="{EF32D6B2-195E-5ECE-247E-61E5B7AC816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8:53.057" v="132150"/>
          <ac:graphicFrameMkLst>
            <pc:docMk/>
            <pc:sldMk cId="2948950000" sldId="354"/>
            <ac:graphicFrameMk id="72" creationId="{22865344-B3B6-9448-0D20-56C81E2FAC2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37.793" v="132215"/>
          <ac:graphicFrameMkLst>
            <pc:docMk/>
            <pc:sldMk cId="2948950000" sldId="354"/>
            <ac:graphicFrameMk id="74" creationId="{3A44E72C-8553-6240-1BA7-E0EB715A897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43.581" v="132280"/>
          <ac:graphicFrameMkLst>
            <pc:docMk/>
            <pc:sldMk cId="2948950000" sldId="354"/>
            <ac:graphicFrameMk id="76" creationId="{6300E136-ED88-01D3-53CE-E51644C6697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51.801" v="132388"/>
          <ac:graphicFrameMkLst>
            <pc:docMk/>
            <pc:sldMk cId="2948950000" sldId="354"/>
            <ac:graphicFrameMk id="78" creationId="{839BF929-927E-3570-394C-9237EB6ED91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52.953" v="132499"/>
          <ac:graphicFrameMkLst>
            <pc:docMk/>
            <pc:sldMk cId="2948950000" sldId="354"/>
            <ac:graphicFrameMk id="81" creationId="{A5513E74-A2FD-4254-8527-A88AEEC901A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54.869" v="132533"/>
          <ac:graphicFrameMkLst>
            <pc:docMk/>
            <pc:sldMk cId="2948950000" sldId="354"/>
            <ac:graphicFrameMk id="84" creationId="{AF92AFB9-7247-A3A2-1A9E-6B5AD06FF4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29:58.464" v="132695"/>
          <ac:graphicFrameMkLst>
            <pc:docMk/>
            <pc:sldMk cId="2948950000" sldId="354"/>
            <ac:graphicFrameMk id="85" creationId="{5749C965-1C7D-0EE2-9872-CC13558A820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0:43.167" v="132769"/>
          <ac:graphicFrameMkLst>
            <pc:docMk/>
            <pc:sldMk cId="2948950000" sldId="354"/>
            <ac:graphicFrameMk id="91" creationId="{A7E2099C-BF4A-05A2-8AED-695E8639E5E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0:46.382" v="132845"/>
          <ac:graphicFrameMkLst>
            <pc:docMk/>
            <pc:sldMk cId="2948950000" sldId="354"/>
            <ac:graphicFrameMk id="93" creationId="{BD4C3B9E-D87F-A209-5A89-6EB265218A2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1:00.729" v="132919"/>
          <ac:graphicFrameMkLst>
            <pc:docMk/>
            <pc:sldMk cId="2948950000" sldId="354"/>
            <ac:graphicFrameMk id="95" creationId="{9B0F5B03-E299-291B-B520-9A90570FE00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1:04.480" v="132995"/>
          <ac:graphicFrameMkLst>
            <pc:docMk/>
            <pc:sldMk cId="2948950000" sldId="354"/>
            <ac:graphicFrameMk id="97" creationId="{A957E372-F63C-0FCD-0BEF-A8C176EE711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3:25.982" v="134447"/>
          <ac:graphicFrameMkLst>
            <pc:docMk/>
            <pc:sldMk cId="2948950000" sldId="354"/>
            <ac:graphicFrameMk id="99" creationId="{4A51A032-6B45-20B3-EDDF-F03B17C6D994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5T03:33:22.124" v="134028" actId="1076"/>
          <ac:graphicFrameMkLst>
            <pc:docMk/>
            <pc:sldMk cId="2948950000" sldId="354"/>
            <ac:graphicFrameMk id="102" creationId="{EEA6DFBD-46C3-8B0F-9839-E6B2AB5FD0EA}"/>
          </ac:graphicFrameMkLst>
        </pc:graphicFrameChg>
        <pc:graphicFrameChg chg="add del mod ord replST delST">
          <ac:chgData name="Muchahary, Frankle" userId="0f2bf491-0617-4378-90b8-89af8fa381b9" providerId="ADAL" clId="{90877F19-00D2-4A00-8128-E78E36266C9A}" dt="2023-11-05T03:33:16.944" v="133705" actId="1076"/>
          <ac:graphicFrameMkLst>
            <pc:docMk/>
            <pc:sldMk cId="2948950000" sldId="354"/>
            <ac:graphicFrameMk id="104" creationId="{B929150E-3A92-2FD9-A710-0BDD45BDCB87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33:15.294" v="133379" actId="1076"/>
          <ac:graphicFrameMkLst>
            <pc:docMk/>
            <pc:sldMk cId="2948950000" sldId="354"/>
            <ac:graphicFrameMk id="107" creationId="{D0221FE8-2AAE-DB13-F8DA-B4E1CD31C803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33:16.882" v="133596" actId="1076"/>
          <ac:graphicFrameMkLst>
            <pc:docMk/>
            <pc:sldMk cId="2948950000" sldId="354"/>
            <ac:graphicFrameMk id="109" creationId="{33189B76-608C-92F3-4985-6951D7971E5C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33:22.058" v="133917" actId="1076"/>
          <ac:graphicFrameMkLst>
            <pc:docMk/>
            <pc:sldMk cId="2948950000" sldId="354"/>
            <ac:graphicFrameMk id="111" creationId="{B13578B7-CA24-88C5-02B5-8BDF997869CE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33:25.173" v="134234" actId="1076"/>
          <ac:graphicFrameMkLst>
            <pc:docMk/>
            <pc:sldMk cId="2948950000" sldId="354"/>
            <ac:graphicFrameMk id="113" creationId="{694A08A2-634C-A65B-3A27-EAD8F8257A2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3:42.189" v="134523"/>
          <ac:graphicFrameMkLst>
            <pc:docMk/>
            <pc:sldMk cId="2948950000" sldId="354"/>
            <ac:graphicFrameMk id="116" creationId="{2A80B386-66B6-9E10-D959-B817510D1DC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4:32.373" v="134613"/>
          <ac:graphicFrameMkLst>
            <pc:docMk/>
            <pc:sldMk cId="2948950000" sldId="354"/>
            <ac:graphicFrameMk id="118" creationId="{F8BCBDFC-C50B-DA9F-C9F9-46C56B31912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5:48.596" v="134715"/>
          <ac:graphicFrameMkLst>
            <pc:docMk/>
            <pc:sldMk cId="2948950000" sldId="354"/>
            <ac:graphicFrameMk id="120" creationId="{19908F40-2723-8CFA-739E-CE80EEA5FF1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5:51.128" v="134825"/>
          <ac:graphicFrameMkLst>
            <pc:docMk/>
            <pc:sldMk cId="2948950000" sldId="354"/>
            <ac:graphicFrameMk id="122" creationId="{452AD3BA-BE63-3698-8C2D-5A35BBDDF2E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5:59.364" v="134955"/>
          <ac:graphicFrameMkLst>
            <pc:docMk/>
            <pc:sldMk cId="2948950000" sldId="354"/>
            <ac:graphicFrameMk id="124" creationId="{FE03D8DF-F605-4D84-F42A-C93868C4D34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04.447" v="135052"/>
          <ac:graphicFrameMkLst>
            <pc:docMk/>
            <pc:sldMk cId="2948950000" sldId="354"/>
            <ac:graphicFrameMk id="127" creationId="{9535C14C-F0C2-20F4-833B-E2B5BF1F55D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07.623" v="135141"/>
          <ac:graphicFrameMkLst>
            <pc:docMk/>
            <pc:sldMk cId="2948950000" sldId="354"/>
            <ac:graphicFrameMk id="132" creationId="{93445FB3-8029-6FF4-FCB5-18044D9AF88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15.703" v="135866"/>
          <ac:graphicFrameMkLst>
            <pc:docMk/>
            <pc:sldMk cId="2948950000" sldId="354"/>
            <ac:graphicFrameMk id="137" creationId="{AC5EF3CA-C256-75E5-AC2F-548535C7AF8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16.176" v="136121"/>
          <ac:graphicFrameMkLst>
            <pc:docMk/>
            <pc:sldMk cId="2948950000" sldId="354"/>
            <ac:graphicFrameMk id="150" creationId="{FFFB3BBE-353B-DE28-C464-A824749DF5D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22.351" v="136866"/>
          <ac:graphicFrameMkLst>
            <pc:docMk/>
            <pc:sldMk cId="2948950000" sldId="354"/>
            <ac:graphicFrameMk id="168" creationId="{10EFF081-B39D-32A5-C192-8B04E5CF286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23.250" v="136991"/>
          <ac:graphicFrameMkLst>
            <pc:docMk/>
            <pc:sldMk cId="2948950000" sldId="354"/>
            <ac:graphicFrameMk id="181" creationId="{339164FB-6697-C160-79C6-E6DE9DB76EE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27.767" v="137736"/>
          <ac:graphicFrameMkLst>
            <pc:docMk/>
            <pc:sldMk cId="2948950000" sldId="354"/>
            <ac:graphicFrameMk id="183" creationId="{C26A6134-D602-F633-4103-08552C92F91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28.681" v="137861"/>
          <ac:graphicFrameMkLst>
            <pc:docMk/>
            <pc:sldMk cId="2948950000" sldId="354"/>
            <ac:graphicFrameMk id="196" creationId="{93FE4CC9-C485-A97E-3872-5619A32264A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30.842" v="138606"/>
          <ac:graphicFrameMkLst>
            <pc:docMk/>
            <pc:sldMk cId="2948950000" sldId="354"/>
            <ac:graphicFrameMk id="198" creationId="{5C9A6568-6BDB-26D9-0010-31EF41F759E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45.355" v="139490"/>
          <ac:graphicFrameMkLst>
            <pc:docMk/>
            <pc:sldMk cId="2948950000" sldId="354"/>
            <ac:graphicFrameMk id="211" creationId="{595429C8-3E71-6447-5572-2D9E07835566}"/>
          </ac:graphicFrameMkLst>
        </pc:graphicFrameChg>
        <pc:graphicFrameChg chg="add mod ord replST delST">
          <ac:chgData name="Muchahary, Frankle" userId="0f2bf491-0617-4378-90b8-89af8fa381b9" providerId="ADAL" clId="{90877F19-00D2-4A00-8128-E78E36266C9A}" dt="2023-11-05T03:36:43.036" v="139196"/>
          <ac:graphicFrameMkLst>
            <pc:docMk/>
            <pc:sldMk cId="2948950000" sldId="354"/>
            <ac:graphicFrameMk id="216" creationId="{C0F98EE0-8796-BAD7-328C-70292E8DBEF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45.619" v="139594"/>
          <ac:graphicFrameMkLst>
            <pc:docMk/>
            <pc:sldMk cId="2948950000" sldId="354"/>
            <ac:graphicFrameMk id="220" creationId="{A6AE641A-DDD8-5D00-78FF-1E1F0EA3E15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6:55.862" v="139749"/>
          <ac:graphicFrameMkLst>
            <pc:docMk/>
            <pc:sldMk cId="2948950000" sldId="354"/>
            <ac:graphicFrameMk id="222" creationId="{3EF661F6-3AAA-A251-1522-B198795D998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04.185" v="139852"/>
          <ac:graphicFrameMkLst>
            <pc:docMk/>
            <pc:sldMk cId="2948950000" sldId="354"/>
            <ac:graphicFrameMk id="225" creationId="{FD94DEA4-7603-8C5E-1753-734C19B8CBC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08.454" v="139948"/>
          <ac:graphicFrameMkLst>
            <pc:docMk/>
            <pc:sldMk cId="2948950000" sldId="354"/>
            <ac:graphicFrameMk id="227" creationId="{433B48B3-DD53-B719-9336-E3EBD41706D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17.583" v="140090"/>
          <ac:graphicFrameMkLst>
            <pc:docMk/>
            <pc:sldMk cId="2948950000" sldId="354"/>
            <ac:graphicFrameMk id="229" creationId="{D953C0E2-463E-6095-2ABD-0A9AC9D1AF5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21.138" v="140241"/>
          <ac:graphicFrameMkLst>
            <pc:docMk/>
            <pc:sldMk cId="2948950000" sldId="354"/>
            <ac:graphicFrameMk id="231" creationId="{638BB05B-A2EE-4D8D-1812-13D014E5B0D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28.250" v="140436"/>
          <ac:graphicFrameMkLst>
            <pc:docMk/>
            <pc:sldMk cId="2948950000" sldId="354"/>
            <ac:graphicFrameMk id="234" creationId="{F6852C7F-CC7D-2D4C-D5B4-C1126D68BCC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30.768" v="140617"/>
          <ac:graphicFrameMkLst>
            <pc:docMk/>
            <pc:sldMk cId="2948950000" sldId="354"/>
            <ac:graphicFrameMk id="237" creationId="{0683ABF4-135D-9CFE-69A1-A66E135358F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32.975" v="140742"/>
          <ac:graphicFrameMkLst>
            <pc:docMk/>
            <pc:sldMk cId="2948950000" sldId="354"/>
            <ac:graphicFrameMk id="240" creationId="{BE2A546B-7F32-97D2-9713-606F4E5694E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44.570" v="140816"/>
          <ac:graphicFrameMkLst>
            <pc:docMk/>
            <pc:sldMk cId="2948950000" sldId="354"/>
            <ac:graphicFrameMk id="242" creationId="{CF998E3D-0F27-54C8-342F-67FD432011C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51.181" v="140953"/>
          <ac:graphicFrameMkLst>
            <pc:docMk/>
            <pc:sldMk cId="2948950000" sldId="354"/>
            <ac:graphicFrameMk id="244" creationId="{56DA1FF2-1DDD-D90B-40B6-9565DA036FD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7:55.252" v="141061"/>
          <ac:graphicFrameMkLst>
            <pc:docMk/>
            <pc:sldMk cId="2948950000" sldId="354"/>
            <ac:graphicFrameMk id="247" creationId="{172975D7-0344-A2AD-27B9-37F75329771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00.687" v="141147"/>
          <ac:graphicFrameMkLst>
            <pc:docMk/>
            <pc:sldMk cId="2948950000" sldId="354"/>
            <ac:graphicFrameMk id="249" creationId="{F3FBD533-A400-FE22-A462-F2C3771E7EF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04.940" v="141241"/>
          <ac:graphicFrameMkLst>
            <pc:docMk/>
            <pc:sldMk cId="2948950000" sldId="354"/>
            <ac:graphicFrameMk id="251" creationId="{9822DE24-749B-A092-6B51-E8EBC2C5717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13.391" v="142106"/>
          <ac:graphicFrameMkLst>
            <pc:docMk/>
            <pc:sldMk cId="2948950000" sldId="354"/>
            <ac:graphicFrameMk id="253" creationId="{45E1BE02-5FEE-99CF-7652-10FC9A56065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15.052" v="142223"/>
          <ac:graphicFrameMkLst>
            <pc:docMk/>
            <pc:sldMk cId="2948950000" sldId="354"/>
            <ac:graphicFrameMk id="266" creationId="{B46DD447-DE91-98DF-488F-A4E406E0CC0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19.704" v="142321"/>
          <ac:graphicFrameMkLst>
            <pc:docMk/>
            <pc:sldMk cId="2948950000" sldId="354"/>
            <ac:graphicFrameMk id="268" creationId="{198C3B24-D305-E153-3F5B-B31566FC573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34.602" v="142482"/>
          <ac:graphicFrameMkLst>
            <pc:docMk/>
            <pc:sldMk cId="2948950000" sldId="354"/>
            <ac:graphicFrameMk id="270" creationId="{A47A2FCE-6C22-AC07-684E-D3C84121B58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38.920" v="142583"/>
          <ac:graphicFrameMkLst>
            <pc:docMk/>
            <pc:sldMk cId="2948950000" sldId="354"/>
            <ac:graphicFrameMk id="273" creationId="{5CB0944F-344A-69AE-3043-F117CB5E290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41.989" v="142744"/>
          <ac:graphicFrameMkLst>
            <pc:docMk/>
            <pc:sldMk cId="2948950000" sldId="354"/>
            <ac:graphicFrameMk id="275" creationId="{0FB5642E-53A5-4E1D-5231-5F671E5DA21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0.613" v="142866"/>
          <ac:graphicFrameMkLst>
            <pc:docMk/>
            <pc:sldMk cId="2948950000" sldId="354"/>
            <ac:graphicFrameMk id="278" creationId="{C4CD842D-B36C-301C-89D5-972028E959B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2.066" v="142966"/>
          <ac:graphicFrameMkLst>
            <pc:docMk/>
            <pc:sldMk cId="2948950000" sldId="354"/>
            <ac:graphicFrameMk id="280" creationId="{B767A723-0D20-5B58-A0E7-7FF96565DE0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2.951" v="143129"/>
          <ac:graphicFrameMkLst>
            <pc:docMk/>
            <pc:sldMk cId="2948950000" sldId="354"/>
            <ac:graphicFrameMk id="282" creationId="{01EBF73A-1127-F817-1934-D54B29BA214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6.626" v="143253"/>
          <ac:graphicFrameMkLst>
            <pc:docMk/>
            <pc:sldMk cId="2948950000" sldId="354"/>
            <ac:graphicFrameMk id="285" creationId="{4C4ED235-64F6-9396-0E17-E4B191A315F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7.380" v="143355"/>
          <ac:graphicFrameMkLst>
            <pc:docMk/>
            <pc:sldMk cId="2948950000" sldId="354"/>
            <ac:graphicFrameMk id="287" creationId="{700B987B-08DD-592C-94A1-BBD835BF4EC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8:58.189" v="143520"/>
          <ac:graphicFrameMkLst>
            <pc:docMk/>
            <pc:sldMk cId="2948950000" sldId="354"/>
            <ac:graphicFrameMk id="289" creationId="{F5F2E684-05C6-B04A-2CC6-B86EB864CDB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9:02.491" v="143646"/>
          <ac:graphicFrameMkLst>
            <pc:docMk/>
            <pc:sldMk cId="2948950000" sldId="354"/>
            <ac:graphicFrameMk id="292" creationId="{B5CC0E37-C218-2A41-F93F-91390C80E29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9:03.296" v="143750"/>
          <ac:graphicFrameMkLst>
            <pc:docMk/>
            <pc:sldMk cId="2948950000" sldId="354"/>
            <ac:graphicFrameMk id="294" creationId="{619D583D-5F4C-C2F7-B38A-04CCB6DFFAA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39:12.142" v="143906"/>
          <ac:graphicFrameMkLst>
            <pc:docMk/>
            <pc:sldMk cId="2948950000" sldId="354"/>
            <ac:graphicFrameMk id="296" creationId="{22B510E9-B41B-6D0A-AD91-6CBFC5727E2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0:38.399" v="144010"/>
          <ac:graphicFrameMkLst>
            <pc:docMk/>
            <pc:sldMk cId="2948950000" sldId="354"/>
            <ac:graphicFrameMk id="298" creationId="{11E956C8-770B-8EF9-609A-45A8E035C29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05.425" v="144114"/>
          <ac:graphicFrameMkLst>
            <pc:docMk/>
            <pc:sldMk cId="2948950000" sldId="354"/>
            <ac:graphicFrameMk id="300" creationId="{B3AE7B00-FD8B-056C-B9EF-A8356408798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09.233" v="144225"/>
          <ac:graphicFrameMkLst>
            <pc:docMk/>
            <pc:sldMk cId="2948950000" sldId="354"/>
            <ac:graphicFrameMk id="302" creationId="{BDD50EC1-DFB0-8657-F904-6E6BBB2E345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11.780" v="144320"/>
          <ac:graphicFrameMkLst>
            <pc:docMk/>
            <pc:sldMk cId="2948950000" sldId="354"/>
            <ac:graphicFrameMk id="304" creationId="{0F11E1F0-0971-7413-D138-088B8FE89DC9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15.642" v="144536"/>
          <ac:graphicFrameMkLst>
            <pc:docMk/>
            <pc:sldMk cId="2948950000" sldId="354"/>
            <ac:graphicFrameMk id="306" creationId="{948AC920-6AB6-B9BF-DA85-DCB662B1944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34.935" v="144673"/>
          <ac:graphicFrameMkLst>
            <pc:docMk/>
            <pc:sldMk cId="2948950000" sldId="354"/>
            <ac:graphicFrameMk id="312" creationId="{633AAB0D-9C66-0B30-7912-644162B413D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38.218" v="144889"/>
          <ac:graphicFrameMkLst>
            <pc:docMk/>
            <pc:sldMk cId="2948950000" sldId="354"/>
            <ac:graphicFrameMk id="314" creationId="{7D41EE71-888B-F6EC-BB2F-D516FAEF719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5T03:41:42.123" v="145044"/>
          <ac:graphicFrameMkLst>
            <pc:docMk/>
            <pc:sldMk cId="2948950000" sldId="354"/>
            <ac:graphicFrameMk id="320" creationId="{34CD7803-96D9-8127-BEBE-BA54EF1A7265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5T03:41:42.161" v="145054"/>
          <ac:graphicFrameMkLst>
            <pc:docMk/>
            <pc:sldMk cId="2948950000" sldId="354"/>
            <ac:graphicFrameMk id="322" creationId="{DF2C5195-7F7D-15F3-7EA7-FE74DD502DD7}"/>
          </ac:graphicFrameMkLst>
        </pc:graphicFrameChg>
        <pc:cxnChg chg="del mod ord">
          <ac:chgData name="Muchahary, Frankle" userId="0f2bf491-0617-4378-90b8-89af8fa381b9" providerId="ADAL" clId="{90877F19-00D2-4A00-8128-E78E36266C9A}" dt="2023-11-05T03:26:19.914" v="131447" actId="478"/>
          <ac:cxnSpMkLst>
            <pc:docMk/>
            <pc:sldMk cId="2948950000" sldId="354"/>
            <ac:cxnSpMk id="16" creationId="{45F62A0D-CECE-F0A6-5C22-537E0A331C2D}"/>
          </ac:cxnSpMkLst>
        </pc:cxnChg>
        <pc:cxnChg chg="del">
          <ac:chgData name="Muchahary, Frankle" userId="0f2bf491-0617-4378-90b8-89af8fa381b9" providerId="ADAL" clId="{90877F19-00D2-4A00-8128-E78E36266C9A}" dt="2023-11-05T03:23:44.040" v="129756" actId="478"/>
          <ac:cxnSpMkLst>
            <pc:docMk/>
            <pc:sldMk cId="2948950000" sldId="354"/>
            <ac:cxnSpMk id="24" creationId="{0A1AAE7D-E594-9A0D-E299-3249B7E7C926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09.103" v="144167"/>
          <ac:cxnSpMkLst>
            <pc:docMk/>
            <pc:sldMk cId="2948950000" sldId="354"/>
            <ac:cxnSpMk id="88" creationId="{1EC4E080-9314-8E3E-5A9B-96DA7A7F8663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09.102" v="144165"/>
          <ac:cxnSpMkLst>
            <pc:docMk/>
            <pc:sldMk cId="2948950000" sldId="354"/>
            <ac:cxnSpMk id="89" creationId="{B7AFAEAA-B939-9E95-44CC-633B280B778D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09.101" v="144163"/>
          <ac:cxnSpMkLst>
            <pc:docMk/>
            <pc:sldMk cId="2948950000" sldId="354"/>
            <ac:cxnSpMk id="90" creationId="{CB5ECF80-8A29-36DD-4058-3A0B8EB7C462}"/>
          </ac:cxnSpMkLst>
        </pc:cxnChg>
        <pc:cxnChg chg="del">
          <ac:chgData name="Muchahary, Frankle" userId="0f2bf491-0617-4378-90b8-89af8fa381b9" providerId="ADAL" clId="{90877F19-00D2-4A00-8128-E78E36266C9A}" dt="2023-11-05T03:23:44.807" v="129757" actId="478"/>
          <ac:cxnSpMkLst>
            <pc:docMk/>
            <pc:sldMk cId="2948950000" sldId="354"/>
            <ac:cxnSpMk id="129" creationId="{4C684A90-A1E8-D5EF-1001-F0D6C7AFB3AB}"/>
          </ac:cxnSpMkLst>
        </pc:cxnChg>
        <pc:cxnChg chg="del">
          <ac:chgData name="Muchahary, Frankle" userId="0f2bf491-0617-4378-90b8-89af8fa381b9" providerId="ADAL" clId="{90877F19-00D2-4A00-8128-E78E36266C9A}" dt="2023-11-05T03:23:50.642" v="129764"/>
          <ac:cxnSpMkLst>
            <pc:docMk/>
            <pc:sldMk cId="2948950000" sldId="354"/>
            <ac:cxnSpMk id="133" creationId="{8226742B-C3A5-86A3-D506-D4B6A0A8D532}"/>
          </ac:cxnSpMkLst>
        </pc:cxnChg>
        <pc:cxnChg chg="del">
          <ac:chgData name="Muchahary, Frankle" userId="0f2bf491-0617-4378-90b8-89af8fa381b9" providerId="ADAL" clId="{90877F19-00D2-4A00-8128-E78E36266C9A}" dt="2023-11-05T03:23:50.640" v="129762"/>
          <ac:cxnSpMkLst>
            <pc:docMk/>
            <pc:sldMk cId="2948950000" sldId="354"/>
            <ac:cxnSpMk id="134" creationId="{E5EDAD51-0D82-C22C-D439-93A23ABED200}"/>
          </ac:cxnSpMkLst>
        </pc:cxnChg>
        <pc:cxnChg chg="del">
          <ac:chgData name="Muchahary, Frankle" userId="0f2bf491-0617-4378-90b8-89af8fa381b9" providerId="ADAL" clId="{90877F19-00D2-4A00-8128-E78E36266C9A}" dt="2023-11-05T03:23:50.639" v="129760"/>
          <ac:cxnSpMkLst>
            <pc:docMk/>
            <pc:sldMk cId="2948950000" sldId="354"/>
            <ac:cxnSpMk id="135" creationId="{C10A9ED0-DD2B-171F-FBAC-5A82D3DC6077}"/>
          </ac:cxnSpMkLst>
        </pc:cxnChg>
        <pc:cxnChg chg="del mod ord">
          <ac:chgData name="Muchahary, Frankle" userId="0f2bf491-0617-4378-90b8-89af8fa381b9" providerId="ADAL" clId="{90877F19-00D2-4A00-8128-E78E36266C9A}" dt="2023-11-05T03:24:47.771" v="130826"/>
          <ac:cxnSpMkLst>
            <pc:docMk/>
            <pc:sldMk cId="2948950000" sldId="354"/>
            <ac:cxnSpMk id="152" creationId="{0AE32392-9557-343F-6114-E5FE846AFF1C}"/>
          </ac:cxnSpMkLst>
        </pc:cxnChg>
        <pc:cxnChg chg="del mod ord">
          <ac:chgData name="Muchahary, Frankle" userId="0f2bf491-0617-4378-90b8-89af8fa381b9" providerId="ADAL" clId="{90877F19-00D2-4A00-8128-E78E36266C9A}" dt="2023-11-05T03:24:47.770" v="130824"/>
          <ac:cxnSpMkLst>
            <pc:docMk/>
            <pc:sldMk cId="2948950000" sldId="354"/>
            <ac:cxnSpMk id="153" creationId="{4F9DDF49-8C6A-BBEC-7E56-DF5C1D085364}"/>
          </ac:cxnSpMkLst>
        </pc:cxnChg>
        <pc:cxnChg chg="del mod ord">
          <ac:chgData name="Muchahary, Frankle" userId="0f2bf491-0617-4378-90b8-89af8fa381b9" providerId="ADAL" clId="{90877F19-00D2-4A00-8128-E78E36266C9A}" dt="2023-11-05T03:24:47.769" v="130822"/>
          <ac:cxnSpMkLst>
            <pc:docMk/>
            <pc:sldMk cId="2948950000" sldId="354"/>
            <ac:cxnSpMk id="154" creationId="{17D7B860-9CB3-8CDE-B0C4-EA5F0D10D961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79" v="140087"/>
          <ac:cxnSpMkLst>
            <pc:docMk/>
            <pc:sldMk cId="2948950000" sldId="354"/>
            <ac:cxnSpMk id="156" creationId="{9647D073-6370-B98F-5028-E0BD1DA66EC4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8" v="140054"/>
          <ac:cxnSpMkLst>
            <pc:docMk/>
            <pc:sldMk cId="2948950000" sldId="354"/>
            <ac:cxnSpMk id="157" creationId="{68B22EA6-C63C-9759-838F-64F88DF6833D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6" v="140052"/>
          <ac:cxnSpMkLst>
            <pc:docMk/>
            <pc:sldMk cId="2948950000" sldId="354"/>
            <ac:cxnSpMk id="158" creationId="{E1E5C9C9-0580-BED7-8CA4-04F3C87A01CD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6" v="140050"/>
          <ac:cxnSpMkLst>
            <pc:docMk/>
            <pc:sldMk cId="2948950000" sldId="354"/>
            <ac:cxnSpMk id="159" creationId="{E82977D9-9FD5-4ED6-78CF-A479B1CE9FB2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5" v="140048"/>
          <ac:cxnSpMkLst>
            <pc:docMk/>
            <pc:sldMk cId="2948950000" sldId="354"/>
            <ac:cxnSpMk id="160" creationId="{14C762B4-94A1-0EBA-8B13-B8CF20215DE1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4" v="140046"/>
          <ac:cxnSpMkLst>
            <pc:docMk/>
            <pc:sldMk cId="2948950000" sldId="354"/>
            <ac:cxnSpMk id="161" creationId="{441CCFDB-BB28-58CC-AC05-5426D3E000B8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4" v="140044"/>
          <ac:cxnSpMkLst>
            <pc:docMk/>
            <pc:sldMk cId="2948950000" sldId="354"/>
            <ac:cxnSpMk id="162" creationId="{8094DBFB-81E5-1881-2B04-6930168A1FE3}"/>
          </ac:cxnSpMkLst>
        </pc:cxnChg>
        <pc:cxnChg chg="del">
          <ac:chgData name="Muchahary, Frankle" userId="0f2bf491-0617-4378-90b8-89af8fa381b9" providerId="ADAL" clId="{90877F19-00D2-4A00-8128-E78E36266C9A}" dt="2023-11-05T03:23:40.616" v="129724" actId="478"/>
          <ac:cxnSpMkLst>
            <pc:docMk/>
            <pc:sldMk cId="2948950000" sldId="354"/>
            <ac:cxnSpMk id="164" creationId="{C5064760-9F70-E536-0BD1-75CC7AE3DA1A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3" v="140042"/>
          <ac:cxnSpMkLst>
            <pc:docMk/>
            <pc:sldMk cId="2948950000" sldId="354"/>
            <ac:cxnSpMk id="165" creationId="{919840C3-01DA-B370-63CA-DBF7A3FB8979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2" v="140040"/>
          <ac:cxnSpMkLst>
            <pc:docMk/>
            <pc:sldMk cId="2948950000" sldId="354"/>
            <ac:cxnSpMk id="166" creationId="{0E39F8E1-954F-0B12-E3B4-D9100B6941F9}"/>
          </ac:cxnSpMkLst>
        </pc:cxnChg>
        <pc:cxnChg chg="add del mod ord replST">
          <ac:chgData name="Muchahary, Frankle" userId="0f2bf491-0617-4378-90b8-89af8fa381b9" providerId="ADAL" clId="{90877F19-00D2-4A00-8128-E78E36266C9A}" dt="2023-11-05T03:37:17.521" v="140038"/>
          <ac:cxnSpMkLst>
            <pc:docMk/>
            <pc:sldMk cId="2948950000" sldId="354"/>
            <ac:cxnSpMk id="167" creationId="{18CE4CB2-D6F2-0B56-8D76-D3589900BD34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34.852" v="144615"/>
          <ac:cxnSpMkLst>
            <pc:docMk/>
            <pc:sldMk cId="2948950000" sldId="354"/>
            <ac:cxnSpMk id="309" creationId="{2AA44487-99E8-0BEC-CF67-0E0573723139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34.851" v="144613"/>
          <ac:cxnSpMkLst>
            <pc:docMk/>
            <pc:sldMk cId="2948950000" sldId="354"/>
            <ac:cxnSpMk id="310" creationId="{8AAEE68A-F5A5-8057-6398-CF3EFD1569C0}"/>
          </ac:cxnSpMkLst>
        </pc:cxnChg>
        <pc:cxnChg chg="add del mod ord replST">
          <ac:chgData name="Muchahary, Frankle" userId="0f2bf491-0617-4378-90b8-89af8fa381b9" providerId="ADAL" clId="{90877F19-00D2-4A00-8128-E78E36266C9A}" dt="2023-11-05T03:41:34.841" v="144611"/>
          <ac:cxnSpMkLst>
            <pc:docMk/>
            <pc:sldMk cId="2948950000" sldId="354"/>
            <ac:cxnSpMk id="311" creationId="{3D238626-D8FF-B5BB-6BCB-3570AABB195D}"/>
          </ac:cxnSpMkLst>
        </pc:cxnChg>
        <pc:cxnChg chg="add mod ord replST">
          <ac:chgData name="Muchahary, Frankle" userId="0f2bf491-0617-4378-90b8-89af8fa381b9" providerId="ADAL" clId="{90877F19-00D2-4A00-8128-E78E36266C9A}" dt="2023-11-05T03:41:42.168" v="145067"/>
          <ac:cxnSpMkLst>
            <pc:docMk/>
            <pc:sldMk cId="2948950000" sldId="354"/>
            <ac:cxnSpMk id="317" creationId="{DCB1B3C4-CC64-2162-F944-5A76AB63A3A7}"/>
          </ac:cxnSpMkLst>
        </pc:cxnChg>
        <pc:cxnChg chg="add mod ord replST">
          <ac:chgData name="Muchahary, Frankle" userId="0f2bf491-0617-4378-90b8-89af8fa381b9" providerId="ADAL" clId="{90877F19-00D2-4A00-8128-E78E36266C9A}" dt="2023-11-05T03:41:42.169" v="145069"/>
          <ac:cxnSpMkLst>
            <pc:docMk/>
            <pc:sldMk cId="2948950000" sldId="354"/>
            <ac:cxnSpMk id="318" creationId="{A5E84D42-72C2-7043-938A-84A3D663BFC2}"/>
          </ac:cxnSpMkLst>
        </pc:cxnChg>
        <pc:cxnChg chg="add mod ord replST">
          <ac:chgData name="Muchahary, Frankle" userId="0f2bf491-0617-4378-90b8-89af8fa381b9" providerId="ADAL" clId="{90877F19-00D2-4A00-8128-E78E36266C9A}" dt="2023-11-05T03:41:42.169" v="145071"/>
          <ac:cxnSpMkLst>
            <pc:docMk/>
            <pc:sldMk cId="2948950000" sldId="354"/>
            <ac:cxnSpMk id="319" creationId="{D70F67A2-F7DD-DA98-FD5F-D9BD5B016A4D}"/>
          </ac:cxnSpMkLst>
        </pc:cxnChg>
      </pc:sldChg>
      <pc:sldChg chg="delSp modSp mod">
        <pc:chgData name="Muchahary, Frankle" userId="0f2bf491-0617-4378-90b8-89af8fa381b9" providerId="ADAL" clId="{90877F19-00D2-4A00-8128-E78E36266C9A}" dt="2023-11-08T06:21:37.275" v="165176" actId="478"/>
        <pc:sldMkLst>
          <pc:docMk/>
          <pc:sldMk cId="13900367" sldId="356"/>
        </pc:sldMkLst>
        <pc:spChg chg="del mod">
          <ac:chgData name="Muchahary, Frankle" userId="0f2bf491-0617-4378-90b8-89af8fa381b9" providerId="ADAL" clId="{90877F19-00D2-4A00-8128-E78E36266C9A}" dt="2023-11-08T06:21:37.275" v="165176" actId="478"/>
          <ac:spMkLst>
            <pc:docMk/>
            <pc:sldMk cId="13900367" sldId="356"/>
            <ac:spMk id="2" creationId="{D38E5C8C-3841-BCDE-2788-4F1BD656772E}"/>
          </ac:spMkLst>
        </pc:spChg>
      </pc:sldChg>
      <pc:sldChg chg="add del">
        <pc:chgData name="Muchahary, Frankle" userId="0f2bf491-0617-4378-90b8-89af8fa381b9" providerId="ADAL" clId="{90877F19-00D2-4A00-8128-E78E36266C9A}" dt="2023-11-05T03:42:18.530" v="145093" actId="47"/>
        <pc:sldMkLst>
          <pc:docMk/>
          <pc:sldMk cId="789631475" sldId="356"/>
        </pc:sldMkLst>
      </pc:sldChg>
      <pc:sldChg chg="del">
        <pc:chgData name="Muchahary, Frankle" userId="0f2bf491-0617-4378-90b8-89af8fa381b9" providerId="ADAL" clId="{90877F19-00D2-4A00-8128-E78E36266C9A}" dt="2023-11-08T05:52:00.735" v="163148" actId="47"/>
        <pc:sldMkLst>
          <pc:docMk/>
          <pc:sldMk cId="1297801775" sldId="359"/>
        </pc:sldMkLst>
      </pc:sldChg>
      <pc:sldChg chg="modSp mod">
        <pc:chgData name="Muchahary, Frankle" userId="0f2bf491-0617-4378-90b8-89af8fa381b9" providerId="ADAL" clId="{90877F19-00D2-4A00-8128-E78E36266C9A}" dt="2023-11-08T08:15:11.206" v="171332"/>
        <pc:sldMkLst>
          <pc:docMk/>
          <pc:sldMk cId="196079218" sldId="360"/>
        </pc:sldMkLst>
        <pc:spChg chg="mod">
          <ac:chgData name="Muchahary, Frankle" userId="0f2bf491-0617-4378-90b8-89af8fa381b9" providerId="ADAL" clId="{90877F19-00D2-4A00-8128-E78E36266C9A}" dt="2023-11-05T04:42:14.950" v="145524" actId="14861"/>
          <ac:spMkLst>
            <pc:docMk/>
            <pc:sldMk cId="196079218" sldId="360"/>
            <ac:spMk id="10" creationId="{D9DDD1C0-BE56-471A-224F-6D1314752B7E}"/>
          </ac:spMkLst>
        </pc:spChg>
        <pc:spChg chg="mod">
          <ac:chgData name="Muchahary, Frankle" userId="0f2bf491-0617-4378-90b8-89af8fa381b9" providerId="ADAL" clId="{90877F19-00D2-4A00-8128-E78E36266C9A}" dt="2023-11-05T04:42:21.068" v="145527" actId="14861"/>
          <ac:spMkLst>
            <pc:docMk/>
            <pc:sldMk cId="196079218" sldId="360"/>
            <ac:spMk id="27" creationId="{02D62AF9-F02F-1649-298A-37C592AFA5A1}"/>
          </ac:spMkLst>
        </pc:spChg>
        <pc:spChg chg="mod">
          <ac:chgData name="Muchahary, Frankle" userId="0f2bf491-0617-4378-90b8-89af8fa381b9" providerId="ADAL" clId="{90877F19-00D2-4A00-8128-E78E36266C9A}" dt="2023-11-05T04:42:01.395" v="145521" actId="14861"/>
          <ac:spMkLst>
            <pc:docMk/>
            <pc:sldMk cId="196079218" sldId="360"/>
            <ac:spMk id="34" creationId="{8414AB94-4614-CF24-9993-74BA355FCD32}"/>
          </ac:spMkLst>
        </pc:spChg>
        <pc:graphicFrameChg chg="mod">
          <ac:chgData name="Muchahary, Frankle" userId="0f2bf491-0617-4378-90b8-89af8fa381b9" providerId="ADAL" clId="{90877F19-00D2-4A00-8128-E78E36266C9A}" dt="2023-11-08T08:15:11.206" v="171332"/>
          <ac:graphicFrameMkLst>
            <pc:docMk/>
            <pc:sldMk cId="196079218" sldId="360"/>
            <ac:graphicFrameMk id="26" creationId="{0901792F-EE81-E31F-BB45-EF6B90CAE586}"/>
          </ac:graphicFrameMkLst>
        </pc:graphicFrameChg>
      </pc:sldChg>
      <pc:sldChg chg="addSp modSp mod">
        <pc:chgData name="Muchahary, Frankle" userId="0f2bf491-0617-4378-90b8-89af8fa381b9" providerId="ADAL" clId="{90877F19-00D2-4A00-8128-E78E36266C9A}" dt="2023-11-05T04:35:10.885" v="145449"/>
        <pc:sldMkLst>
          <pc:docMk/>
          <pc:sldMk cId="3523412908" sldId="361"/>
        </pc:sldMkLst>
        <pc:graphicFrameChg chg="add mod ord modVis replST">
          <ac:chgData name="Muchahary, Frankle" userId="0f2bf491-0617-4378-90b8-89af8fa381b9" providerId="ADAL" clId="{90877F19-00D2-4A00-8128-E78E36266C9A}" dt="2023-11-05T04:35:10.885" v="145449"/>
          <ac:graphicFrameMkLst>
            <pc:docMk/>
            <pc:sldMk cId="3523412908" sldId="361"/>
            <ac:graphicFrameMk id="29" creationId="{D29612D7-1643-FC7B-C62A-0F4BD401B2BC}"/>
          </ac:graphicFrameMkLst>
        </pc:graphicFrameChg>
      </pc:sldChg>
      <pc:sldChg chg="addSp delSp modSp add del mod">
        <pc:chgData name="Muchahary, Frankle" userId="0f2bf491-0617-4378-90b8-89af8fa381b9" providerId="ADAL" clId="{90877F19-00D2-4A00-8128-E78E36266C9A}" dt="2023-11-08T05:48:28.543" v="163047" actId="47"/>
        <pc:sldMkLst>
          <pc:docMk/>
          <pc:sldMk cId="2839849100" sldId="362"/>
        </pc:sldMkLst>
        <pc:spChg chg="add del mod">
          <ac:chgData name="Muchahary, Frankle" userId="0f2bf491-0617-4378-90b8-89af8fa381b9" providerId="ADAL" clId="{90877F19-00D2-4A00-8128-E78E36266C9A}" dt="2023-11-05T04:16:00.856" v="145347"/>
          <ac:spMkLst>
            <pc:docMk/>
            <pc:sldMk cId="2839849100" sldId="362"/>
            <ac:spMk id="4" creationId="{B78143B3-1524-C9EA-D7D2-010E951C44EE}"/>
          </ac:spMkLst>
        </pc:spChg>
        <pc:spChg chg="del mod">
          <ac:chgData name="Muchahary, Frankle" userId="0f2bf491-0617-4378-90b8-89af8fa381b9" providerId="ADAL" clId="{90877F19-00D2-4A00-8128-E78E36266C9A}" dt="2023-11-05T04:16:06.950" v="145350" actId="478"/>
          <ac:spMkLst>
            <pc:docMk/>
            <pc:sldMk cId="2839849100" sldId="362"/>
            <ac:spMk id="323" creationId="{C7C2516B-2BED-C330-BCB1-07F861875719}"/>
          </ac:spMkLst>
        </pc:spChg>
        <pc:spChg chg="del mod">
          <ac:chgData name="Muchahary, Frankle" userId="0f2bf491-0617-4378-90b8-89af8fa381b9" providerId="ADAL" clId="{90877F19-00D2-4A00-8128-E78E36266C9A}" dt="2023-11-05T04:18:15.495" v="145361" actId="478"/>
          <ac:spMkLst>
            <pc:docMk/>
            <pc:sldMk cId="2839849100" sldId="362"/>
            <ac:spMk id="324" creationId="{27477198-8076-F2A5-0DB4-D2B7D384DD03}"/>
          </ac:spMkLst>
        </pc:spChg>
        <pc:picChg chg="add mod">
          <ac:chgData name="Muchahary, Frankle" userId="0f2bf491-0617-4378-90b8-89af8fa381b9" providerId="ADAL" clId="{90877F19-00D2-4A00-8128-E78E36266C9A}" dt="2023-11-05T04:16:56.214" v="145352"/>
          <ac:picMkLst>
            <pc:docMk/>
            <pc:sldMk cId="2839849100" sldId="362"/>
            <ac:picMk id="7" creationId="{C7F3ED88-8671-0D27-9826-F64691A03C4B}"/>
          </ac:picMkLst>
        </pc:picChg>
        <pc:picChg chg="add mod">
          <ac:chgData name="Muchahary, Frankle" userId="0f2bf491-0617-4378-90b8-89af8fa381b9" providerId="ADAL" clId="{90877F19-00D2-4A00-8128-E78E36266C9A}" dt="2023-11-05T04:18:45.733" v="145366" actId="1076"/>
          <ac:picMkLst>
            <pc:docMk/>
            <pc:sldMk cId="2839849100" sldId="362"/>
            <ac:picMk id="8" creationId="{00E9C92C-1BDA-7D71-1CF7-CCE4A26BD6FB}"/>
          </ac:picMkLst>
        </pc:picChg>
      </pc:sldChg>
      <pc:sldChg chg="addSp modSp add del mod modAnim">
        <pc:chgData name="Muchahary, Frankle" userId="0f2bf491-0617-4378-90b8-89af8fa381b9" providerId="ADAL" clId="{90877F19-00D2-4A00-8128-E78E36266C9A}" dt="2023-11-08T22:31:12.651" v="181873"/>
        <pc:sldMkLst>
          <pc:docMk/>
          <pc:sldMk cId="3808151349" sldId="365"/>
        </pc:sldMkLst>
        <pc:spChg chg="mod">
          <ac:chgData name="Muchahary, Frankle" userId="0f2bf491-0617-4378-90b8-89af8fa381b9" providerId="ADAL" clId="{90877F19-00D2-4A00-8128-E78E36266C9A}" dt="2023-11-05T04:39:13.331" v="145455" actId="164"/>
          <ac:spMkLst>
            <pc:docMk/>
            <pc:sldMk cId="3808151349" sldId="365"/>
            <ac:spMk id="6" creationId="{4DE6C70E-1A69-AE49-E029-545C249F93FC}"/>
          </ac:spMkLst>
        </pc:spChg>
        <pc:spChg chg="mod">
          <ac:chgData name="Muchahary, Frankle" userId="0f2bf491-0617-4378-90b8-89af8fa381b9" providerId="ADAL" clId="{90877F19-00D2-4A00-8128-E78E36266C9A}" dt="2023-11-08T06:49:33.128" v="167488" actId="20577"/>
          <ac:spMkLst>
            <pc:docMk/>
            <pc:sldMk cId="3808151349" sldId="365"/>
            <ac:spMk id="23" creationId="{085062C9-E1EF-8DA2-9825-7C696F0759C6}"/>
          </ac:spMkLst>
        </pc:spChg>
        <pc:spChg chg="mod">
          <ac:chgData name="Muchahary, Frankle" userId="0f2bf491-0617-4378-90b8-89af8fa381b9" providerId="ADAL" clId="{90877F19-00D2-4A00-8128-E78E36266C9A}" dt="2023-11-05T04:38:32.243" v="145450" actId="164"/>
          <ac:spMkLst>
            <pc:docMk/>
            <pc:sldMk cId="3808151349" sldId="365"/>
            <ac:spMk id="34" creationId="{8414AB94-4614-CF24-9993-74BA355FCD32}"/>
          </ac:spMkLst>
        </pc:spChg>
        <pc:spChg chg="mod">
          <ac:chgData name="Muchahary, Frankle" userId="0f2bf491-0617-4378-90b8-89af8fa381b9" providerId="ADAL" clId="{90877F19-00D2-4A00-8128-E78E36266C9A}" dt="2023-11-05T04:38:51.178" v="145453" actId="164"/>
          <ac:spMkLst>
            <pc:docMk/>
            <pc:sldMk cId="3808151349" sldId="365"/>
            <ac:spMk id="35" creationId="{8A55C520-62CF-91A4-2A3D-03A0868A7316}"/>
          </ac:spMkLst>
        </pc:spChg>
        <pc:spChg chg="mod">
          <ac:chgData name="Muchahary, Frankle" userId="0f2bf491-0617-4378-90b8-89af8fa381b9" providerId="ADAL" clId="{90877F19-00D2-4A00-8128-E78E36266C9A}" dt="2023-11-05T04:38:55.849" v="145454" actId="164"/>
          <ac:spMkLst>
            <pc:docMk/>
            <pc:sldMk cId="3808151349" sldId="365"/>
            <ac:spMk id="36" creationId="{E64AE679-D3A9-651D-26EA-303D76F0AED9}"/>
          </ac:spMkLst>
        </pc:spChg>
        <pc:grpChg chg="add mod">
          <ac:chgData name="Muchahary, Frankle" userId="0f2bf491-0617-4378-90b8-89af8fa381b9" providerId="ADAL" clId="{90877F19-00D2-4A00-8128-E78E36266C9A}" dt="2023-11-05T04:39:13.331" v="145455" actId="164"/>
          <ac:grpSpMkLst>
            <pc:docMk/>
            <pc:sldMk cId="3808151349" sldId="365"/>
            <ac:grpSpMk id="7" creationId="{95797A9C-6F66-9D18-D587-612C15A0160B}"/>
          </ac:grpSpMkLst>
        </pc:grpChg>
        <pc:grpChg chg="add mod">
          <ac:chgData name="Muchahary, Frankle" userId="0f2bf491-0617-4378-90b8-89af8fa381b9" providerId="ADAL" clId="{90877F19-00D2-4A00-8128-E78E36266C9A}" dt="2023-11-05T04:38:51.178" v="145453" actId="164"/>
          <ac:grpSpMkLst>
            <pc:docMk/>
            <pc:sldMk cId="3808151349" sldId="365"/>
            <ac:grpSpMk id="8" creationId="{672CFA6E-3997-ED38-EEB4-4A08E6FDBD85}"/>
          </ac:grpSpMkLst>
        </pc:grpChg>
        <pc:grpChg chg="add mod">
          <ac:chgData name="Muchahary, Frankle" userId="0f2bf491-0617-4378-90b8-89af8fa381b9" providerId="ADAL" clId="{90877F19-00D2-4A00-8128-E78E36266C9A}" dt="2023-11-05T04:38:55.849" v="145454" actId="164"/>
          <ac:grpSpMkLst>
            <pc:docMk/>
            <pc:sldMk cId="3808151349" sldId="365"/>
            <ac:grpSpMk id="9" creationId="{8D25CEAD-A338-70C6-87CD-0B6F4C9C1B4D}"/>
          </ac:grpSpMkLst>
        </pc:grpChg>
        <pc:grpChg chg="add mod">
          <ac:chgData name="Muchahary, Frankle" userId="0f2bf491-0617-4378-90b8-89af8fa381b9" providerId="ADAL" clId="{90877F19-00D2-4A00-8128-E78E36266C9A}" dt="2023-11-05T04:39:13.331" v="145455" actId="164"/>
          <ac:grpSpMkLst>
            <pc:docMk/>
            <pc:sldMk cId="3808151349" sldId="365"/>
            <ac:grpSpMk id="10" creationId="{A364A7C4-6C79-03C4-0A47-6CC880AA5BEE}"/>
          </ac:grpSpMkLst>
        </pc:grpChg>
        <pc:graphicFrameChg chg="mod">
          <ac:chgData name="Muchahary, Frankle" userId="0f2bf491-0617-4378-90b8-89af8fa381b9" providerId="ADAL" clId="{90877F19-00D2-4A00-8128-E78E36266C9A}" dt="2023-11-08T22:31:12.651" v="181873"/>
          <ac:graphicFrameMkLst>
            <pc:docMk/>
            <pc:sldMk cId="3808151349" sldId="365"/>
            <ac:graphicFrameMk id="26" creationId="{0901792F-EE81-E31F-BB45-EF6B90CAE586}"/>
          </ac:graphicFrameMkLst>
        </pc:graphicFrameChg>
        <pc:cxnChg chg="mod">
          <ac:chgData name="Muchahary, Frankle" userId="0f2bf491-0617-4378-90b8-89af8fa381b9" providerId="ADAL" clId="{90877F19-00D2-4A00-8128-E78E36266C9A}" dt="2023-11-05T04:38:32.243" v="145450" actId="164"/>
          <ac:cxnSpMkLst>
            <pc:docMk/>
            <pc:sldMk cId="3808151349" sldId="365"/>
            <ac:cxnSpMk id="38" creationId="{9C2B78A4-F9E6-CAF7-E817-336CB36B46D2}"/>
          </ac:cxnSpMkLst>
        </pc:cxnChg>
        <pc:cxnChg chg="mod">
          <ac:chgData name="Muchahary, Frankle" userId="0f2bf491-0617-4378-90b8-89af8fa381b9" providerId="ADAL" clId="{90877F19-00D2-4A00-8128-E78E36266C9A}" dt="2023-11-05T04:38:55.849" v="145454" actId="164"/>
          <ac:cxnSpMkLst>
            <pc:docMk/>
            <pc:sldMk cId="3808151349" sldId="365"/>
            <ac:cxnSpMk id="49" creationId="{1BB74369-D9A1-EDC8-B589-289B49F663B6}"/>
          </ac:cxnSpMkLst>
        </pc:cxnChg>
        <pc:cxnChg chg="mod">
          <ac:chgData name="Muchahary, Frankle" userId="0f2bf491-0617-4378-90b8-89af8fa381b9" providerId="ADAL" clId="{90877F19-00D2-4A00-8128-E78E36266C9A}" dt="2023-11-05T04:38:51.178" v="145453" actId="164"/>
          <ac:cxnSpMkLst>
            <pc:docMk/>
            <pc:sldMk cId="3808151349" sldId="365"/>
            <ac:cxnSpMk id="58" creationId="{0427EDFA-37BF-61A2-5365-4BC77788AA46}"/>
          </ac:cxnSpMkLst>
        </pc:cxnChg>
      </pc:sldChg>
      <pc:sldChg chg="addSp delSp modSp add del mod modClrScheme addAnim delAnim modAnim chgLayout modNotesTx">
        <pc:chgData name="Muchahary, Frankle" userId="0f2bf491-0617-4378-90b8-89af8fa381b9" providerId="ADAL" clId="{90877F19-00D2-4A00-8128-E78E36266C9A}" dt="2023-11-07T19:21:55.907" v="158771" actId="47"/>
        <pc:sldMkLst>
          <pc:docMk/>
          <pc:sldMk cId="717815741" sldId="366"/>
        </pc:sldMkLst>
        <pc:spChg chg="add del mod modVis">
          <ac:chgData name="Muchahary, Frankle" userId="0f2bf491-0617-4378-90b8-89af8fa381b9" providerId="ADAL" clId="{90877F19-00D2-4A00-8128-E78E36266C9A}" dt="2023-11-05T17:59:27.451" v="147083"/>
          <ac:spMkLst>
            <pc:docMk/>
            <pc:sldMk cId="717815741" sldId="366"/>
            <ac:spMk id="2" creationId="{CBE5E265-ED89-88A2-E28B-EC13A30DD967}"/>
          </ac:spMkLst>
        </pc:spChg>
        <pc:spChg chg="add del mod">
          <ac:chgData name="Muchahary, Frankle" userId="0f2bf491-0617-4378-90b8-89af8fa381b9" providerId="ADAL" clId="{90877F19-00D2-4A00-8128-E78E36266C9A}" dt="2023-11-06T05:35:55.756" v="153325" actId="478"/>
          <ac:spMkLst>
            <pc:docMk/>
            <pc:sldMk cId="717815741" sldId="366"/>
            <ac:spMk id="3" creationId="{4AF9A131-935C-7507-6DE5-230ED4AF09DA}"/>
          </ac:spMkLst>
        </pc:spChg>
        <pc:spChg chg="del mod ord">
          <ac:chgData name="Muchahary, Frankle" userId="0f2bf491-0617-4378-90b8-89af8fa381b9" providerId="ADAL" clId="{90877F19-00D2-4A00-8128-E78E36266C9A}" dt="2023-11-05T19:54:33.566" v="151627" actId="478"/>
          <ac:spMkLst>
            <pc:docMk/>
            <pc:sldMk cId="717815741" sldId="366"/>
            <ac:spMk id="3" creationId="{62A1BD13-29CB-D6ED-22CC-D90A70D0279D}"/>
          </ac:spMkLst>
        </pc:spChg>
        <pc:spChg chg="add del mod ord">
          <ac:chgData name="Muchahary, Frankle" userId="0f2bf491-0617-4378-90b8-89af8fa381b9" providerId="ADAL" clId="{90877F19-00D2-4A00-8128-E78E36266C9A}" dt="2023-11-06T18:23:30.207" v="157512" actId="478"/>
          <ac:spMkLst>
            <pc:docMk/>
            <pc:sldMk cId="717815741" sldId="366"/>
            <ac:spMk id="5" creationId="{97659746-04C0-2D53-CF85-C8850E94BD8C}"/>
          </ac:spMkLst>
        </pc:spChg>
        <pc:spChg chg="add del mod modVis">
          <ac:chgData name="Muchahary, Frankle" userId="0f2bf491-0617-4378-90b8-89af8fa381b9" providerId="ADAL" clId="{90877F19-00D2-4A00-8128-E78E36266C9A}" dt="2023-11-05T17:59:33.133" v="147118"/>
          <ac:spMkLst>
            <pc:docMk/>
            <pc:sldMk cId="717815741" sldId="366"/>
            <ac:spMk id="5" creationId="{CB074E15-80E6-17F3-C1CF-2C4745FF37E0}"/>
          </ac:spMkLst>
        </pc:spChg>
        <pc:spChg chg="add del mod">
          <ac:chgData name="Muchahary, Frankle" userId="0f2bf491-0617-4378-90b8-89af8fa381b9" providerId="ADAL" clId="{90877F19-00D2-4A00-8128-E78E36266C9A}" dt="2023-11-05T19:54:10.296" v="151624" actId="478"/>
          <ac:spMkLst>
            <pc:docMk/>
            <pc:sldMk cId="717815741" sldId="366"/>
            <ac:spMk id="6" creationId="{58B010F9-B387-6934-0558-DF8CD0853F4D}"/>
          </ac:spMkLst>
        </pc:spChg>
        <pc:spChg chg="add del mod">
          <ac:chgData name="Muchahary, Frankle" userId="0f2bf491-0617-4378-90b8-89af8fa381b9" providerId="ADAL" clId="{90877F19-00D2-4A00-8128-E78E36266C9A}" dt="2023-11-05T19:54:10.296" v="151624" actId="478"/>
          <ac:spMkLst>
            <pc:docMk/>
            <pc:sldMk cId="717815741" sldId="366"/>
            <ac:spMk id="7" creationId="{C19A8FBE-720F-74F0-B2C6-1ACA7416C394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9" creationId="{54F95D29-DCFB-6D28-4243-7AFC7C1AC92C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10" creationId="{5A4957B4-1CD7-159D-AABA-D2CF10952F3F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12" creationId="{27E1587B-3D1D-DCB2-5299-417846782AC4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13" creationId="{CA512EE5-904B-EF4F-3095-8C03CA34C769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15" creationId="{E4A1F608-E522-6AA2-941C-B39308645486}"/>
          </ac:spMkLst>
        </pc:spChg>
        <pc:spChg chg="mod">
          <ac:chgData name="Muchahary, Frankle" userId="0f2bf491-0617-4378-90b8-89af8fa381b9" providerId="ADAL" clId="{90877F19-00D2-4A00-8128-E78E36266C9A}" dt="2023-11-05T19:51:22.010" v="151613" actId="14100"/>
          <ac:spMkLst>
            <pc:docMk/>
            <pc:sldMk cId="717815741" sldId="366"/>
            <ac:spMk id="16" creationId="{AD0F5A7A-1232-1004-8271-A223E1C1F232}"/>
          </ac:spMkLst>
        </pc:spChg>
        <pc:spChg chg="add del mod">
          <ac:chgData name="Muchahary, Frankle" userId="0f2bf491-0617-4378-90b8-89af8fa381b9" providerId="ADAL" clId="{90877F19-00D2-4A00-8128-E78E36266C9A}" dt="2023-11-07T19:11:46.447" v="158553" actId="478"/>
          <ac:spMkLst>
            <pc:docMk/>
            <pc:sldMk cId="717815741" sldId="366"/>
            <ac:spMk id="20" creationId="{80211EE3-F3E2-E456-AEEC-30A0FE8B6221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0" creationId="{97D10FAE-8861-4419-9532-0E0628B44257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1" creationId="{2147F345-B976-F67C-28A5-8306BBFDDC1B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2" creationId="{39116391-0698-FB3E-D383-9A951507F374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3" creationId="{09658BDA-5A51-F0A9-D132-C08D68D4432F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4" creationId="{58F937C6-DD7E-C166-F93E-2D6235ECFD64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5" creationId="{809220A6-C9F4-1CF6-4C51-CDF6F254071A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6" creationId="{A1E80D27-F62A-8071-BCB5-0E27E95D496C}"/>
          </ac:spMkLst>
        </pc:spChg>
        <pc:spChg chg="add del mod">
          <ac:chgData name="Muchahary, Frankle" userId="0f2bf491-0617-4378-90b8-89af8fa381b9" providerId="ADAL" clId="{90877F19-00D2-4A00-8128-E78E36266C9A}" dt="2023-11-05T19:53:58.841" v="151621"/>
          <ac:spMkLst>
            <pc:docMk/>
            <pc:sldMk cId="717815741" sldId="366"/>
            <ac:spMk id="27" creationId="{5A697955-D189-4F56-C6CD-EC74C60C8812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29" creationId="{610C7717-66C6-C45E-E632-745A10840889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0" creationId="{467A7B7C-228C-B5C6-CB96-5194FCF6FC4B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2" creationId="{D134EBB0-7627-D7A1-A813-71521D031190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4" creationId="{2F101D2C-F34D-1A35-0FCD-9E393691988D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5" creationId="{732CDEAF-3222-4155-348E-CD6A598EFE20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6" creationId="{98F128E3-7E13-AC52-2ABF-B8B3A62F4B89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7" creationId="{DB9962EE-BA7A-91DB-FE0E-96FA0C3E282E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39" creationId="{A27EEFE5-2A56-363E-4C4B-5F5340CAF082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1" creationId="{52D76E59-F8D7-12DE-B2F8-E9ACBE0B8935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2" creationId="{BA0D8430-4B14-3739-83EF-5BFA5FF7740F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3" creationId="{94C4185A-D55F-292D-1F32-5213F1A44259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4" creationId="{4038FC5D-A17C-C3BC-782F-4F075746624D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5" creationId="{4290CE29-C90C-5923-F3E8-BA66E793C99B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6" creationId="{1954051E-67A2-3064-04CD-2F4E6550EF99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48" creationId="{0F39502A-05C4-3DCE-7C3A-5D8ECC172242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50" creationId="{E901D127-1A9D-D973-8374-5D6379CD29F8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51" creationId="{033A5F93-C92A-8359-BBD8-54B50194BE27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52" creationId="{5A5108F0-E086-CF9F-9A80-3C3CAEC8503A}"/>
          </ac:spMkLst>
        </pc:spChg>
        <pc:spChg chg="mod">
          <ac:chgData name="Muchahary, Frankle" userId="0f2bf491-0617-4378-90b8-89af8fa381b9" providerId="ADAL" clId="{90877F19-00D2-4A00-8128-E78E36266C9A}" dt="2023-11-05T19:53:52.582" v="151620"/>
          <ac:spMkLst>
            <pc:docMk/>
            <pc:sldMk cId="717815741" sldId="366"/>
            <ac:spMk id="53" creationId="{1260AAAF-3EDE-71BD-9398-731709FE0F24}"/>
          </ac:spMkLst>
        </pc:spChg>
        <pc:spChg chg="add del mod">
          <ac:chgData name="Muchahary, Frankle" userId="0f2bf491-0617-4378-90b8-89af8fa381b9" providerId="ADAL" clId="{90877F19-00D2-4A00-8128-E78E36266C9A}" dt="2023-11-05T19:55:53.128" v="151647" actId="478"/>
          <ac:spMkLst>
            <pc:docMk/>
            <pc:sldMk cId="717815741" sldId="366"/>
            <ac:spMk id="55" creationId="{66854F35-4E6A-F7FC-F0D3-CDC95AFBB9C9}"/>
          </ac:spMkLst>
        </pc:spChg>
        <pc:spChg chg="add del mod">
          <ac:chgData name="Muchahary, Frankle" userId="0f2bf491-0617-4378-90b8-89af8fa381b9" providerId="ADAL" clId="{90877F19-00D2-4A00-8128-E78E36266C9A}" dt="2023-11-05T19:55:54.827" v="151648" actId="478"/>
          <ac:spMkLst>
            <pc:docMk/>
            <pc:sldMk cId="717815741" sldId="366"/>
            <ac:spMk id="56" creationId="{831C5B1B-FD63-6711-D39F-0956EF949030}"/>
          </ac:spMkLst>
        </pc:spChg>
        <pc:spChg chg="add del mod">
          <ac:chgData name="Muchahary, Frankle" userId="0f2bf491-0617-4378-90b8-89af8fa381b9" providerId="ADAL" clId="{90877F19-00D2-4A00-8128-E78E36266C9A}" dt="2023-11-05T19:55:58.003" v="151650" actId="478"/>
          <ac:spMkLst>
            <pc:docMk/>
            <pc:sldMk cId="717815741" sldId="366"/>
            <ac:spMk id="57" creationId="{486137B5-7B12-792D-62D0-D0EFE9722725}"/>
          </ac:spMkLst>
        </pc:spChg>
        <pc:spChg chg="add del mod">
          <ac:chgData name="Muchahary, Frankle" userId="0f2bf491-0617-4378-90b8-89af8fa381b9" providerId="ADAL" clId="{90877F19-00D2-4A00-8128-E78E36266C9A}" dt="2023-11-05T19:55:56.677" v="151649" actId="478"/>
          <ac:spMkLst>
            <pc:docMk/>
            <pc:sldMk cId="717815741" sldId="366"/>
            <ac:spMk id="58" creationId="{284AA559-CCBD-CF4B-981C-FE64947918B2}"/>
          </ac:spMkLst>
        </pc:spChg>
        <pc:spChg chg="add del mod">
          <ac:chgData name="Muchahary, Frankle" userId="0f2bf491-0617-4378-90b8-89af8fa381b9" providerId="ADAL" clId="{90877F19-00D2-4A00-8128-E78E36266C9A}" dt="2023-11-05T19:55:49.173" v="151645" actId="478"/>
          <ac:spMkLst>
            <pc:docMk/>
            <pc:sldMk cId="717815741" sldId="366"/>
            <ac:spMk id="59" creationId="{D5B246B4-7989-C54F-4D54-1FBBCF8D22BE}"/>
          </ac:spMkLst>
        </pc:spChg>
        <pc:spChg chg="add del mod">
          <ac:chgData name="Muchahary, Frankle" userId="0f2bf491-0617-4378-90b8-89af8fa381b9" providerId="ADAL" clId="{90877F19-00D2-4A00-8128-E78E36266C9A}" dt="2023-11-05T19:55:50.993" v="151646" actId="478"/>
          <ac:spMkLst>
            <pc:docMk/>
            <pc:sldMk cId="717815741" sldId="366"/>
            <ac:spMk id="60" creationId="{8D6A603A-0FD2-30FA-E66D-D4BFDB2400DE}"/>
          </ac:spMkLst>
        </pc:spChg>
        <pc:spChg chg="add del mod">
          <ac:chgData name="Muchahary, Frankle" userId="0f2bf491-0617-4378-90b8-89af8fa381b9" providerId="ADAL" clId="{90877F19-00D2-4A00-8128-E78E36266C9A}" dt="2023-11-05T19:55:42.583" v="151643" actId="478"/>
          <ac:spMkLst>
            <pc:docMk/>
            <pc:sldMk cId="717815741" sldId="366"/>
            <ac:spMk id="61" creationId="{510F39AC-B50F-7149-2CE8-817DB3FEC27B}"/>
          </ac:spMkLst>
        </pc:spChg>
        <pc:spChg chg="add del mod">
          <ac:chgData name="Muchahary, Frankle" userId="0f2bf491-0617-4378-90b8-89af8fa381b9" providerId="ADAL" clId="{90877F19-00D2-4A00-8128-E78E36266C9A}" dt="2023-11-05T19:55:44.004" v="151644" actId="478"/>
          <ac:spMkLst>
            <pc:docMk/>
            <pc:sldMk cId="717815741" sldId="366"/>
            <ac:spMk id="62" creationId="{45E3424B-5709-1FFA-3854-EC751CB16F64}"/>
          </ac:spMkLst>
        </pc:spChg>
        <pc:spChg chg="del mod topLvl">
          <ac:chgData name="Muchahary, Frankle" userId="0f2bf491-0617-4378-90b8-89af8fa381b9" providerId="ADAL" clId="{90877F19-00D2-4A00-8128-E78E36266C9A}" dt="2023-11-05T19:58:48.096" v="151690" actId="478"/>
          <ac:spMkLst>
            <pc:docMk/>
            <pc:sldMk cId="717815741" sldId="366"/>
            <ac:spMk id="64" creationId="{0344F375-0E52-2202-440B-CFBC7340D70A}"/>
          </ac:spMkLst>
        </pc:spChg>
        <pc:spChg chg="del mod topLvl">
          <ac:chgData name="Muchahary, Frankle" userId="0f2bf491-0617-4378-90b8-89af8fa381b9" providerId="ADAL" clId="{90877F19-00D2-4A00-8128-E78E36266C9A}" dt="2023-11-05T19:58:47.367" v="151689" actId="478"/>
          <ac:spMkLst>
            <pc:docMk/>
            <pc:sldMk cId="717815741" sldId="366"/>
            <ac:spMk id="65" creationId="{8D1BD822-07BF-9A8E-DD83-3DECFD121E6A}"/>
          </ac:spMkLst>
        </pc:spChg>
        <pc:spChg chg="del mod topLvl">
          <ac:chgData name="Muchahary, Frankle" userId="0f2bf491-0617-4378-90b8-89af8fa381b9" providerId="ADAL" clId="{90877F19-00D2-4A00-8128-E78E36266C9A}" dt="2023-11-05T19:58:43.125" v="151686" actId="478"/>
          <ac:spMkLst>
            <pc:docMk/>
            <pc:sldMk cId="717815741" sldId="366"/>
            <ac:spMk id="67" creationId="{CC07C662-414E-DEA3-177A-4A26C89E1291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69" creationId="{7D9508DA-182E-129D-31BE-77076EF2DD98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0" creationId="{3E9F2477-12F0-3B06-E9A7-B38077960F44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1" creationId="{AB229048-1995-0566-F80F-5A489D231C62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2" creationId="{E0A4F35B-F440-62B7-6A34-E8172E2FBF8C}"/>
          </ac:spMkLst>
        </pc:spChg>
        <pc:spChg chg="mod topLvl">
          <ac:chgData name="Muchahary, Frankle" userId="0f2bf491-0617-4378-90b8-89af8fa381b9" providerId="ADAL" clId="{90877F19-00D2-4A00-8128-E78E36266C9A}" dt="2023-11-05T21:19:53.939" v="152774" actId="164"/>
          <ac:spMkLst>
            <pc:docMk/>
            <pc:sldMk cId="717815741" sldId="366"/>
            <ac:spMk id="74" creationId="{0D69362D-6C14-6F8D-F7A3-4C3A2AC45980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6" creationId="{12310B0C-953A-FD03-45D0-61AA38E4BD6F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7" creationId="{161FDBA0-0596-B0E1-4B79-B8A0EC60D23A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8" creationId="{4C6B61F6-382A-9156-821B-86FF52005214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79" creationId="{DEE95825-CB61-FBE0-7B4F-99A64E3DCA48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0" creationId="{0049A996-9CD3-A6D6-28BB-9A6F515D9BC8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1" creationId="{18AF5D12-BF57-6A8B-6689-A982EAE2CDC6}"/>
          </ac:spMkLst>
        </pc:spChg>
        <pc:spChg chg="del mod topLvl">
          <ac:chgData name="Muchahary, Frankle" userId="0f2bf491-0617-4378-90b8-89af8fa381b9" providerId="ADAL" clId="{90877F19-00D2-4A00-8128-E78E36266C9A}" dt="2023-11-05T19:58:44.098" v="151687" actId="478"/>
          <ac:spMkLst>
            <pc:docMk/>
            <pc:sldMk cId="717815741" sldId="366"/>
            <ac:spMk id="83" creationId="{24DA5166-93D4-9F1A-D81D-36BF5D2184CA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5" creationId="{5571E42D-122E-6A7F-C839-17D39002FBC3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6" creationId="{23D0EB9E-B991-A09D-AA52-43A8B1CFFABF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7" creationId="{B3B766CB-1180-7115-24CA-676DB0476D8B}"/>
          </ac:spMkLst>
        </pc:spChg>
        <pc:spChg chg="mod">
          <ac:chgData name="Muchahary, Frankle" userId="0f2bf491-0617-4378-90b8-89af8fa381b9" providerId="ADAL" clId="{90877F19-00D2-4A00-8128-E78E36266C9A}" dt="2023-11-05T19:58:34.226" v="151683" actId="165"/>
          <ac:spMkLst>
            <pc:docMk/>
            <pc:sldMk cId="717815741" sldId="366"/>
            <ac:spMk id="88" creationId="{C5BB6FA5-33F7-7AFE-90EE-AC3CCE708EA3}"/>
          </ac:spMkLst>
        </pc:spChg>
        <pc:spChg chg="add mod ord">
          <ac:chgData name="Muchahary, Frankle" userId="0f2bf491-0617-4378-90b8-89af8fa381b9" providerId="ADAL" clId="{90877F19-00D2-4A00-8128-E78E36266C9A}" dt="2023-11-05T20:27:59.821" v="152343" actId="164"/>
          <ac:spMkLst>
            <pc:docMk/>
            <pc:sldMk cId="717815741" sldId="366"/>
            <ac:spMk id="90" creationId="{50357040-0E6D-E425-B355-92023A3EB7EE}"/>
          </ac:spMkLst>
        </pc:spChg>
        <pc:spChg chg="add del mod">
          <ac:chgData name="Muchahary, Frankle" userId="0f2bf491-0617-4378-90b8-89af8fa381b9" providerId="ADAL" clId="{90877F19-00D2-4A00-8128-E78E36266C9A}" dt="2023-11-05T20:01:05.292" v="151703"/>
          <ac:spMkLst>
            <pc:docMk/>
            <pc:sldMk cId="717815741" sldId="366"/>
            <ac:spMk id="91" creationId="{FE949447-B049-6EC3-2BBB-1161418313DC}"/>
          </ac:spMkLst>
        </pc:spChg>
        <pc:spChg chg="add mod ord">
          <ac:chgData name="Muchahary, Frankle" userId="0f2bf491-0617-4378-90b8-89af8fa381b9" providerId="ADAL" clId="{90877F19-00D2-4A00-8128-E78E36266C9A}" dt="2023-11-05T20:28:16.740" v="152346" actId="164"/>
          <ac:spMkLst>
            <pc:docMk/>
            <pc:sldMk cId="717815741" sldId="366"/>
            <ac:spMk id="92" creationId="{3342A07C-F3B0-6E5D-DA27-B6B4ED853639}"/>
          </ac:spMkLst>
        </pc:spChg>
        <pc:spChg chg="add mod ord">
          <ac:chgData name="Muchahary, Frankle" userId="0f2bf491-0617-4378-90b8-89af8fa381b9" providerId="ADAL" clId="{90877F19-00D2-4A00-8128-E78E36266C9A}" dt="2023-11-05T20:28:47.172" v="152349" actId="164"/>
          <ac:spMkLst>
            <pc:docMk/>
            <pc:sldMk cId="717815741" sldId="366"/>
            <ac:spMk id="93" creationId="{DAAEE73E-34B8-1E65-FACF-CCB87F7714C3}"/>
          </ac:spMkLst>
        </pc:spChg>
        <pc:spChg chg="add mod topLvl">
          <ac:chgData name="Muchahary, Frankle" userId="0f2bf491-0617-4378-90b8-89af8fa381b9" providerId="ADAL" clId="{90877F19-00D2-4A00-8128-E78E36266C9A}" dt="2023-11-05T21:19:53.939" v="152774" actId="164"/>
          <ac:spMkLst>
            <pc:docMk/>
            <pc:sldMk cId="717815741" sldId="366"/>
            <ac:spMk id="97" creationId="{0DAB9198-2FD6-9790-64A7-41B8E7E99799}"/>
          </ac:spMkLst>
        </pc:spChg>
        <pc:spChg chg="add mod ord">
          <ac:chgData name="Muchahary, Frankle" userId="0f2bf491-0617-4378-90b8-89af8fa381b9" providerId="ADAL" clId="{90877F19-00D2-4A00-8128-E78E36266C9A}" dt="2023-11-06T07:37:00.867" v="157457" actId="207"/>
          <ac:spMkLst>
            <pc:docMk/>
            <pc:sldMk cId="717815741" sldId="366"/>
            <ac:spMk id="98" creationId="{64D3A1A3-2DA6-1DD0-0C81-4103D6C38108}"/>
          </ac:spMkLst>
        </pc:spChg>
        <pc:spChg chg="add mod ord">
          <ac:chgData name="Muchahary, Frankle" userId="0f2bf491-0617-4378-90b8-89af8fa381b9" providerId="ADAL" clId="{90877F19-00D2-4A00-8128-E78E36266C9A}" dt="2023-11-05T20:27:59.821" v="152343" actId="164"/>
          <ac:spMkLst>
            <pc:docMk/>
            <pc:sldMk cId="717815741" sldId="366"/>
            <ac:spMk id="103" creationId="{199C9C15-6CDE-85A2-F1BA-7C65D104A285}"/>
          </ac:spMkLst>
        </pc:spChg>
        <pc:spChg chg="add mod ord">
          <ac:chgData name="Muchahary, Frankle" userId="0f2bf491-0617-4378-90b8-89af8fa381b9" providerId="ADAL" clId="{90877F19-00D2-4A00-8128-E78E36266C9A}" dt="2023-11-05T20:28:16.740" v="152346" actId="164"/>
          <ac:spMkLst>
            <pc:docMk/>
            <pc:sldMk cId="717815741" sldId="366"/>
            <ac:spMk id="109" creationId="{53E505FA-8833-1BF1-80AE-8108A4D17FA5}"/>
          </ac:spMkLst>
        </pc:spChg>
        <pc:spChg chg="add mod ord">
          <ac:chgData name="Muchahary, Frankle" userId="0f2bf491-0617-4378-90b8-89af8fa381b9" providerId="ADAL" clId="{90877F19-00D2-4A00-8128-E78E36266C9A}" dt="2023-11-05T21:16:46.786" v="152732" actId="20577"/>
          <ac:spMkLst>
            <pc:docMk/>
            <pc:sldMk cId="717815741" sldId="366"/>
            <ac:spMk id="110" creationId="{51DC5E93-AE3F-2600-9CCF-46DEF6FA4FF2}"/>
          </ac:spMkLst>
        </pc:spChg>
        <pc:spChg chg="add mod ord">
          <ac:chgData name="Muchahary, Frankle" userId="0f2bf491-0617-4378-90b8-89af8fa381b9" providerId="ADAL" clId="{90877F19-00D2-4A00-8128-E78E36266C9A}" dt="2023-11-05T20:28:47.172" v="152349" actId="164"/>
          <ac:spMkLst>
            <pc:docMk/>
            <pc:sldMk cId="717815741" sldId="366"/>
            <ac:spMk id="111" creationId="{B211658C-DB71-9155-BD4E-F6CC7CCFE623}"/>
          </ac:spMkLst>
        </pc:spChg>
        <pc:spChg chg="add del mod">
          <ac:chgData name="Muchahary, Frankle" userId="0f2bf491-0617-4378-90b8-89af8fa381b9" providerId="ADAL" clId="{90877F19-00D2-4A00-8128-E78E36266C9A}" dt="2023-11-05T20:25:34.670" v="152227"/>
          <ac:spMkLst>
            <pc:docMk/>
            <pc:sldMk cId="717815741" sldId="366"/>
            <ac:spMk id="114" creationId="{D567B454-6A66-440A-8D3C-1E0C1771FE6C}"/>
          </ac:spMkLst>
        </pc:spChg>
        <pc:spChg chg="add del mod">
          <ac:chgData name="Muchahary, Frankle" userId="0f2bf491-0617-4378-90b8-89af8fa381b9" providerId="ADAL" clId="{90877F19-00D2-4A00-8128-E78E36266C9A}" dt="2023-11-05T20:25:41.334" v="152229"/>
          <ac:spMkLst>
            <pc:docMk/>
            <pc:sldMk cId="717815741" sldId="366"/>
            <ac:spMk id="115" creationId="{DB6BF5E0-A745-F07A-DCE6-FAF0A788D570}"/>
          </ac:spMkLst>
        </pc:spChg>
        <pc:spChg chg="add del mod">
          <ac:chgData name="Muchahary, Frankle" userId="0f2bf491-0617-4378-90b8-89af8fa381b9" providerId="ADAL" clId="{90877F19-00D2-4A00-8128-E78E36266C9A}" dt="2023-11-05T20:25:41.334" v="152229"/>
          <ac:spMkLst>
            <pc:docMk/>
            <pc:sldMk cId="717815741" sldId="366"/>
            <ac:spMk id="116" creationId="{BBBB47A1-0FEF-00B6-E841-371D003952D4}"/>
          </ac:spMkLst>
        </pc:spChg>
        <pc:spChg chg="add mod ord">
          <ac:chgData name="Muchahary, Frankle" userId="0f2bf491-0617-4378-90b8-89af8fa381b9" providerId="ADAL" clId="{90877F19-00D2-4A00-8128-E78E36266C9A}" dt="2023-11-05T20:30:34.625" v="152382" actId="164"/>
          <ac:spMkLst>
            <pc:docMk/>
            <pc:sldMk cId="717815741" sldId="366"/>
            <ac:spMk id="118" creationId="{09DD51CB-19DA-2F6A-BD71-4931D9E175C3}"/>
          </ac:spMkLst>
        </pc:spChg>
        <pc:spChg chg="add mod ord">
          <ac:chgData name="Muchahary, Frankle" userId="0f2bf491-0617-4378-90b8-89af8fa381b9" providerId="ADAL" clId="{90877F19-00D2-4A00-8128-E78E36266C9A}" dt="2023-11-05T20:30:34.625" v="152382" actId="164"/>
          <ac:spMkLst>
            <pc:docMk/>
            <pc:sldMk cId="717815741" sldId="366"/>
            <ac:spMk id="119" creationId="{6B7D46B1-3DC1-6E71-11E2-B6E1365C82FD}"/>
          </ac:spMkLst>
        </pc:spChg>
        <pc:spChg chg="add mod ord">
          <ac:chgData name="Muchahary, Frankle" userId="0f2bf491-0617-4378-90b8-89af8fa381b9" providerId="ADAL" clId="{90877F19-00D2-4A00-8128-E78E36266C9A}" dt="2023-11-06T05:37:56.144" v="153354"/>
          <ac:spMkLst>
            <pc:docMk/>
            <pc:sldMk cId="717815741" sldId="366"/>
            <ac:spMk id="134" creationId="{F2767D1E-3B45-C15D-2353-D39EFD8AC6D3}"/>
          </ac:spMkLst>
        </pc:spChg>
        <pc:spChg chg="add mod ord">
          <ac:chgData name="Muchahary, Frankle" userId="0f2bf491-0617-4378-90b8-89af8fa381b9" providerId="ADAL" clId="{90877F19-00D2-4A00-8128-E78E36266C9A}" dt="2023-11-06T05:37:56.145" v="153356"/>
          <ac:spMkLst>
            <pc:docMk/>
            <pc:sldMk cId="717815741" sldId="366"/>
            <ac:spMk id="135" creationId="{6AEC1226-2AA4-C53D-E4AC-558C47E7DF77}"/>
          </ac:spMkLst>
        </pc:spChg>
        <pc:grpChg chg="add del mod">
          <ac:chgData name="Muchahary, Frankle" userId="0f2bf491-0617-4378-90b8-89af8fa381b9" providerId="ADAL" clId="{90877F19-00D2-4A00-8128-E78E36266C9A}" dt="2023-11-05T19:54:10.296" v="151624" actId="478"/>
          <ac:grpSpMkLst>
            <pc:docMk/>
            <pc:sldMk cId="717815741" sldId="366"/>
            <ac:grpSpMk id="8" creationId="{3F93CF51-BE85-C6C7-5E54-1C496B11417F}"/>
          </ac:grpSpMkLst>
        </pc:grpChg>
        <pc:grpChg chg="add del mod">
          <ac:chgData name="Muchahary, Frankle" userId="0f2bf491-0617-4378-90b8-89af8fa381b9" providerId="ADAL" clId="{90877F19-00D2-4A00-8128-E78E36266C9A}" dt="2023-11-06T07:37:03.403" v="157458" actId="478"/>
          <ac:grpSpMkLst>
            <pc:docMk/>
            <pc:sldMk cId="717815741" sldId="366"/>
            <ac:grpSpMk id="9" creationId="{E213773D-77F1-93DA-B643-8530A6A7E7C2}"/>
          </ac:grpSpMkLst>
        </pc:grpChg>
        <pc:grpChg chg="del">
          <ac:chgData name="Muchahary, Frankle" userId="0f2bf491-0617-4378-90b8-89af8fa381b9" providerId="ADAL" clId="{90877F19-00D2-4A00-8128-E78E36266C9A}" dt="2023-11-05T04:44:03.171" v="145535" actId="478"/>
          <ac:grpSpMkLst>
            <pc:docMk/>
            <pc:sldMk cId="717815741" sldId="366"/>
            <ac:grpSpMk id="11" creationId="{0232F826-BE6B-B64C-5E85-DA2DC55DBA89}"/>
          </ac:grpSpMkLst>
        </pc:grpChg>
        <pc:grpChg chg="add del mod">
          <ac:chgData name="Muchahary, Frankle" userId="0f2bf491-0617-4378-90b8-89af8fa381b9" providerId="ADAL" clId="{90877F19-00D2-4A00-8128-E78E36266C9A}" dt="2023-11-05T19:54:10.296" v="151624" actId="478"/>
          <ac:grpSpMkLst>
            <pc:docMk/>
            <pc:sldMk cId="717815741" sldId="366"/>
            <ac:grpSpMk id="11" creationId="{3883457F-5A3E-5D77-A9BD-56A0D402EB4E}"/>
          </ac:grpSpMkLst>
        </pc:grpChg>
        <pc:grpChg chg="del">
          <ac:chgData name="Muchahary, Frankle" userId="0f2bf491-0617-4378-90b8-89af8fa381b9" providerId="ADAL" clId="{90877F19-00D2-4A00-8128-E78E36266C9A}" dt="2023-11-05T04:44:03.171" v="145535" actId="478"/>
          <ac:grpSpMkLst>
            <pc:docMk/>
            <pc:sldMk cId="717815741" sldId="366"/>
            <ac:grpSpMk id="14" creationId="{050B3CE2-F980-F0E2-4F87-7456A8BAC940}"/>
          </ac:grpSpMkLst>
        </pc:grpChg>
        <pc:grpChg chg="add del mod">
          <ac:chgData name="Muchahary, Frankle" userId="0f2bf491-0617-4378-90b8-89af8fa381b9" providerId="ADAL" clId="{90877F19-00D2-4A00-8128-E78E36266C9A}" dt="2023-11-05T19:54:10.296" v="151624" actId="478"/>
          <ac:grpSpMkLst>
            <pc:docMk/>
            <pc:sldMk cId="717815741" sldId="366"/>
            <ac:grpSpMk id="14" creationId="{28813573-3031-47A9-61BF-A125C400F526}"/>
          </ac:grpSpMkLst>
        </pc:grpChg>
        <pc:grpChg chg="add del mod">
          <ac:chgData name="Muchahary, Frankle" userId="0f2bf491-0617-4378-90b8-89af8fa381b9" providerId="ADAL" clId="{90877F19-00D2-4A00-8128-E78E36266C9A}" dt="2023-11-05T19:53:58.841" v="151621"/>
          <ac:grpSpMkLst>
            <pc:docMk/>
            <pc:sldMk cId="717815741" sldId="366"/>
            <ac:grpSpMk id="28" creationId="{D99FD301-FAC7-3FF8-ACD7-E51979B8CB32}"/>
          </ac:grpSpMkLst>
        </pc:grpChg>
        <pc:grpChg chg="add del mod">
          <ac:chgData name="Muchahary, Frankle" userId="0f2bf491-0617-4378-90b8-89af8fa381b9" providerId="ADAL" clId="{90877F19-00D2-4A00-8128-E78E36266C9A}" dt="2023-11-05T19:53:58.841" v="151621"/>
          <ac:grpSpMkLst>
            <pc:docMk/>
            <pc:sldMk cId="717815741" sldId="366"/>
            <ac:grpSpMk id="31" creationId="{2963839B-3D8B-29DA-0595-82B63AABA065}"/>
          </ac:grpSpMkLst>
        </pc:grpChg>
        <pc:grpChg chg="mod">
          <ac:chgData name="Muchahary, Frankle" userId="0f2bf491-0617-4378-90b8-89af8fa381b9" providerId="ADAL" clId="{90877F19-00D2-4A00-8128-E78E36266C9A}" dt="2023-11-05T19:53:52.582" v="151620"/>
          <ac:grpSpMkLst>
            <pc:docMk/>
            <pc:sldMk cId="717815741" sldId="366"/>
            <ac:grpSpMk id="33" creationId="{CD1969B4-3BCB-76F2-5283-4BA3695B2397}"/>
          </ac:grpSpMkLst>
        </pc:grpChg>
        <pc:grpChg chg="add del mod">
          <ac:chgData name="Muchahary, Frankle" userId="0f2bf491-0617-4378-90b8-89af8fa381b9" providerId="ADAL" clId="{90877F19-00D2-4A00-8128-E78E36266C9A}" dt="2023-11-05T19:53:58.841" v="151621"/>
          <ac:grpSpMkLst>
            <pc:docMk/>
            <pc:sldMk cId="717815741" sldId="366"/>
            <ac:grpSpMk id="38" creationId="{A6FDA470-22C3-1180-4DE4-5DAA4E076CE6}"/>
          </ac:grpSpMkLst>
        </pc:grpChg>
        <pc:grpChg chg="mod">
          <ac:chgData name="Muchahary, Frankle" userId="0f2bf491-0617-4378-90b8-89af8fa381b9" providerId="ADAL" clId="{90877F19-00D2-4A00-8128-E78E36266C9A}" dt="2023-11-05T19:53:52.582" v="151620"/>
          <ac:grpSpMkLst>
            <pc:docMk/>
            <pc:sldMk cId="717815741" sldId="366"/>
            <ac:grpSpMk id="40" creationId="{03A8FA15-2D43-FDD9-621F-0E5060CF6B69}"/>
          </ac:grpSpMkLst>
        </pc:grpChg>
        <pc:grpChg chg="add del mod">
          <ac:chgData name="Muchahary, Frankle" userId="0f2bf491-0617-4378-90b8-89af8fa381b9" providerId="ADAL" clId="{90877F19-00D2-4A00-8128-E78E36266C9A}" dt="2023-11-05T19:53:58.841" v="151621"/>
          <ac:grpSpMkLst>
            <pc:docMk/>
            <pc:sldMk cId="717815741" sldId="366"/>
            <ac:grpSpMk id="47" creationId="{EE85D149-62DF-2CC0-8C59-B8090A52DE34}"/>
          </ac:grpSpMkLst>
        </pc:grpChg>
        <pc:grpChg chg="mod">
          <ac:chgData name="Muchahary, Frankle" userId="0f2bf491-0617-4378-90b8-89af8fa381b9" providerId="ADAL" clId="{90877F19-00D2-4A00-8128-E78E36266C9A}" dt="2023-11-05T19:53:52.582" v="151620"/>
          <ac:grpSpMkLst>
            <pc:docMk/>
            <pc:sldMk cId="717815741" sldId="366"/>
            <ac:grpSpMk id="49" creationId="{3ABC35ED-DD8D-EC0E-BEF9-FFDE57FF7CA2}"/>
          </ac:grpSpMkLst>
        </pc:grpChg>
        <pc:grpChg chg="add del mod">
          <ac:chgData name="Muchahary, Frankle" userId="0f2bf491-0617-4378-90b8-89af8fa381b9" providerId="ADAL" clId="{90877F19-00D2-4A00-8128-E78E36266C9A}" dt="2023-11-05T19:54:39.139" v="151632" actId="165"/>
          <ac:grpSpMkLst>
            <pc:docMk/>
            <pc:sldMk cId="717815741" sldId="366"/>
            <ac:grpSpMk id="63" creationId="{ABD6F430-0FE5-730A-27E0-1D8542B8B51D}"/>
          </ac:grpSpMkLst>
        </pc:grpChg>
        <pc:grpChg chg="add del mod">
          <ac:chgData name="Muchahary, Frankle" userId="0f2bf491-0617-4378-90b8-89af8fa381b9" providerId="ADAL" clId="{90877F19-00D2-4A00-8128-E78E36266C9A}" dt="2023-11-05T19:54:39.139" v="151632" actId="165"/>
          <ac:grpSpMkLst>
            <pc:docMk/>
            <pc:sldMk cId="717815741" sldId="366"/>
            <ac:grpSpMk id="66" creationId="{3788CB92-669D-3E31-08C6-2BB8A8662085}"/>
          </ac:grpSpMkLst>
        </pc:grpChg>
        <pc:grpChg chg="del mod topLvl">
          <ac:chgData name="Muchahary, Frankle" userId="0f2bf491-0617-4378-90b8-89af8fa381b9" providerId="ADAL" clId="{90877F19-00D2-4A00-8128-E78E36266C9A}" dt="2023-11-05T19:58:46.033" v="151688" actId="478"/>
          <ac:grpSpMkLst>
            <pc:docMk/>
            <pc:sldMk cId="717815741" sldId="366"/>
            <ac:grpSpMk id="68" creationId="{79436CB7-481E-CA79-4BFC-FF57D6FB6210}"/>
          </ac:grpSpMkLst>
        </pc:grpChg>
        <pc:grpChg chg="add del mod">
          <ac:chgData name="Muchahary, Frankle" userId="0f2bf491-0617-4378-90b8-89af8fa381b9" providerId="ADAL" clId="{90877F19-00D2-4A00-8128-E78E36266C9A}" dt="2023-11-05T19:54:39.139" v="151632" actId="165"/>
          <ac:grpSpMkLst>
            <pc:docMk/>
            <pc:sldMk cId="717815741" sldId="366"/>
            <ac:grpSpMk id="73" creationId="{5976037D-2F52-AD7C-23C8-E9CC6890F6C7}"/>
          </ac:grpSpMkLst>
        </pc:grpChg>
        <pc:grpChg chg="del">
          <ac:chgData name="Muchahary, Frankle" userId="0f2bf491-0617-4378-90b8-89af8fa381b9" providerId="ADAL" clId="{90877F19-00D2-4A00-8128-E78E36266C9A}" dt="2023-11-05T04:44:03.171" v="145535" actId="478"/>
          <ac:grpSpMkLst>
            <pc:docMk/>
            <pc:sldMk cId="717815741" sldId="366"/>
            <ac:grpSpMk id="74" creationId="{12087B62-B001-95BE-1990-50FF77621DCA}"/>
          </ac:grpSpMkLst>
        </pc:grpChg>
        <pc:grpChg chg="del mod topLvl">
          <ac:chgData name="Muchahary, Frankle" userId="0f2bf491-0617-4378-90b8-89af8fa381b9" providerId="ADAL" clId="{90877F19-00D2-4A00-8128-E78E36266C9A}" dt="2023-11-05T19:58:37.072" v="151684" actId="478"/>
          <ac:grpSpMkLst>
            <pc:docMk/>
            <pc:sldMk cId="717815741" sldId="366"/>
            <ac:grpSpMk id="75" creationId="{3E8E08A9-82B5-D511-8B1D-13454789134D}"/>
          </ac:grpSpMkLst>
        </pc:grpChg>
        <pc:grpChg chg="add del mod">
          <ac:chgData name="Muchahary, Frankle" userId="0f2bf491-0617-4378-90b8-89af8fa381b9" providerId="ADAL" clId="{90877F19-00D2-4A00-8128-E78E36266C9A}" dt="2023-11-05T19:54:39.139" v="151632" actId="165"/>
          <ac:grpSpMkLst>
            <pc:docMk/>
            <pc:sldMk cId="717815741" sldId="366"/>
            <ac:grpSpMk id="82" creationId="{83CC7518-E035-CE88-60ED-AC44BF785530}"/>
          </ac:grpSpMkLst>
        </pc:grpChg>
        <pc:grpChg chg="del mod topLvl">
          <ac:chgData name="Muchahary, Frankle" userId="0f2bf491-0617-4378-90b8-89af8fa381b9" providerId="ADAL" clId="{90877F19-00D2-4A00-8128-E78E36266C9A}" dt="2023-11-05T19:58:38.549" v="151685" actId="478"/>
          <ac:grpSpMkLst>
            <pc:docMk/>
            <pc:sldMk cId="717815741" sldId="366"/>
            <ac:grpSpMk id="84" creationId="{77A3829D-40B0-5A61-2520-378DC7293B84}"/>
          </ac:grpSpMkLst>
        </pc:grpChg>
        <pc:grpChg chg="del">
          <ac:chgData name="Muchahary, Frankle" userId="0f2bf491-0617-4378-90b8-89af8fa381b9" providerId="ADAL" clId="{90877F19-00D2-4A00-8128-E78E36266C9A}" dt="2023-11-05T04:44:03.171" v="145535" actId="478"/>
          <ac:grpSpMkLst>
            <pc:docMk/>
            <pc:sldMk cId="717815741" sldId="366"/>
            <ac:grpSpMk id="88" creationId="{59FBEB72-852F-A047-8ED3-7F641792809F}"/>
          </ac:grpSpMkLst>
        </pc:grpChg>
        <pc:grpChg chg="add del mod">
          <ac:chgData name="Muchahary, Frankle" userId="0f2bf491-0617-4378-90b8-89af8fa381b9" providerId="ADAL" clId="{90877F19-00D2-4A00-8128-E78E36266C9A}" dt="2023-11-05T19:58:34.226" v="151683" actId="165"/>
          <ac:grpSpMkLst>
            <pc:docMk/>
            <pc:sldMk cId="717815741" sldId="366"/>
            <ac:grpSpMk id="89" creationId="{A03BAD2E-8A3A-16FF-B7BD-60D74B6AB828}"/>
          </ac:grpSpMkLst>
        </pc:grpChg>
        <pc:grpChg chg="add del mod ord">
          <ac:chgData name="Muchahary, Frankle" userId="0f2bf491-0617-4378-90b8-89af8fa381b9" providerId="ADAL" clId="{90877F19-00D2-4A00-8128-E78E36266C9A}" dt="2023-11-05T21:19:41.777" v="152773" actId="165"/>
          <ac:grpSpMkLst>
            <pc:docMk/>
            <pc:sldMk cId="717815741" sldId="366"/>
            <ac:grpSpMk id="122" creationId="{E6ED1A96-693D-ABD7-B8FB-A728B5D7FD44}"/>
          </ac:grpSpMkLst>
        </pc:grpChg>
        <pc:grpChg chg="add mod ord">
          <ac:chgData name="Muchahary, Frankle" userId="0f2bf491-0617-4378-90b8-89af8fa381b9" providerId="ADAL" clId="{90877F19-00D2-4A00-8128-E78E36266C9A}" dt="2023-11-06T05:37:56.139" v="153344"/>
          <ac:grpSpMkLst>
            <pc:docMk/>
            <pc:sldMk cId="717815741" sldId="366"/>
            <ac:grpSpMk id="123" creationId="{B8375871-C207-2BF1-C3DB-1023050B323C}"/>
          </ac:grpSpMkLst>
        </pc:grpChg>
        <pc:grpChg chg="add mod ord">
          <ac:chgData name="Muchahary, Frankle" userId="0f2bf491-0617-4378-90b8-89af8fa381b9" providerId="ADAL" clId="{90877F19-00D2-4A00-8128-E78E36266C9A}" dt="2023-11-06T05:37:56.140" v="153346"/>
          <ac:grpSpMkLst>
            <pc:docMk/>
            <pc:sldMk cId="717815741" sldId="366"/>
            <ac:grpSpMk id="124" creationId="{E7D2C619-61B2-B23C-73AC-3D13368B5EB2}"/>
          </ac:grpSpMkLst>
        </pc:grpChg>
        <pc:grpChg chg="add mod ord">
          <ac:chgData name="Muchahary, Frankle" userId="0f2bf491-0617-4378-90b8-89af8fa381b9" providerId="ADAL" clId="{90877F19-00D2-4A00-8128-E78E36266C9A}" dt="2023-11-06T07:35:49.403" v="157455" actId="1076"/>
          <ac:grpSpMkLst>
            <pc:docMk/>
            <pc:sldMk cId="717815741" sldId="366"/>
            <ac:grpSpMk id="125" creationId="{0935608E-171B-9C69-2680-321FDE459128}"/>
          </ac:grpSpMkLst>
        </pc:grpChg>
        <pc:grpChg chg="add mod ord topLvl">
          <ac:chgData name="Muchahary, Frankle" userId="0f2bf491-0617-4378-90b8-89af8fa381b9" providerId="ADAL" clId="{90877F19-00D2-4A00-8128-E78E36266C9A}" dt="2023-11-06T07:37:03.403" v="157458" actId="478"/>
          <ac:grpSpMkLst>
            <pc:docMk/>
            <pc:sldMk cId="717815741" sldId="366"/>
            <ac:grpSpMk id="130" creationId="{5901F956-A6EB-0695-2137-73A5EB430CE1}"/>
          </ac:grpSpMkLst>
        </pc:grpChg>
        <pc:grpChg chg="add mod ord">
          <ac:chgData name="Muchahary, Frankle" userId="0f2bf491-0617-4378-90b8-89af8fa381b9" providerId="ADAL" clId="{90877F19-00D2-4A00-8128-E78E36266C9A}" dt="2023-11-06T07:37:19.831" v="157461" actId="688"/>
          <ac:grpSpMkLst>
            <pc:docMk/>
            <pc:sldMk cId="717815741" sldId="366"/>
            <ac:grpSpMk id="131" creationId="{F52FE948-865D-55E1-9E61-BEF423C6217C}"/>
          </ac:grpSpMkLst>
        </pc:grpChg>
        <pc:grpChg chg="add mod">
          <ac:chgData name="Muchahary, Frankle" userId="0f2bf491-0617-4378-90b8-89af8fa381b9" providerId="ADAL" clId="{90877F19-00D2-4A00-8128-E78E36266C9A}" dt="2023-11-05T21:22:43.432" v="152783" actId="164"/>
          <ac:grpSpMkLst>
            <pc:docMk/>
            <pc:sldMk cId="717815741" sldId="366"/>
            <ac:grpSpMk id="132" creationId="{CCED2F57-8C08-3DBB-2AF8-8C7094831511}"/>
          </ac:grpSpMkLst>
        </pc:grpChg>
        <pc:grpChg chg="add mod ord">
          <ac:chgData name="Muchahary, Frankle" userId="0f2bf491-0617-4378-90b8-89af8fa381b9" providerId="ADAL" clId="{90877F19-00D2-4A00-8128-E78E36266C9A}" dt="2023-11-06T05:37:56.138" v="153342"/>
          <ac:grpSpMkLst>
            <pc:docMk/>
            <pc:sldMk cId="717815741" sldId="366"/>
            <ac:grpSpMk id="133" creationId="{C861B0B2-E791-3013-64DB-D5AA67A78B3A}"/>
          </ac:grpSpMkLst>
        </pc:grpChg>
        <pc:graphicFrameChg chg="mod">
          <ac:chgData name="Muchahary, Frankle" userId="0f2bf491-0617-4378-90b8-89af8fa381b9" providerId="ADAL" clId="{90877F19-00D2-4A00-8128-E78E36266C9A}" dt="2023-11-06T22:01:57.727" v="157731"/>
          <ac:graphicFrameMkLst>
            <pc:docMk/>
            <pc:sldMk cId="717815741" sldId="366"/>
            <ac:graphicFrameMk id="4" creationId="{FD4A65FB-339A-B2BC-4155-257FFC3BBBB9}"/>
          </ac:graphicFrameMkLst>
        </pc:graphicFrameChg>
        <pc:picChg chg="add del mod ord">
          <ac:chgData name="Muchahary, Frankle" userId="0f2bf491-0617-4378-90b8-89af8fa381b9" providerId="ADAL" clId="{90877F19-00D2-4A00-8128-E78E36266C9A}" dt="2023-11-06T18:23:31.336" v="157513" actId="478"/>
          <ac:picMkLst>
            <pc:docMk/>
            <pc:sldMk cId="717815741" sldId="366"/>
            <ac:picMk id="2" creationId="{99C4B9B7-2558-0460-3605-F40A845D1527}"/>
          </ac:picMkLst>
        </pc:picChg>
        <pc:picChg chg="add del mod">
          <ac:chgData name="Muchahary, Frankle" userId="0f2bf491-0617-4378-90b8-89af8fa381b9" providerId="ADAL" clId="{90877F19-00D2-4A00-8128-E78E36266C9A}" dt="2023-11-06T18:25:25.742" v="157521" actId="478"/>
          <ac:picMkLst>
            <pc:docMk/>
            <pc:sldMk cId="717815741" sldId="366"/>
            <ac:picMk id="11" creationId="{4BC2494A-C62B-CE6F-0159-F7DA997360B5}"/>
          </ac:picMkLst>
        </pc:picChg>
        <pc:picChg chg="add del mod">
          <ac:chgData name="Muchahary, Frankle" userId="0f2bf491-0617-4378-90b8-89af8fa381b9" providerId="ADAL" clId="{90877F19-00D2-4A00-8128-E78E36266C9A}" dt="2023-11-06T20:09:29.447" v="157539" actId="478"/>
          <ac:picMkLst>
            <pc:docMk/>
            <pc:sldMk cId="717815741" sldId="366"/>
            <ac:picMk id="13" creationId="{65466979-F533-2857-8061-E36A97710278}"/>
          </ac:picMkLst>
        </pc:picChg>
        <pc:picChg chg="add del mod">
          <ac:chgData name="Muchahary, Frankle" userId="0f2bf491-0617-4378-90b8-89af8fa381b9" providerId="ADAL" clId="{90877F19-00D2-4A00-8128-E78E36266C9A}" dt="2023-11-07T19:11:42.999" v="158552" actId="478"/>
          <ac:picMkLst>
            <pc:docMk/>
            <pc:sldMk cId="717815741" sldId="366"/>
            <ac:picMk id="15" creationId="{E363C87D-4A01-A8EA-594A-F054F898EC0A}"/>
          </ac:picMkLst>
        </pc:picChg>
        <pc:picChg chg="add del mod">
          <ac:chgData name="Muchahary, Frankle" userId="0f2bf491-0617-4378-90b8-89af8fa381b9" providerId="ADAL" clId="{90877F19-00D2-4A00-8128-E78E36266C9A}" dt="2023-11-07T19:11:42.999" v="158552" actId="478"/>
          <ac:picMkLst>
            <pc:docMk/>
            <pc:sldMk cId="717815741" sldId="366"/>
            <ac:picMk id="17" creationId="{0E4AF82B-72D0-51B7-250E-F8B86E5AEC81}"/>
          </ac:picMkLst>
        </pc:picChg>
        <pc:picChg chg="add del mod">
          <ac:chgData name="Muchahary, Frankle" userId="0f2bf491-0617-4378-90b8-89af8fa381b9" providerId="ADAL" clId="{90877F19-00D2-4A00-8128-E78E36266C9A}" dt="2023-11-07T19:11:42.999" v="158552" actId="478"/>
          <ac:picMkLst>
            <pc:docMk/>
            <pc:sldMk cId="717815741" sldId="366"/>
            <ac:picMk id="19" creationId="{878A1041-8083-1483-06BC-73796F073227}"/>
          </ac:picMkLst>
        </pc:picChg>
        <pc:picChg chg="add mod topLvl">
          <ac:chgData name="Muchahary, Frankle" userId="0f2bf491-0617-4378-90b8-89af8fa381b9" providerId="ADAL" clId="{90877F19-00D2-4A00-8128-E78E36266C9A}" dt="2023-11-05T21:19:53.939" v="152774" actId="164"/>
          <ac:picMkLst>
            <pc:docMk/>
            <pc:sldMk cId="717815741" sldId="366"/>
            <ac:picMk id="96" creationId="{48768981-F5FE-1050-56A3-5B3C8FA350C8}"/>
          </ac:picMkLst>
        </pc:picChg>
        <pc:picChg chg="add del mod">
          <ac:chgData name="Muchahary, Frankle" userId="0f2bf491-0617-4378-90b8-89af8fa381b9" providerId="ADAL" clId="{90877F19-00D2-4A00-8128-E78E36266C9A}" dt="2023-11-05T20:20:02.082" v="151910" actId="478"/>
          <ac:picMkLst>
            <pc:docMk/>
            <pc:sldMk cId="717815741" sldId="366"/>
            <ac:picMk id="100" creationId="{AB43717A-AD56-F128-E007-1B5412185E61}"/>
          </ac:picMkLst>
        </pc:picChg>
        <pc:picChg chg="add del mod">
          <ac:chgData name="Muchahary, Frankle" userId="0f2bf491-0617-4378-90b8-89af8fa381b9" providerId="ADAL" clId="{90877F19-00D2-4A00-8128-E78E36266C9A}" dt="2023-11-05T20:17:46.855" v="151849" actId="478"/>
          <ac:picMkLst>
            <pc:docMk/>
            <pc:sldMk cId="717815741" sldId="366"/>
            <ac:picMk id="102" creationId="{A4B4C281-8C9A-D1E1-9E80-459F8D0D0856}"/>
          </ac:picMkLst>
        </pc:picChg>
        <pc:picChg chg="add del mod">
          <ac:chgData name="Muchahary, Frankle" userId="0f2bf491-0617-4378-90b8-89af8fa381b9" providerId="ADAL" clId="{90877F19-00D2-4A00-8128-E78E36266C9A}" dt="2023-11-05T20:18:56.607" v="151901"/>
          <ac:picMkLst>
            <pc:docMk/>
            <pc:sldMk cId="717815741" sldId="366"/>
            <ac:picMk id="104" creationId="{8E03D4EA-B925-6076-485D-17FF427B17BE}"/>
          </ac:picMkLst>
        </pc:picChg>
        <pc:picChg chg="add mod ord">
          <ac:chgData name="Muchahary, Frankle" userId="0f2bf491-0617-4378-90b8-89af8fa381b9" providerId="ADAL" clId="{90877F19-00D2-4A00-8128-E78E36266C9A}" dt="2023-11-05T20:27:59.821" v="152343" actId="164"/>
          <ac:picMkLst>
            <pc:docMk/>
            <pc:sldMk cId="717815741" sldId="366"/>
            <ac:picMk id="106" creationId="{C5DB582D-E9B7-F5D5-05A5-BB4572AFBE93}"/>
          </ac:picMkLst>
        </pc:picChg>
        <pc:picChg chg="add mod ord">
          <ac:chgData name="Muchahary, Frankle" userId="0f2bf491-0617-4378-90b8-89af8fa381b9" providerId="ADAL" clId="{90877F19-00D2-4A00-8128-E78E36266C9A}" dt="2023-11-05T20:28:16.740" v="152346" actId="164"/>
          <ac:picMkLst>
            <pc:docMk/>
            <pc:sldMk cId="717815741" sldId="366"/>
            <ac:picMk id="108" creationId="{9A49D318-0A5B-6D4F-5D9F-AF86286ADF7C}"/>
          </ac:picMkLst>
        </pc:picChg>
        <pc:picChg chg="add mod ord">
          <ac:chgData name="Muchahary, Frankle" userId="0f2bf491-0617-4378-90b8-89af8fa381b9" providerId="ADAL" clId="{90877F19-00D2-4A00-8128-E78E36266C9A}" dt="2023-11-05T20:28:47.172" v="152349" actId="164"/>
          <ac:picMkLst>
            <pc:docMk/>
            <pc:sldMk cId="717815741" sldId="366"/>
            <ac:picMk id="113" creationId="{2A0B1F62-3961-F5D3-D113-9633FE30EA38}"/>
          </ac:picMkLst>
        </pc:picChg>
        <pc:picChg chg="add del mod">
          <ac:chgData name="Muchahary, Frankle" userId="0f2bf491-0617-4378-90b8-89af8fa381b9" providerId="ADAL" clId="{90877F19-00D2-4A00-8128-E78E36266C9A}" dt="2023-11-05T20:25:41.334" v="152229"/>
          <ac:picMkLst>
            <pc:docMk/>
            <pc:sldMk cId="717815741" sldId="366"/>
            <ac:picMk id="117" creationId="{800890B3-61A3-9602-4639-C99D1D8D4D72}"/>
          </ac:picMkLst>
        </pc:picChg>
        <pc:picChg chg="add del mod ord">
          <ac:chgData name="Muchahary, Frankle" userId="0f2bf491-0617-4378-90b8-89af8fa381b9" providerId="ADAL" clId="{90877F19-00D2-4A00-8128-E78E36266C9A}" dt="2023-11-05T20:30:14.140" v="152379" actId="478"/>
          <ac:picMkLst>
            <pc:docMk/>
            <pc:sldMk cId="717815741" sldId="366"/>
            <ac:picMk id="120" creationId="{D91955EA-9FB0-0FEF-6E9E-15FB63787EED}"/>
          </ac:picMkLst>
        </pc:picChg>
        <pc:picChg chg="add mod">
          <ac:chgData name="Muchahary, Frankle" userId="0f2bf491-0617-4378-90b8-89af8fa381b9" providerId="ADAL" clId="{90877F19-00D2-4A00-8128-E78E36266C9A}" dt="2023-11-05T20:30:28.276" v="152381" actId="164"/>
          <ac:picMkLst>
            <pc:docMk/>
            <pc:sldMk cId="717815741" sldId="366"/>
            <ac:picMk id="127" creationId="{2E24D698-9598-8D35-ACD5-56838C04E67A}"/>
          </ac:picMkLst>
        </pc:picChg>
        <pc:picChg chg="add mod">
          <ac:chgData name="Muchahary, Frankle" userId="0f2bf491-0617-4378-90b8-89af8fa381b9" providerId="ADAL" clId="{90877F19-00D2-4A00-8128-E78E36266C9A}" dt="2023-11-05T20:30:34.625" v="152382" actId="164"/>
          <ac:picMkLst>
            <pc:docMk/>
            <pc:sldMk cId="717815741" sldId="366"/>
            <ac:picMk id="129" creationId="{6F71B2E9-EA25-1249-9439-67CC54B3F913}"/>
          </ac:picMkLst>
        </pc:picChg>
        <pc:cxnChg chg="add del mod topLvl">
          <ac:chgData name="Muchahary, Frankle" userId="0f2bf491-0617-4378-90b8-89af8fa381b9" providerId="ADAL" clId="{90877F19-00D2-4A00-8128-E78E36266C9A}" dt="2023-11-06T07:37:03.403" v="157458" actId="478"/>
          <ac:cxnSpMkLst>
            <pc:docMk/>
            <pc:sldMk cId="717815741" sldId="366"/>
            <ac:cxnSpMk id="7" creationId="{AB2B195C-9058-197A-99F3-66051A730814}"/>
          </ac:cxnSpMkLst>
        </pc:cxnChg>
        <pc:cxnChg chg="add del mod">
          <ac:chgData name="Muchahary, Frankle" userId="0f2bf491-0617-4378-90b8-89af8fa381b9" providerId="ADAL" clId="{90877F19-00D2-4A00-8128-E78E36266C9A}" dt="2023-11-05T19:54:10.296" v="151624" actId="478"/>
          <ac:cxnSpMkLst>
            <pc:docMk/>
            <pc:sldMk cId="717815741" sldId="366"/>
            <ac:cxnSpMk id="17" creationId="{957571EA-2687-845E-4466-E39D2C2BA285}"/>
          </ac:cxnSpMkLst>
        </pc:cxnChg>
        <pc:cxnChg chg="add del mod">
          <ac:chgData name="Muchahary, Frankle" userId="0f2bf491-0617-4378-90b8-89af8fa381b9" providerId="ADAL" clId="{90877F19-00D2-4A00-8128-E78E36266C9A}" dt="2023-11-05T19:53:58.841" v="151621"/>
          <ac:cxnSpMkLst>
            <pc:docMk/>
            <pc:sldMk cId="717815741" sldId="366"/>
            <ac:cxnSpMk id="19" creationId="{56389B89-C2B4-0E1B-7CCD-62BE9D8C83CC}"/>
          </ac:cxnSpMkLst>
        </pc:cxnChg>
        <pc:cxnChg chg="add mod topLvl">
          <ac:chgData name="Muchahary, Frankle" userId="0f2bf491-0617-4378-90b8-89af8fa381b9" providerId="ADAL" clId="{90877F19-00D2-4A00-8128-E78E36266C9A}" dt="2023-11-05T21:22:43.432" v="152783" actId="164"/>
          <ac:cxnSpMkLst>
            <pc:docMk/>
            <pc:sldMk cId="717815741" sldId="366"/>
            <ac:cxnSpMk id="54" creationId="{A4A1719C-3F65-EF78-8178-E5FF922A9FE8}"/>
          </ac:cxnSpMkLst>
        </pc:cxnChg>
      </pc:sldChg>
      <pc:sldChg chg="addSp delSp modSp add del mod modClrScheme chgLayout">
        <pc:chgData name="Muchahary, Frankle" userId="0f2bf491-0617-4378-90b8-89af8fa381b9" providerId="ADAL" clId="{90877F19-00D2-4A00-8128-E78E36266C9A}" dt="2023-11-05T20:52:18.320" v="152389" actId="47"/>
        <pc:sldMkLst>
          <pc:docMk/>
          <pc:sldMk cId="1995657395" sldId="367"/>
        </pc:sldMkLst>
        <pc:spChg chg="add del mod modVis">
          <ac:chgData name="Muchahary, Frankle" userId="0f2bf491-0617-4378-90b8-89af8fa381b9" providerId="ADAL" clId="{90877F19-00D2-4A00-8128-E78E36266C9A}" dt="2023-11-05T17:59:37.708" v="147154"/>
          <ac:spMkLst>
            <pc:docMk/>
            <pc:sldMk cId="1995657395" sldId="367"/>
            <ac:spMk id="2" creationId="{565135C3-18A0-BB84-73B9-7D8B271358AB}"/>
          </ac:spMkLst>
        </pc:spChg>
        <pc:spChg chg="mod ord">
          <ac:chgData name="Muchahary, Frankle" userId="0f2bf491-0617-4378-90b8-89af8fa381b9" providerId="ADAL" clId="{90877F19-00D2-4A00-8128-E78E36266C9A}" dt="2023-11-05T17:59:41.541" v="147158" actId="948"/>
          <ac:spMkLst>
            <pc:docMk/>
            <pc:sldMk cId="1995657395" sldId="367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5T17:59:41.581" v="147189"/>
          <ac:spMkLst>
            <pc:docMk/>
            <pc:sldMk cId="1995657395" sldId="367"/>
            <ac:spMk id="5" creationId="{B489CBE9-FBEA-73D1-A0BD-E63723D049DE}"/>
          </ac:spMkLst>
        </pc:spChg>
        <pc:graphicFrameChg chg="mod">
          <ac:chgData name="Muchahary, Frankle" userId="0f2bf491-0617-4378-90b8-89af8fa381b9" providerId="ADAL" clId="{90877F19-00D2-4A00-8128-E78E36266C9A}" dt="2023-11-05T17:59:41.584" v="147191"/>
          <ac:graphicFrameMkLst>
            <pc:docMk/>
            <pc:sldMk cId="1995657395" sldId="367"/>
            <ac:graphicFrameMk id="4" creationId="{FD4A65FB-339A-B2BC-4155-257FFC3BBBB9}"/>
          </ac:graphicFrameMkLst>
        </pc:graphicFrameChg>
      </pc:sldChg>
      <pc:sldChg chg="modSp add del mod">
        <pc:chgData name="Muchahary, Frankle" userId="0f2bf491-0617-4378-90b8-89af8fa381b9" providerId="ADAL" clId="{90877F19-00D2-4A00-8128-E78E36266C9A}" dt="2023-11-08T06:58:06.661" v="167996" actId="5793"/>
        <pc:sldMkLst>
          <pc:docMk/>
          <pc:sldMk cId="4271637465" sldId="369"/>
        </pc:sldMkLst>
        <pc:spChg chg="mod">
          <ac:chgData name="Muchahary, Frankle" userId="0f2bf491-0617-4378-90b8-89af8fa381b9" providerId="ADAL" clId="{90877F19-00D2-4A00-8128-E78E36266C9A}" dt="2023-11-08T06:58:06.661" v="167996" actId="5793"/>
          <ac:spMkLst>
            <pc:docMk/>
            <pc:sldMk cId="4271637465" sldId="369"/>
            <ac:spMk id="21" creationId="{2F2BBDCF-14DC-CCAD-9E0A-0FA4DF8DE8B6}"/>
          </ac:spMkLst>
        </pc:spChg>
      </pc:sldChg>
      <pc:sldChg chg="addSp delSp modSp add mod modClrScheme modAnim chgLayout">
        <pc:chgData name="Muchahary, Frankle" userId="0f2bf491-0617-4378-90b8-89af8fa381b9" providerId="ADAL" clId="{90877F19-00D2-4A00-8128-E78E36266C9A}" dt="2023-11-08T07:15:35.121" v="169984"/>
        <pc:sldMkLst>
          <pc:docMk/>
          <pc:sldMk cId="3649468413" sldId="370"/>
        </pc:sldMkLst>
        <pc:spChg chg="add del mod modVis">
          <ac:chgData name="Muchahary, Frankle" userId="0f2bf491-0617-4378-90b8-89af8fa381b9" providerId="ADAL" clId="{90877F19-00D2-4A00-8128-E78E36266C9A}" dt="2023-11-05T17:30:47.956" v="145861"/>
          <ac:spMkLst>
            <pc:docMk/>
            <pc:sldMk cId="3649468413" sldId="370"/>
            <ac:spMk id="2" creationId="{25E54687-5B4E-3EC7-8D89-03D06BBFC6EC}"/>
          </ac:spMkLst>
        </pc:spChg>
        <pc:spChg chg="mod ord">
          <ac:chgData name="Muchahary, Frankle" userId="0f2bf491-0617-4378-90b8-89af8fa381b9" providerId="ADAL" clId="{90877F19-00D2-4A00-8128-E78E36266C9A}" dt="2023-11-08T07:15:35.080" v="169959"/>
          <ac:spMkLst>
            <pc:docMk/>
            <pc:sldMk cId="3649468413" sldId="370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5T17:31:01.878" v="145903"/>
          <ac:spMkLst>
            <pc:docMk/>
            <pc:sldMk cId="3649468413" sldId="370"/>
            <ac:spMk id="5" creationId="{53A95E1A-2CC4-18C6-330F-2A2A35A9D15E}"/>
          </ac:spMkLst>
        </pc:spChg>
        <pc:spChg chg="add del mod modVis">
          <ac:chgData name="Muchahary, Frankle" userId="0f2bf491-0617-4378-90b8-89af8fa381b9" providerId="ADAL" clId="{90877F19-00D2-4A00-8128-E78E36266C9A}" dt="2023-11-05T17:31:07.491" v="145934"/>
          <ac:spMkLst>
            <pc:docMk/>
            <pc:sldMk cId="3649468413" sldId="370"/>
            <ac:spMk id="6" creationId="{C4529DBE-5A76-B9F0-58C6-18B7377037D6}"/>
          </ac:spMkLst>
        </pc:spChg>
        <pc:spChg chg="add del mod modVis">
          <ac:chgData name="Muchahary, Frankle" userId="0f2bf491-0617-4378-90b8-89af8fa381b9" providerId="ADAL" clId="{90877F19-00D2-4A00-8128-E78E36266C9A}" dt="2023-11-05T17:31:10.249" v="145970"/>
          <ac:spMkLst>
            <pc:docMk/>
            <pc:sldMk cId="3649468413" sldId="370"/>
            <ac:spMk id="7" creationId="{2F5E7AE4-9C9A-42D8-1D55-59B7C4C6E068}"/>
          </ac:spMkLst>
        </pc:spChg>
        <pc:spChg chg="add del mod modVis">
          <ac:chgData name="Muchahary, Frankle" userId="0f2bf491-0617-4378-90b8-89af8fa381b9" providerId="ADAL" clId="{90877F19-00D2-4A00-8128-E78E36266C9A}" dt="2023-11-08T07:14:30.764" v="169686"/>
          <ac:spMkLst>
            <pc:docMk/>
            <pc:sldMk cId="3649468413" sldId="370"/>
            <ac:spMk id="7" creationId="{BDCECE90-968F-310C-86F5-7AF1857AA26C}"/>
          </ac:spMkLst>
        </pc:spChg>
        <pc:spChg chg="add del mod modVis">
          <ac:chgData name="Muchahary, Frankle" userId="0f2bf491-0617-4378-90b8-89af8fa381b9" providerId="ADAL" clId="{90877F19-00D2-4A00-8128-E78E36266C9A}" dt="2023-11-05T17:31:15.717" v="146017"/>
          <ac:spMkLst>
            <pc:docMk/>
            <pc:sldMk cId="3649468413" sldId="370"/>
            <ac:spMk id="8" creationId="{4BDDCDEA-72BC-9C14-EDC5-9AB67CDE28E5}"/>
          </ac:spMkLst>
        </pc:spChg>
        <pc:spChg chg="add del mod modVis">
          <ac:chgData name="Muchahary, Frankle" userId="0f2bf491-0617-4378-90b8-89af8fa381b9" providerId="ADAL" clId="{90877F19-00D2-4A00-8128-E78E36266C9A}" dt="2023-11-08T07:14:57.811" v="169769"/>
          <ac:spMkLst>
            <pc:docMk/>
            <pc:sldMk cId="3649468413" sldId="370"/>
            <ac:spMk id="8" creationId="{A5724432-A06F-5025-49F2-CAB469AA3189}"/>
          </ac:spMkLst>
        </pc:spChg>
        <pc:spChg chg="add del mod modVis">
          <ac:chgData name="Muchahary, Frankle" userId="0f2bf491-0617-4378-90b8-89af8fa381b9" providerId="ADAL" clId="{90877F19-00D2-4A00-8128-E78E36266C9A}" dt="2023-11-08T07:15:01.983" v="169819" actId="962"/>
          <ac:spMkLst>
            <pc:docMk/>
            <pc:sldMk cId="3649468413" sldId="370"/>
            <ac:spMk id="9" creationId="{E6B5063C-E248-CC08-2796-AC60EAFEFA51}"/>
          </ac:spMkLst>
        </pc:spChg>
        <pc:spChg chg="add del mod modVis">
          <ac:chgData name="Muchahary, Frankle" userId="0f2bf491-0617-4378-90b8-89af8fa381b9" providerId="ADAL" clId="{90877F19-00D2-4A00-8128-E78E36266C9A}" dt="2023-11-05T17:31:16.851" v="146047"/>
          <ac:spMkLst>
            <pc:docMk/>
            <pc:sldMk cId="3649468413" sldId="370"/>
            <ac:spMk id="9" creationId="{F3EED861-4BC7-218D-638C-0E897F0EFB18}"/>
          </ac:spMkLst>
        </pc:spChg>
        <pc:spChg chg="add del mod modVis">
          <ac:chgData name="Muchahary, Frankle" userId="0f2bf491-0617-4378-90b8-89af8fa381b9" providerId="ADAL" clId="{90877F19-00D2-4A00-8128-E78E36266C9A}" dt="2023-11-05T17:31:24.945" v="146128"/>
          <ac:spMkLst>
            <pc:docMk/>
            <pc:sldMk cId="3649468413" sldId="370"/>
            <ac:spMk id="10" creationId="{962F9535-9481-49DF-58F1-7ADEE6A33108}"/>
          </ac:spMkLst>
        </pc:spChg>
        <pc:spChg chg="add del mod modVis">
          <ac:chgData name="Muchahary, Frankle" userId="0f2bf491-0617-4378-90b8-89af8fa381b9" providerId="ADAL" clId="{90877F19-00D2-4A00-8128-E78E36266C9A}" dt="2023-11-08T07:15:05.885" v="169847"/>
          <ac:spMkLst>
            <pc:docMk/>
            <pc:sldMk cId="3649468413" sldId="370"/>
            <ac:spMk id="10" creationId="{CEF5F60A-2D1A-5A1F-8EFC-863F71830798}"/>
          </ac:spMkLst>
        </pc:spChg>
        <pc:spChg chg="add del mod modVis">
          <ac:chgData name="Muchahary, Frankle" userId="0f2bf491-0617-4378-90b8-89af8fa381b9" providerId="ADAL" clId="{90877F19-00D2-4A00-8128-E78E36266C9A}" dt="2023-11-05T17:31:29.270" v="146156"/>
          <ac:spMkLst>
            <pc:docMk/>
            <pc:sldMk cId="3649468413" sldId="370"/>
            <ac:spMk id="12" creationId="{6A13506F-58FE-B3A5-296A-4D316F5E527E}"/>
          </ac:spMkLst>
        </pc:spChg>
        <pc:spChg chg="add del mod modVis">
          <ac:chgData name="Muchahary, Frankle" userId="0f2bf491-0617-4378-90b8-89af8fa381b9" providerId="ADAL" clId="{90877F19-00D2-4A00-8128-E78E36266C9A}" dt="2023-11-08T07:15:12.631" v="169874"/>
          <ac:spMkLst>
            <pc:docMk/>
            <pc:sldMk cId="3649468413" sldId="370"/>
            <ac:spMk id="12" creationId="{7F68FC30-C73A-2554-21A4-9EFC116A64B5}"/>
          </ac:spMkLst>
        </pc:spChg>
        <pc:spChg chg="add del mod modVis">
          <ac:chgData name="Muchahary, Frankle" userId="0f2bf491-0617-4378-90b8-89af8fa381b9" providerId="ADAL" clId="{90877F19-00D2-4A00-8128-E78E36266C9A}" dt="2023-11-08T07:15:15.387" v="169901"/>
          <ac:spMkLst>
            <pc:docMk/>
            <pc:sldMk cId="3649468413" sldId="370"/>
            <ac:spMk id="13" creationId="{0ADC0300-D305-64AC-CB5D-48A19A6FC801}"/>
          </ac:spMkLst>
        </pc:spChg>
        <pc:spChg chg="add del mod modVis">
          <ac:chgData name="Muchahary, Frankle" userId="0f2bf491-0617-4378-90b8-89af8fa381b9" providerId="ADAL" clId="{90877F19-00D2-4A00-8128-E78E36266C9A}" dt="2023-11-05T17:31:29.953" v="146184"/>
          <ac:spMkLst>
            <pc:docMk/>
            <pc:sldMk cId="3649468413" sldId="370"/>
            <ac:spMk id="13" creationId="{E1F5774B-F84D-0A4D-24E1-4DC58F855E7D}"/>
          </ac:spMkLst>
        </pc:spChg>
        <pc:spChg chg="add del mod modVis">
          <ac:chgData name="Muchahary, Frankle" userId="0f2bf491-0617-4378-90b8-89af8fa381b9" providerId="ADAL" clId="{90877F19-00D2-4A00-8128-E78E36266C9A}" dt="2023-11-05T17:31:32.419" v="146225"/>
          <ac:spMkLst>
            <pc:docMk/>
            <pc:sldMk cId="3649468413" sldId="370"/>
            <ac:spMk id="14" creationId="{706CACCD-8456-6367-2B02-6D0D0F8BBDB9}"/>
          </ac:spMkLst>
        </pc:spChg>
        <pc:spChg chg="add del mod modVis">
          <ac:chgData name="Muchahary, Frankle" userId="0f2bf491-0617-4378-90b8-89af8fa381b9" providerId="ADAL" clId="{90877F19-00D2-4A00-8128-E78E36266C9A}" dt="2023-11-08T07:15:18.798" v="169928"/>
          <ac:spMkLst>
            <pc:docMk/>
            <pc:sldMk cId="3649468413" sldId="370"/>
            <ac:spMk id="14" creationId="{AD12E855-EA5B-54B7-69C8-3D66C58A7520}"/>
          </ac:spMkLst>
        </pc:spChg>
        <pc:spChg chg="add del mod modVis">
          <ac:chgData name="Muchahary, Frankle" userId="0f2bf491-0617-4378-90b8-89af8fa381b9" providerId="ADAL" clId="{90877F19-00D2-4A00-8128-E78E36266C9A}" dt="2023-11-08T07:15:29.346" v="169955"/>
          <ac:spMkLst>
            <pc:docMk/>
            <pc:sldMk cId="3649468413" sldId="370"/>
            <ac:spMk id="15" creationId="{56B4013E-7CC5-8718-D50C-C56E625DFF1E}"/>
          </ac:spMkLst>
        </pc:spChg>
        <pc:spChg chg="add del mod modVis">
          <ac:chgData name="Muchahary, Frankle" userId="0f2bf491-0617-4378-90b8-89af8fa381b9" providerId="ADAL" clId="{90877F19-00D2-4A00-8128-E78E36266C9A}" dt="2023-11-05T17:31:33.987" v="146256"/>
          <ac:spMkLst>
            <pc:docMk/>
            <pc:sldMk cId="3649468413" sldId="370"/>
            <ac:spMk id="15" creationId="{8B215783-EDEF-4B2C-7127-10178C5B92DF}"/>
          </ac:spMkLst>
        </pc:spChg>
        <pc:spChg chg="add del mod modVis">
          <ac:chgData name="Muchahary, Frankle" userId="0f2bf491-0617-4378-90b8-89af8fa381b9" providerId="ADAL" clId="{90877F19-00D2-4A00-8128-E78E36266C9A}" dt="2023-11-08T07:15:35.119" v="169982"/>
          <ac:spMkLst>
            <pc:docMk/>
            <pc:sldMk cId="3649468413" sldId="370"/>
            <ac:spMk id="16" creationId="{8C167F0A-32CA-963A-FF02-FAAD173D5B3F}"/>
          </ac:spMkLst>
        </pc:spChg>
        <pc:spChg chg="add del mod modVis">
          <ac:chgData name="Muchahary, Frankle" userId="0f2bf491-0617-4378-90b8-89af8fa381b9" providerId="ADAL" clId="{90877F19-00D2-4A00-8128-E78E36266C9A}" dt="2023-11-05T17:31:35.580" v="146284"/>
          <ac:spMkLst>
            <pc:docMk/>
            <pc:sldMk cId="3649468413" sldId="370"/>
            <ac:spMk id="16" creationId="{C81E8C6B-9372-C047-0FF9-8F49BC203688}"/>
          </ac:spMkLst>
        </pc:spChg>
        <pc:spChg chg="add del mod modVis">
          <ac:chgData name="Muchahary, Frankle" userId="0f2bf491-0617-4378-90b8-89af8fa381b9" providerId="ADAL" clId="{90877F19-00D2-4A00-8128-E78E36266C9A}" dt="2023-11-05T17:31:36.512" v="146325"/>
          <ac:spMkLst>
            <pc:docMk/>
            <pc:sldMk cId="3649468413" sldId="370"/>
            <ac:spMk id="17" creationId="{33083FD7-1758-807F-ADC5-B0CF24AA1764}"/>
          </ac:spMkLst>
        </pc:spChg>
        <pc:spChg chg="add del mod modVis">
          <ac:chgData name="Muchahary, Frankle" userId="0f2bf491-0617-4378-90b8-89af8fa381b9" providerId="ADAL" clId="{90877F19-00D2-4A00-8128-E78E36266C9A}" dt="2023-11-05T17:31:43.229" v="146389"/>
          <ac:spMkLst>
            <pc:docMk/>
            <pc:sldMk cId="3649468413" sldId="370"/>
            <ac:spMk id="18" creationId="{DF12FD4D-DB94-E3EC-DE30-E566BD38BA06}"/>
          </ac:spMkLst>
        </pc:spChg>
        <pc:spChg chg="add del mod modVis">
          <ac:chgData name="Muchahary, Frankle" userId="0f2bf491-0617-4378-90b8-89af8fa381b9" providerId="ADAL" clId="{90877F19-00D2-4A00-8128-E78E36266C9A}" dt="2023-11-05T21:40:01.878" v="153306"/>
          <ac:spMkLst>
            <pc:docMk/>
            <pc:sldMk cId="3649468413" sldId="370"/>
            <ac:spMk id="19" creationId="{0C1CAC3A-F39A-50B7-84DE-FDD6F3EA7AFC}"/>
          </ac:spMkLst>
        </pc:spChg>
        <pc:spChg chg="mod">
          <ac:chgData name="Muchahary, Frankle" userId="0f2bf491-0617-4378-90b8-89af8fa381b9" providerId="ADAL" clId="{90877F19-00D2-4A00-8128-E78E36266C9A}" dt="2023-11-05T17:59:03.312" v="147046" actId="20577"/>
          <ac:spMkLst>
            <pc:docMk/>
            <pc:sldMk cId="3649468413" sldId="370"/>
            <ac:spMk id="21" creationId="{90B4EF33-158D-5480-D8C1-7533D1B16D9B}"/>
          </ac:spMkLst>
        </pc:spChg>
        <pc:spChg chg="mod">
          <ac:chgData name="Muchahary, Frankle" userId="0f2bf491-0617-4378-90b8-89af8fa381b9" providerId="ADAL" clId="{90877F19-00D2-4A00-8128-E78E36266C9A}" dt="2023-11-08T05:43:21.775" v="163028" actId="1076"/>
          <ac:spMkLst>
            <pc:docMk/>
            <pc:sldMk cId="3649468413" sldId="370"/>
            <ac:spMk id="47" creationId="{C0C4B183-EC15-1CF8-EF03-CC4A23F76B8A}"/>
          </ac:spMkLst>
        </pc:spChg>
        <pc:spChg chg="mod">
          <ac:chgData name="Muchahary, Frankle" userId="0f2bf491-0617-4378-90b8-89af8fa381b9" providerId="ADAL" clId="{90877F19-00D2-4A00-8128-E78E36266C9A}" dt="2023-11-05T18:02:10.433" v="147251" actId="113"/>
          <ac:spMkLst>
            <pc:docMk/>
            <pc:sldMk cId="3649468413" sldId="370"/>
            <ac:spMk id="73" creationId="{E39B8983-DE77-65AC-6602-2C0D36B40C71}"/>
          </ac:spMkLst>
        </pc:spChg>
        <pc:spChg chg="mod">
          <ac:chgData name="Muchahary, Frankle" userId="0f2bf491-0617-4378-90b8-89af8fa381b9" providerId="ADAL" clId="{90877F19-00D2-4A00-8128-E78E36266C9A}" dt="2023-11-05T18:02:52.858" v="147362" actId="113"/>
          <ac:spMkLst>
            <pc:docMk/>
            <pc:sldMk cId="3649468413" sldId="370"/>
            <ac:spMk id="87" creationId="{3C7B8F76-76F8-9263-578B-D8FF2818A74D}"/>
          </ac:spMkLst>
        </pc:spChg>
        <pc:spChg chg="del">
          <ac:chgData name="Muchahary, Frankle" userId="0f2bf491-0617-4378-90b8-89af8fa381b9" providerId="ADAL" clId="{90877F19-00D2-4A00-8128-E78E36266C9A}" dt="2023-11-05T17:37:03.778" v="146483" actId="478"/>
          <ac:spMkLst>
            <pc:docMk/>
            <pc:sldMk cId="3649468413" sldId="370"/>
            <ac:spMk id="120" creationId="{88B6507C-E1A4-EE31-50D6-BF71BBCA20CE}"/>
          </ac:spMkLst>
        </pc:spChg>
        <pc:spChg chg="mod">
          <ac:chgData name="Muchahary, Frankle" userId="0f2bf491-0617-4378-90b8-89af8fa381b9" providerId="ADAL" clId="{90877F19-00D2-4A00-8128-E78E36266C9A}" dt="2023-11-08T05:43:21.775" v="163028" actId="1076"/>
          <ac:spMkLst>
            <pc:docMk/>
            <pc:sldMk cId="3649468413" sldId="370"/>
            <ac:spMk id="121" creationId="{62B92ED7-0B68-38F3-F74A-0C0D7734C880}"/>
          </ac:spMkLst>
        </pc:spChg>
        <pc:grpChg chg="mod">
          <ac:chgData name="Muchahary, Frankle" userId="0f2bf491-0617-4378-90b8-89af8fa381b9" providerId="ADAL" clId="{90877F19-00D2-4A00-8128-E78E36266C9A}" dt="2023-11-08T05:43:21.775" v="163028" actId="1076"/>
          <ac:grpSpMkLst>
            <pc:docMk/>
            <pc:sldMk cId="3649468413" sldId="370"/>
            <ac:grpSpMk id="34" creationId="{6BEF6E4D-5B36-182B-53E4-6C52AEFA354E}"/>
          </ac:grpSpMkLst>
        </pc:grpChg>
        <pc:graphicFrameChg chg="mod">
          <ac:chgData name="Muchahary, Frankle" userId="0f2bf491-0617-4378-90b8-89af8fa381b9" providerId="ADAL" clId="{90877F19-00D2-4A00-8128-E78E36266C9A}" dt="2023-11-08T07:15:35.121" v="169984"/>
          <ac:graphicFrameMkLst>
            <pc:docMk/>
            <pc:sldMk cId="3649468413" sldId="370"/>
            <ac:graphicFrameMk id="4" creationId="{FD4A65FB-339A-B2BC-4155-257FFC3BBBB9}"/>
          </ac:graphicFrameMkLst>
        </pc:graphicFrameChg>
        <pc:picChg chg="mod">
          <ac:chgData name="Muchahary, Frankle" userId="0f2bf491-0617-4378-90b8-89af8fa381b9" providerId="ADAL" clId="{90877F19-00D2-4A00-8128-E78E36266C9A}" dt="2023-11-08T05:43:21.775" v="163028" actId="1076"/>
          <ac:picMkLst>
            <pc:docMk/>
            <pc:sldMk cId="3649468413" sldId="370"/>
            <ac:picMk id="113" creationId="{7B4B5499-F600-4BA9-0BCB-255FA09B4270}"/>
          </ac:picMkLst>
        </pc:picChg>
        <pc:picChg chg="del mod">
          <ac:chgData name="Muchahary, Frankle" userId="0f2bf491-0617-4378-90b8-89af8fa381b9" providerId="ADAL" clId="{90877F19-00D2-4A00-8128-E78E36266C9A}" dt="2023-11-05T17:37:04.970" v="146484" actId="478"/>
          <ac:picMkLst>
            <pc:docMk/>
            <pc:sldMk cId="3649468413" sldId="370"/>
            <ac:picMk id="116" creationId="{A1A78884-635D-7B81-90C8-E7BDD1EB3A58}"/>
          </ac:picMkLst>
        </pc:picChg>
        <pc:picChg chg="mod">
          <ac:chgData name="Muchahary, Frankle" userId="0f2bf491-0617-4378-90b8-89af8fa381b9" providerId="ADAL" clId="{90877F19-00D2-4A00-8128-E78E36266C9A}" dt="2023-11-08T05:43:21.775" v="163028" actId="1076"/>
          <ac:picMkLst>
            <pc:docMk/>
            <pc:sldMk cId="3649468413" sldId="370"/>
            <ac:picMk id="124" creationId="{B5855C86-D336-47A5-808A-4E77E1B21C4E}"/>
          </ac:picMkLst>
        </pc:picChg>
        <pc:cxnChg chg="mod">
          <ac:chgData name="Muchahary, Frankle" userId="0f2bf491-0617-4378-90b8-89af8fa381b9" providerId="ADAL" clId="{90877F19-00D2-4A00-8128-E78E36266C9A}" dt="2023-11-08T05:43:21.775" v="163028" actId="1076"/>
          <ac:cxnSpMkLst>
            <pc:docMk/>
            <pc:sldMk cId="3649468413" sldId="370"/>
            <ac:cxnSpMk id="96" creationId="{4EF1C26D-620F-4D8F-FDD6-86BDC1B5D99F}"/>
          </ac:cxnSpMkLst>
        </pc:cxnChg>
        <pc:cxnChg chg="mod">
          <ac:chgData name="Muchahary, Frankle" userId="0f2bf491-0617-4378-90b8-89af8fa381b9" providerId="ADAL" clId="{90877F19-00D2-4A00-8128-E78E36266C9A}" dt="2023-11-08T05:43:21.775" v="163028" actId="1076"/>
          <ac:cxnSpMkLst>
            <pc:docMk/>
            <pc:sldMk cId="3649468413" sldId="370"/>
            <ac:cxnSpMk id="108" creationId="{E0A1937A-06B5-76CE-CB29-D7596ED4DFA8}"/>
          </ac:cxnSpMkLst>
        </pc:cxnChg>
        <pc:cxnChg chg="del mod">
          <ac:chgData name="Muchahary, Frankle" userId="0f2bf491-0617-4378-90b8-89af8fa381b9" providerId="ADAL" clId="{90877F19-00D2-4A00-8128-E78E36266C9A}" dt="2023-11-05T17:37:08.518" v="146487" actId="478"/>
          <ac:cxnSpMkLst>
            <pc:docMk/>
            <pc:sldMk cId="3649468413" sldId="370"/>
            <ac:cxnSpMk id="118" creationId="{E0A1600F-CD1C-36CE-11DE-472FAF1EC878}"/>
          </ac:cxnSpMkLst>
        </pc:cxnChg>
      </pc:sldChg>
      <pc:sldChg chg="addSp delSp modSp add mod modClrScheme modAnim chgLayout">
        <pc:chgData name="Muchahary, Frankle" userId="0f2bf491-0617-4378-90b8-89af8fa381b9" providerId="ADAL" clId="{90877F19-00D2-4A00-8128-E78E36266C9A}" dt="2023-11-08T07:09:55.107" v="169267"/>
        <pc:sldMkLst>
          <pc:docMk/>
          <pc:sldMk cId="2267929564" sldId="371"/>
        </pc:sldMkLst>
        <pc:spChg chg="add del mod modVis">
          <ac:chgData name="Muchahary, Frankle" userId="0f2bf491-0617-4378-90b8-89af8fa381b9" providerId="ADAL" clId="{90877F19-00D2-4A00-8128-E78E36266C9A}" dt="2023-11-05T17:53:06.895" v="146991"/>
          <ac:spMkLst>
            <pc:docMk/>
            <pc:sldMk cId="2267929564" sldId="371"/>
            <ac:spMk id="2" creationId="{40529931-1B64-78D7-0D13-06C25422AC3C}"/>
          </ac:spMkLst>
        </pc:spChg>
        <pc:spChg chg="add del mod ord">
          <ac:chgData name="Muchahary, Frankle" userId="0f2bf491-0617-4378-90b8-89af8fa381b9" providerId="ADAL" clId="{90877F19-00D2-4A00-8128-E78E36266C9A}" dt="2023-11-08T07:09:55.070" v="169242"/>
          <ac:spMkLst>
            <pc:docMk/>
            <pc:sldMk cId="2267929564" sldId="371"/>
            <ac:spMk id="3" creationId="{62A1BD13-29CB-D6ED-22CC-D90A70D0279D}"/>
          </ac:spMkLst>
        </pc:spChg>
        <pc:spChg chg="add del mod modVis">
          <ac:chgData name="Muchahary, Frankle" userId="0f2bf491-0617-4378-90b8-89af8fa381b9" providerId="ADAL" clId="{90877F19-00D2-4A00-8128-E78E36266C9A}" dt="2023-11-05T17:53:11.460" v="147027"/>
          <ac:spMkLst>
            <pc:docMk/>
            <pc:sldMk cId="2267929564" sldId="371"/>
            <ac:spMk id="5" creationId="{57F9F8EF-3268-4311-405B-10FE65393592}"/>
          </ac:spMkLst>
        </pc:spChg>
        <pc:spChg chg="add del mod">
          <ac:chgData name="Muchahary, Frankle" userId="0f2bf491-0617-4378-90b8-89af8fa381b9" providerId="ADAL" clId="{90877F19-00D2-4A00-8128-E78E36266C9A}" dt="2023-11-08T07:07:33.796" v="168461"/>
          <ac:spMkLst>
            <pc:docMk/>
            <pc:sldMk cId="2267929564" sldId="371"/>
            <ac:spMk id="6" creationId="{8D677BC3-E9E8-7953-8ECD-116574E55D29}"/>
          </ac:spMkLst>
        </pc:spChg>
        <pc:spChg chg="add del mod modVis">
          <ac:chgData name="Muchahary, Frankle" userId="0f2bf491-0617-4378-90b8-89af8fa381b9" providerId="ADAL" clId="{90877F19-00D2-4A00-8128-E78E36266C9A}" dt="2023-11-08T07:07:40.708" v="168500"/>
          <ac:spMkLst>
            <pc:docMk/>
            <pc:sldMk cId="2267929564" sldId="371"/>
            <ac:spMk id="7" creationId="{EF5ACB4C-CAD7-11F0-707F-00C12155C1EC}"/>
          </ac:spMkLst>
        </pc:spChg>
        <pc:spChg chg="add del mod modVis">
          <ac:chgData name="Muchahary, Frankle" userId="0f2bf491-0617-4378-90b8-89af8fa381b9" providerId="ADAL" clId="{90877F19-00D2-4A00-8128-E78E36266C9A}" dt="2023-11-08T07:07:53.924" v="168535"/>
          <ac:spMkLst>
            <pc:docMk/>
            <pc:sldMk cId="2267929564" sldId="371"/>
            <ac:spMk id="8" creationId="{5F73B4F2-6C08-049E-492D-0D4E9C5163FD}"/>
          </ac:spMkLst>
        </pc:spChg>
        <pc:spChg chg="add del mod modVis">
          <ac:chgData name="Muchahary, Frankle" userId="0f2bf491-0617-4378-90b8-89af8fa381b9" providerId="ADAL" clId="{90877F19-00D2-4A00-8128-E78E36266C9A}" dt="2023-11-08T07:08:23.448" v="168570"/>
          <ac:spMkLst>
            <pc:docMk/>
            <pc:sldMk cId="2267929564" sldId="371"/>
            <ac:spMk id="9" creationId="{BC9E6F26-511C-771C-BB71-CE1AA1F7B731}"/>
          </ac:spMkLst>
        </pc:spChg>
        <pc:spChg chg="add del mod modVis">
          <ac:chgData name="Muchahary, Frankle" userId="0f2bf491-0617-4378-90b8-89af8fa381b9" providerId="ADAL" clId="{90877F19-00D2-4A00-8128-E78E36266C9A}" dt="2023-11-08T07:08:28.127" v="168597"/>
          <ac:spMkLst>
            <pc:docMk/>
            <pc:sldMk cId="2267929564" sldId="371"/>
            <ac:spMk id="10" creationId="{4B5081D2-3AB1-37D9-00C3-95EF836558CE}"/>
          </ac:spMkLst>
        </pc:spChg>
        <pc:spChg chg="add del mod modVis">
          <ac:chgData name="Muchahary, Frankle" userId="0f2bf491-0617-4378-90b8-89af8fa381b9" providerId="ADAL" clId="{90877F19-00D2-4A00-8128-E78E36266C9A}" dt="2023-11-08T07:08:30.722" v="168630"/>
          <ac:spMkLst>
            <pc:docMk/>
            <pc:sldMk cId="2267929564" sldId="371"/>
            <ac:spMk id="12" creationId="{D37ADD4B-75A2-C183-A8C8-92E34B504C99}"/>
          </ac:spMkLst>
        </pc:spChg>
        <pc:spChg chg="add del mod modVis">
          <ac:chgData name="Muchahary, Frankle" userId="0f2bf491-0617-4378-90b8-89af8fa381b9" providerId="ADAL" clId="{90877F19-00D2-4A00-8128-E78E36266C9A}" dt="2023-11-08T07:08:35.127" v="168657"/>
          <ac:spMkLst>
            <pc:docMk/>
            <pc:sldMk cId="2267929564" sldId="371"/>
            <ac:spMk id="13" creationId="{7B3220FF-FE95-81B6-E109-E6136EC5B6D9}"/>
          </ac:spMkLst>
        </pc:spChg>
        <pc:spChg chg="add del mod modVis">
          <ac:chgData name="Muchahary, Frankle" userId="0f2bf491-0617-4378-90b8-89af8fa381b9" providerId="ADAL" clId="{90877F19-00D2-4A00-8128-E78E36266C9A}" dt="2023-11-08T07:08:37.114" v="168684"/>
          <ac:spMkLst>
            <pc:docMk/>
            <pc:sldMk cId="2267929564" sldId="371"/>
            <ac:spMk id="15" creationId="{76FFC6A9-3F2B-B09F-5A62-BA47F73BAC29}"/>
          </ac:spMkLst>
        </pc:spChg>
        <pc:spChg chg="add del mod modVis">
          <ac:chgData name="Muchahary, Frankle" userId="0f2bf491-0617-4378-90b8-89af8fa381b9" providerId="ADAL" clId="{90877F19-00D2-4A00-8128-E78E36266C9A}" dt="2023-11-08T07:08:53.534" v="168711"/>
          <ac:spMkLst>
            <pc:docMk/>
            <pc:sldMk cId="2267929564" sldId="371"/>
            <ac:spMk id="16" creationId="{42CE34EE-7165-D2FF-EFB3-269EDB920AF4}"/>
          </ac:spMkLst>
        </pc:spChg>
        <pc:spChg chg="add del mod modVis">
          <ac:chgData name="Muchahary, Frankle" userId="0f2bf491-0617-4378-90b8-89af8fa381b9" providerId="ADAL" clId="{90877F19-00D2-4A00-8128-E78E36266C9A}" dt="2023-11-08T07:08:54.438" v="168738"/>
          <ac:spMkLst>
            <pc:docMk/>
            <pc:sldMk cId="2267929564" sldId="371"/>
            <ac:spMk id="17" creationId="{F8BB8277-4540-66D2-6AAB-1FEA9FA6F8AD}"/>
          </ac:spMkLst>
        </pc:spChg>
        <pc:spChg chg="add del mod modVis">
          <ac:chgData name="Muchahary, Frankle" userId="0f2bf491-0617-4378-90b8-89af8fa381b9" providerId="ADAL" clId="{90877F19-00D2-4A00-8128-E78E36266C9A}" dt="2023-11-08T07:08:59.909" v="168788"/>
          <ac:spMkLst>
            <pc:docMk/>
            <pc:sldMk cId="2267929564" sldId="371"/>
            <ac:spMk id="18" creationId="{A8546D86-D55C-DE13-7B93-CB7B840906CD}"/>
          </ac:spMkLst>
        </pc:spChg>
        <pc:spChg chg="add del mod modVis">
          <ac:chgData name="Muchahary, Frankle" userId="0f2bf491-0617-4378-90b8-89af8fa381b9" providerId="ADAL" clId="{90877F19-00D2-4A00-8128-E78E36266C9A}" dt="2023-11-08T07:09:03.705" v="168840"/>
          <ac:spMkLst>
            <pc:docMk/>
            <pc:sldMk cId="2267929564" sldId="371"/>
            <ac:spMk id="19" creationId="{C8EB11C4-3A52-5991-FDA3-316B9F8F6E1B}"/>
          </ac:spMkLst>
        </pc:spChg>
        <pc:spChg chg="add del mod modVis">
          <ac:chgData name="Muchahary, Frankle" userId="0f2bf491-0617-4378-90b8-89af8fa381b9" providerId="ADAL" clId="{90877F19-00D2-4A00-8128-E78E36266C9A}" dt="2023-11-08T07:09:06.958" v="168888"/>
          <ac:spMkLst>
            <pc:docMk/>
            <pc:sldMk cId="2267929564" sldId="371"/>
            <ac:spMk id="23" creationId="{F9FDCF93-D1D0-084D-B109-C27D78C3ED75}"/>
          </ac:spMkLst>
        </pc:spChg>
        <pc:spChg chg="add del mod modVis">
          <ac:chgData name="Muchahary, Frankle" userId="0f2bf491-0617-4378-90b8-89af8fa381b9" providerId="ADAL" clId="{90877F19-00D2-4A00-8128-E78E36266C9A}" dt="2023-11-08T07:09:07.915" v="168915"/>
          <ac:spMkLst>
            <pc:docMk/>
            <pc:sldMk cId="2267929564" sldId="371"/>
            <ac:spMk id="26" creationId="{337686AD-71EB-EC9A-E713-4F938572E4B6}"/>
          </ac:spMkLst>
        </pc:spChg>
        <pc:spChg chg="add del mod modVis">
          <ac:chgData name="Muchahary, Frankle" userId="0f2bf491-0617-4378-90b8-89af8fa381b9" providerId="ADAL" clId="{90877F19-00D2-4A00-8128-E78E36266C9A}" dt="2023-11-08T07:09:17.312" v="168968"/>
          <ac:spMkLst>
            <pc:docMk/>
            <pc:sldMk cId="2267929564" sldId="371"/>
            <ac:spMk id="28" creationId="{D652961F-0C55-718B-7931-1569AAAF9BC0}"/>
          </ac:spMkLst>
        </pc:spChg>
        <pc:spChg chg="add del mod modVis">
          <ac:chgData name="Muchahary, Frankle" userId="0f2bf491-0617-4378-90b8-89af8fa381b9" providerId="ADAL" clId="{90877F19-00D2-4A00-8128-E78E36266C9A}" dt="2023-11-08T07:09:19.527" v="169003"/>
          <ac:spMkLst>
            <pc:docMk/>
            <pc:sldMk cId="2267929564" sldId="371"/>
            <ac:spMk id="29" creationId="{DF42BED2-3BA3-B8F5-277F-36F212024F69}"/>
          </ac:spMkLst>
        </pc:spChg>
        <pc:spChg chg="add del mod modVis">
          <ac:chgData name="Muchahary, Frankle" userId="0f2bf491-0617-4378-90b8-89af8fa381b9" providerId="ADAL" clId="{90877F19-00D2-4A00-8128-E78E36266C9A}" dt="2023-11-08T07:09:22.338" v="169031"/>
          <ac:spMkLst>
            <pc:docMk/>
            <pc:sldMk cId="2267929564" sldId="371"/>
            <ac:spMk id="30" creationId="{A957BD63-D6C7-601E-657E-39D8706635E2}"/>
          </ac:spMkLst>
        </pc:spChg>
        <pc:spChg chg="add del mod modVis">
          <ac:chgData name="Muchahary, Frankle" userId="0f2bf491-0617-4378-90b8-89af8fa381b9" providerId="ADAL" clId="{90877F19-00D2-4A00-8128-E78E36266C9A}" dt="2023-11-08T07:09:23.402" v="169060"/>
          <ac:spMkLst>
            <pc:docMk/>
            <pc:sldMk cId="2267929564" sldId="371"/>
            <ac:spMk id="34" creationId="{2DCD0291-A9D2-059D-8421-8F3C3E2504CD}"/>
          </ac:spMkLst>
        </pc:spChg>
        <pc:spChg chg="add del mod modVis">
          <ac:chgData name="Muchahary, Frankle" userId="0f2bf491-0617-4378-90b8-89af8fa381b9" providerId="ADAL" clId="{90877F19-00D2-4A00-8128-E78E36266C9A}" dt="2023-11-08T07:09:24.068" v="169087"/>
          <ac:spMkLst>
            <pc:docMk/>
            <pc:sldMk cId="2267929564" sldId="371"/>
            <ac:spMk id="35" creationId="{67C29821-6337-7325-8E1A-7DF1C8D5B8A1}"/>
          </ac:spMkLst>
        </pc:spChg>
        <pc:spChg chg="add del mod modVis">
          <ac:chgData name="Muchahary, Frankle" userId="0f2bf491-0617-4378-90b8-89af8fa381b9" providerId="ADAL" clId="{90877F19-00D2-4A00-8128-E78E36266C9A}" dt="2023-11-08T07:09:25.042" v="169117"/>
          <ac:spMkLst>
            <pc:docMk/>
            <pc:sldMk cId="2267929564" sldId="371"/>
            <ac:spMk id="36" creationId="{4AC44EFC-8BF0-8549-ECC7-73AE72ABC2F0}"/>
          </ac:spMkLst>
        </pc:spChg>
        <pc:spChg chg="add del mod modVis">
          <ac:chgData name="Muchahary, Frankle" userId="0f2bf491-0617-4378-90b8-89af8fa381b9" providerId="ADAL" clId="{90877F19-00D2-4A00-8128-E78E36266C9A}" dt="2023-11-08T07:09:27.467" v="169155"/>
          <ac:spMkLst>
            <pc:docMk/>
            <pc:sldMk cId="2267929564" sldId="371"/>
            <ac:spMk id="37" creationId="{EBBF04D0-7951-D1A6-DF7B-00ED8F8778B7}"/>
          </ac:spMkLst>
        </pc:spChg>
        <pc:spChg chg="add del mod modVis">
          <ac:chgData name="Muchahary, Frankle" userId="0f2bf491-0617-4378-90b8-89af8fa381b9" providerId="ADAL" clId="{90877F19-00D2-4A00-8128-E78E36266C9A}" dt="2023-11-08T07:09:46.130" v="169184"/>
          <ac:spMkLst>
            <pc:docMk/>
            <pc:sldMk cId="2267929564" sldId="371"/>
            <ac:spMk id="38" creationId="{50C16137-E642-9B06-673B-EDEDD5239F9D}"/>
          </ac:spMkLst>
        </pc:spChg>
        <pc:spChg chg="add del mod modVis">
          <ac:chgData name="Muchahary, Frankle" userId="0f2bf491-0617-4378-90b8-89af8fa381b9" providerId="ADAL" clId="{90877F19-00D2-4A00-8128-E78E36266C9A}" dt="2023-11-08T07:09:49.656" v="169211"/>
          <ac:spMkLst>
            <pc:docMk/>
            <pc:sldMk cId="2267929564" sldId="371"/>
            <ac:spMk id="39" creationId="{4B7A9BA3-2EEE-D677-83AF-1FFDAC50BAB9}"/>
          </ac:spMkLst>
        </pc:spChg>
        <pc:spChg chg="add del mod modVis">
          <ac:chgData name="Muchahary, Frankle" userId="0f2bf491-0617-4378-90b8-89af8fa381b9" providerId="ADAL" clId="{90877F19-00D2-4A00-8128-E78E36266C9A}" dt="2023-11-08T07:09:53.413" v="169238"/>
          <ac:spMkLst>
            <pc:docMk/>
            <pc:sldMk cId="2267929564" sldId="371"/>
            <ac:spMk id="40" creationId="{797465EE-B464-2476-DC5A-7082116A24E0}"/>
          </ac:spMkLst>
        </pc:spChg>
        <pc:spChg chg="add del mod modVis">
          <ac:chgData name="Muchahary, Frankle" userId="0f2bf491-0617-4378-90b8-89af8fa381b9" providerId="ADAL" clId="{90877F19-00D2-4A00-8128-E78E36266C9A}" dt="2023-11-08T07:09:55.104" v="169265"/>
          <ac:spMkLst>
            <pc:docMk/>
            <pc:sldMk cId="2267929564" sldId="371"/>
            <ac:spMk id="41" creationId="{D7F8BA91-9D4F-CD73-5550-A8E4BAE6D7EA}"/>
          </ac:spMkLst>
        </pc:spChg>
        <pc:spChg chg="mod">
          <ac:chgData name="Muchahary, Frankle" userId="0f2bf491-0617-4378-90b8-89af8fa381b9" providerId="ADAL" clId="{90877F19-00D2-4A00-8128-E78E36266C9A}" dt="2023-11-08T05:42:45.263" v="163022" actId="1076"/>
          <ac:spMkLst>
            <pc:docMk/>
            <pc:sldMk cId="2267929564" sldId="371"/>
            <ac:spMk id="47" creationId="{C0C4B183-EC15-1CF8-EF03-CC4A23F76B8A}"/>
          </ac:spMkLst>
        </pc:spChg>
        <pc:spChg chg="mod">
          <ac:chgData name="Muchahary, Frankle" userId="0f2bf491-0617-4378-90b8-89af8fa381b9" providerId="ADAL" clId="{90877F19-00D2-4A00-8128-E78E36266C9A}" dt="2023-11-05T17:54:44.481" v="147040" actId="1076"/>
          <ac:spMkLst>
            <pc:docMk/>
            <pc:sldMk cId="2267929564" sldId="371"/>
            <ac:spMk id="54" creationId="{DAA88CFF-AE49-D57A-2166-C06E54586504}"/>
          </ac:spMkLst>
        </pc:spChg>
        <pc:spChg chg="mod">
          <ac:chgData name="Muchahary, Frankle" userId="0f2bf491-0617-4378-90b8-89af8fa381b9" providerId="ADAL" clId="{90877F19-00D2-4A00-8128-E78E36266C9A}" dt="2023-11-05T17:54:44.481" v="147040" actId="1076"/>
          <ac:spMkLst>
            <pc:docMk/>
            <pc:sldMk cId="2267929564" sldId="371"/>
            <ac:spMk id="57" creationId="{5C5F1A32-F401-DBD4-90EC-F7616CE22E7D}"/>
          </ac:spMkLst>
        </pc:spChg>
        <pc:spChg chg="mod">
          <ac:chgData name="Muchahary, Frankle" userId="0f2bf491-0617-4378-90b8-89af8fa381b9" providerId="ADAL" clId="{90877F19-00D2-4A00-8128-E78E36266C9A}" dt="2023-11-05T17:54:44.481" v="147040" actId="1076"/>
          <ac:spMkLst>
            <pc:docMk/>
            <pc:sldMk cId="2267929564" sldId="371"/>
            <ac:spMk id="70" creationId="{4DADF261-8868-92BC-E121-32258FB35B07}"/>
          </ac:spMkLst>
        </pc:spChg>
        <pc:spChg chg="mod">
          <ac:chgData name="Muchahary, Frankle" userId="0f2bf491-0617-4378-90b8-89af8fa381b9" providerId="ADAL" clId="{90877F19-00D2-4A00-8128-E78E36266C9A}" dt="2023-11-05T17:55:06.266" v="147041"/>
          <ac:spMkLst>
            <pc:docMk/>
            <pc:sldMk cId="2267929564" sldId="371"/>
            <ac:spMk id="73" creationId="{E39B8983-DE77-65AC-6602-2C0D36B40C71}"/>
          </ac:spMkLst>
        </pc:spChg>
        <pc:spChg chg="mod">
          <ac:chgData name="Muchahary, Frankle" userId="0f2bf491-0617-4378-90b8-89af8fa381b9" providerId="ADAL" clId="{90877F19-00D2-4A00-8128-E78E36266C9A}" dt="2023-11-05T17:54:44.481" v="147040" actId="1076"/>
          <ac:spMkLst>
            <pc:docMk/>
            <pc:sldMk cId="2267929564" sldId="371"/>
            <ac:spMk id="87" creationId="{3C7B8F76-76F8-9263-578B-D8FF2818A74D}"/>
          </ac:spMkLst>
        </pc:spChg>
        <pc:spChg chg="mod">
          <ac:chgData name="Muchahary, Frankle" userId="0f2bf491-0617-4378-90b8-89af8fa381b9" providerId="ADAL" clId="{90877F19-00D2-4A00-8128-E78E36266C9A}" dt="2023-11-08T05:42:45.263" v="163022" actId="1076"/>
          <ac:spMkLst>
            <pc:docMk/>
            <pc:sldMk cId="2267929564" sldId="371"/>
            <ac:spMk id="120" creationId="{88B6507C-E1A4-EE31-50D6-BF71BBCA20CE}"/>
          </ac:spMkLst>
        </pc:spChg>
        <pc:spChg chg="mod">
          <ac:chgData name="Muchahary, Frankle" userId="0f2bf491-0617-4378-90b8-89af8fa381b9" providerId="ADAL" clId="{90877F19-00D2-4A00-8128-E78E36266C9A}" dt="2023-11-08T05:42:45.263" v="163022" actId="1076"/>
          <ac:spMkLst>
            <pc:docMk/>
            <pc:sldMk cId="2267929564" sldId="371"/>
            <ac:spMk id="121" creationId="{62B92ED7-0B68-38F3-F74A-0C0D7734C880}"/>
          </ac:spMkLst>
        </pc:spChg>
        <pc:grpChg chg="mod">
          <ac:chgData name="Muchahary, Frankle" userId="0f2bf491-0617-4378-90b8-89af8fa381b9" providerId="ADAL" clId="{90877F19-00D2-4A00-8128-E78E36266C9A}" dt="2023-11-08T05:42:45.263" v="163022" actId="1076"/>
          <ac:grpSpMkLst>
            <pc:docMk/>
            <pc:sldMk cId="2267929564" sldId="371"/>
            <ac:grpSpMk id="14" creationId="{050B3CE2-F980-F0E2-4F87-7456A8BAC940}"/>
          </ac:grpSpMkLst>
        </pc:grpChg>
        <pc:grpChg chg="mod">
          <ac:chgData name="Muchahary, Frankle" userId="0f2bf491-0617-4378-90b8-89af8fa381b9" providerId="ADAL" clId="{90877F19-00D2-4A00-8128-E78E36266C9A}" dt="2023-11-05T17:54:44.481" v="147040" actId="1076"/>
          <ac:grpSpMkLst>
            <pc:docMk/>
            <pc:sldMk cId="2267929564" sldId="371"/>
            <ac:grpSpMk id="53" creationId="{283E8311-CEE4-39BE-A300-CB856EE24753}"/>
          </ac:grpSpMkLst>
        </pc:grpChg>
        <pc:grpChg chg="mod">
          <ac:chgData name="Muchahary, Frankle" userId="0f2bf491-0617-4378-90b8-89af8fa381b9" providerId="ADAL" clId="{90877F19-00D2-4A00-8128-E78E36266C9A}" dt="2023-11-05T17:54:44.481" v="147040" actId="1076"/>
          <ac:grpSpMkLst>
            <pc:docMk/>
            <pc:sldMk cId="2267929564" sldId="371"/>
            <ac:grpSpMk id="71" creationId="{56118B30-E879-BD52-3ED1-A141EE9B3DA3}"/>
          </ac:grpSpMkLst>
        </pc:grpChg>
        <pc:grpChg chg="mod">
          <ac:chgData name="Muchahary, Frankle" userId="0f2bf491-0617-4378-90b8-89af8fa381b9" providerId="ADAL" clId="{90877F19-00D2-4A00-8128-E78E36266C9A}" dt="2023-11-05T17:54:44.481" v="147040" actId="1076"/>
          <ac:grpSpMkLst>
            <pc:docMk/>
            <pc:sldMk cId="2267929564" sldId="371"/>
            <ac:grpSpMk id="88" creationId="{59FBEB72-852F-A047-8ED3-7F641792809F}"/>
          </ac:grpSpMkLst>
        </pc:grpChg>
        <pc:graphicFrameChg chg="mod">
          <ac:chgData name="Muchahary, Frankle" userId="0f2bf491-0617-4378-90b8-89af8fa381b9" providerId="ADAL" clId="{90877F19-00D2-4A00-8128-E78E36266C9A}" dt="2023-11-08T07:09:55.107" v="169267"/>
          <ac:graphicFrameMkLst>
            <pc:docMk/>
            <pc:sldMk cId="2267929564" sldId="371"/>
            <ac:graphicFrameMk id="4" creationId="{FD4A65FB-339A-B2BC-4155-257FFC3BBBB9}"/>
          </ac:graphicFrameMkLst>
        </pc:graphicFrameChg>
        <pc:picChg chg="mod">
          <ac:chgData name="Muchahary, Frankle" userId="0f2bf491-0617-4378-90b8-89af8fa381b9" providerId="ADAL" clId="{90877F19-00D2-4A00-8128-E78E36266C9A}" dt="2023-11-08T05:42:45.263" v="163022" actId="1076"/>
          <ac:picMkLst>
            <pc:docMk/>
            <pc:sldMk cId="2267929564" sldId="371"/>
            <ac:picMk id="113" creationId="{7B4B5499-F600-4BA9-0BCB-255FA09B4270}"/>
          </ac:picMkLst>
        </pc:picChg>
        <pc:picChg chg="mod">
          <ac:chgData name="Muchahary, Frankle" userId="0f2bf491-0617-4378-90b8-89af8fa381b9" providerId="ADAL" clId="{90877F19-00D2-4A00-8128-E78E36266C9A}" dt="2023-11-08T05:42:45.263" v="163022" actId="1076"/>
          <ac:picMkLst>
            <pc:docMk/>
            <pc:sldMk cId="2267929564" sldId="371"/>
            <ac:picMk id="116" creationId="{A1A78884-635D-7B81-90C8-E7BDD1EB3A58}"/>
          </ac:picMkLst>
        </pc:picChg>
        <pc:picChg chg="mod">
          <ac:chgData name="Muchahary, Frankle" userId="0f2bf491-0617-4378-90b8-89af8fa381b9" providerId="ADAL" clId="{90877F19-00D2-4A00-8128-E78E36266C9A}" dt="2023-11-08T05:42:45.263" v="163022" actId="1076"/>
          <ac:picMkLst>
            <pc:docMk/>
            <pc:sldMk cId="2267929564" sldId="371"/>
            <ac:picMk id="124" creationId="{B5855C86-D336-47A5-808A-4E77E1B21C4E}"/>
          </ac:picMkLst>
        </pc:picChg>
        <pc:cxnChg chg="mod">
          <ac:chgData name="Muchahary, Frankle" userId="0f2bf491-0617-4378-90b8-89af8fa381b9" providerId="ADAL" clId="{90877F19-00D2-4A00-8128-E78E36266C9A}" dt="2023-11-05T17:54:44.481" v="147040" actId="1076"/>
          <ac:cxnSpMkLst>
            <pc:docMk/>
            <pc:sldMk cId="2267929564" sldId="371"/>
            <ac:cxnSpMk id="55" creationId="{CCFB3FFD-9F5B-BEA9-847A-F144086BE84B}"/>
          </ac:cxnSpMkLst>
        </pc:cxnChg>
        <pc:cxnChg chg="mod">
          <ac:chgData name="Muchahary, Frankle" userId="0f2bf491-0617-4378-90b8-89af8fa381b9" providerId="ADAL" clId="{90877F19-00D2-4A00-8128-E78E36266C9A}" dt="2023-11-05T17:54:44.481" v="147040" actId="1076"/>
          <ac:cxnSpMkLst>
            <pc:docMk/>
            <pc:sldMk cId="2267929564" sldId="371"/>
            <ac:cxnSpMk id="59" creationId="{0D21AE3C-1E8A-0526-2FBA-2325C445FA86}"/>
          </ac:cxnSpMkLst>
        </pc:cxnChg>
        <pc:cxnChg chg="mod">
          <ac:chgData name="Muchahary, Frankle" userId="0f2bf491-0617-4378-90b8-89af8fa381b9" providerId="ADAL" clId="{90877F19-00D2-4A00-8128-E78E36266C9A}" dt="2023-11-08T05:42:45.263" v="163022" actId="1076"/>
          <ac:cxnSpMkLst>
            <pc:docMk/>
            <pc:sldMk cId="2267929564" sldId="371"/>
            <ac:cxnSpMk id="96" creationId="{4EF1C26D-620F-4D8F-FDD6-86BDC1B5D99F}"/>
          </ac:cxnSpMkLst>
        </pc:cxnChg>
        <pc:cxnChg chg="mod">
          <ac:chgData name="Muchahary, Frankle" userId="0f2bf491-0617-4378-90b8-89af8fa381b9" providerId="ADAL" clId="{90877F19-00D2-4A00-8128-E78E36266C9A}" dt="2023-11-08T05:42:45.263" v="163022" actId="1076"/>
          <ac:cxnSpMkLst>
            <pc:docMk/>
            <pc:sldMk cId="2267929564" sldId="371"/>
            <ac:cxnSpMk id="108" creationId="{E0A1937A-06B5-76CE-CB29-D7596ED4DFA8}"/>
          </ac:cxnSpMkLst>
        </pc:cxnChg>
        <pc:cxnChg chg="mod">
          <ac:chgData name="Muchahary, Frankle" userId="0f2bf491-0617-4378-90b8-89af8fa381b9" providerId="ADAL" clId="{90877F19-00D2-4A00-8128-E78E36266C9A}" dt="2023-11-08T05:42:45.263" v="163022" actId="1076"/>
          <ac:cxnSpMkLst>
            <pc:docMk/>
            <pc:sldMk cId="2267929564" sldId="371"/>
            <ac:cxnSpMk id="118" creationId="{E0A1600F-CD1C-36CE-11DE-472FAF1EC878}"/>
          </ac:cxnSpMkLst>
        </pc:cxnChg>
      </pc:sldChg>
      <pc:sldChg chg="addSp delSp modSp add mod modClrScheme chgLayout">
        <pc:chgData name="Muchahary, Frankle" userId="0f2bf491-0617-4378-90b8-89af8fa381b9" providerId="ADAL" clId="{90877F19-00D2-4A00-8128-E78E36266C9A}" dt="2023-11-08T22:36:21.362" v="183523"/>
        <pc:sldMkLst>
          <pc:docMk/>
          <pc:sldMk cId="160926467" sldId="372"/>
        </pc:sldMkLst>
        <pc:spChg chg="add del mod modVis">
          <ac:chgData name="Muchahary, Frankle" userId="0f2bf491-0617-4378-90b8-89af8fa381b9" providerId="ADAL" clId="{90877F19-00D2-4A00-8128-E78E36266C9A}" dt="2023-11-05T18:18:20.247" v="150927"/>
          <ac:spMkLst>
            <pc:docMk/>
            <pc:sldMk cId="160926467" sldId="372"/>
            <ac:spMk id="2" creationId="{1EB1C2A3-AAB4-46E9-8C20-1050057BF6DF}"/>
          </ac:spMkLst>
        </pc:spChg>
        <pc:spChg chg="mod ord">
          <ac:chgData name="Muchahary, Frankle" userId="0f2bf491-0617-4378-90b8-89af8fa381b9" providerId="ADAL" clId="{90877F19-00D2-4A00-8128-E78E36266C9A}" dt="2023-11-08T22:36:21.348" v="183515"/>
          <ac:spMkLst>
            <pc:docMk/>
            <pc:sldMk cId="160926467" sldId="372"/>
            <ac:spMk id="2" creationId="{9DA16071-248C-1861-259A-7DEC01F81EBD}"/>
          </ac:spMkLst>
        </pc:spChg>
        <pc:spChg chg="add del mod modVis">
          <ac:chgData name="Muchahary, Frankle" userId="0f2bf491-0617-4378-90b8-89af8fa381b9" providerId="ADAL" clId="{90877F19-00D2-4A00-8128-E78E36266C9A}" dt="2023-11-08T07:16:18.487" v="170036"/>
          <ac:spMkLst>
            <pc:docMk/>
            <pc:sldMk cId="160926467" sldId="372"/>
            <ac:spMk id="2" creationId="{BA7AB730-793A-3D0D-5A70-C317FCE97025}"/>
          </ac:spMkLst>
        </pc:spChg>
        <pc:spChg chg="mod ord">
          <ac:chgData name="Muchahary, Frankle" userId="0f2bf491-0617-4378-90b8-89af8fa381b9" providerId="ADAL" clId="{90877F19-00D2-4A00-8128-E78E36266C9A}" dt="2023-11-08T22:36:21.334" v="183477"/>
          <ac:spMkLst>
            <pc:docMk/>
            <pc:sldMk cId="160926467" sldId="372"/>
            <ac:spMk id="3" creationId="{62A1BD13-29CB-D6ED-22CC-D90A70D0279D}"/>
          </ac:spMkLst>
        </pc:spChg>
        <pc:spChg chg="del">
          <ac:chgData name="Muchahary, Frankle" userId="0f2bf491-0617-4378-90b8-89af8fa381b9" providerId="ADAL" clId="{90877F19-00D2-4A00-8128-E78E36266C9A}" dt="2023-11-08T17:38:08.154" v="172382"/>
          <ac:spMkLst>
            <pc:docMk/>
            <pc:sldMk cId="160926467" sldId="372"/>
            <ac:spMk id="5" creationId="{9CE9BBF8-C3B1-8518-50C5-FE6B4823C0F7}"/>
          </ac:spMkLst>
        </pc:spChg>
        <pc:spChg chg="del">
          <ac:chgData name="Muchahary, Frankle" userId="0f2bf491-0617-4378-90b8-89af8fa381b9" providerId="ADAL" clId="{90877F19-00D2-4A00-8128-E78E36266C9A}" dt="2023-11-08T17:38:08.182" v="172398"/>
          <ac:spMkLst>
            <pc:docMk/>
            <pc:sldMk cId="160926467" sldId="372"/>
            <ac:spMk id="6" creationId="{CA906C78-8BAC-8496-BA7A-112ED1CD6459}"/>
          </ac:spMkLst>
        </pc:spChg>
        <pc:spChg chg="del">
          <ac:chgData name="Muchahary, Frankle" userId="0f2bf491-0617-4378-90b8-89af8fa381b9" providerId="ADAL" clId="{90877F19-00D2-4A00-8128-E78E36266C9A}" dt="2023-11-08T17:38:08.192" v="172413"/>
          <ac:spMkLst>
            <pc:docMk/>
            <pc:sldMk cId="160926467" sldId="372"/>
            <ac:spMk id="7" creationId="{64208E44-468E-2EE6-E3A3-225FFB9361E5}"/>
          </ac:spMkLst>
        </pc:spChg>
        <pc:spChg chg="del">
          <ac:chgData name="Muchahary, Frankle" userId="0f2bf491-0617-4378-90b8-89af8fa381b9" providerId="ADAL" clId="{90877F19-00D2-4A00-8128-E78E36266C9A}" dt="2023-11-08T17:38:08.204" v="172426"/>
          <ac:spMkLst>
            <pc:docMk/>
            <pc:sldMk cId="160926467" sldId="372"/>
            <ac:spMk id="8" creationId="{A0798D27-F0C8-98CB-E28D-DE94A22760FA}"/>
          </ac:spMkLst>
        </pc:spChg>
        <pc:spChg chg="del">
          <ac:chgData name="Muchahary, Frankle" userId="0f2bf491-0617-4378-90b8-89af8fa381b9" providerId="ADAL" clId="{90877F19-00D2-4A00-8128-E78E36266C9A}" dt="2023-11-08T17:38:08.214" v="172442"/>
          <ac:spMkLst>
            <pc:docMk/>
            <pc:sldMk cId="160926467" sldId="372"/>
            <ac:spMk id="9" creationId="{1B443362-0548-5D23-B2B1-DEC07104B6E7}"/>
          </ac:spMkLst>
        </pc:spChg>
        <pc:spChg chg="del">
          <ac:chgData name="Muchahary, Frankle" userId="0f2bf491-0617-4378-90b8-89af8fa381b9" providerId="ADAL" clId="{90877F19-00D2-4A00-8128-E78E36266C9A}" dt="2023-11-08T17:38:08.225" v="172457"/>
          <ac:spMkLst>
            <pc:docMk/>
            <pc:sldMk cId="160926467" sldId="372"/>
            <ac:spMk id="10" creationId="{8BFF9D43-C843-E76E-8564-BE9170B86E18}"/>
          </ac:spMkLst>
        </pc:spChg>
        <pc:spChg chg="del">
          <ac:chgData name="Muchahary, Frankle" userId="0f2bf491-0617-4378-90b8-89af8fa381b9" providerId="ADAL" clId="{90877F19-00D2-4A00-8128-E78E36266C9A}" dt="2023-11-08T17:38:08.232" v="172470"/>
          <ac:spMkLst>
            <pc:docMk/>
            <pc:sldMk cId="160926467" sldId="372"/>
            <ac:spMk id="11" creationId="{FC7566E8-9B7C-4C43-382D-5617D7BCADC7}"/>
          </ac:spMkLst>
        </pc:spChg>
        <pc:spChg chg="del">
          <ac:chgData name="Muchahary, Frankle" userId="0f2bf491-0617-4378-90b8-89af8fa381b9" providerId="ADAL" clId="{90877F19-00D2-4A00-8128-E78E36266C9A}" dt="2023-11-08T17:38:08.244" v="172486"/>
          <ac:spMkLst>
            <pc:docMk/>
            <pc:sldMk cId="160926467" sldId="372"/>
            <ac:spMk id="12" creationId="{FCD19D71-995A-BC5A-3F31-FEC6895F61F8}"/>
          </ac:spMkLst>
        </pc:spChg>
        <pc:spChg chg="del">
          <ac:chgData name="Muchahary, Frankle" userId="0f2bf491-0617-4378-90b8-89af8fa381b9" providerId="ADAL" clId="{90877F19-00D2-4A00-8128-E78E36266C9A}" dt="2023-11-08T17:38:08.254" v="172501"/>
          <ac:spMkLst>
            <pc:docMk/>
            <pc:sldMk cId="160926467" sldId="372"/>
            <ac:spMk id="13" creationId="{E1EC60C7-432D-7A96-7106-F5EFA9690D25}"/>
          </ac:spMkLst>
        </pc:spChg>
        <pc:spChg chg="del">
          <ac:chgData name="Muchahary, Frankle" userId="0f2bf491-0617-4378-90b8-89af8fa381b9" providerId="ADAL" clId="{90877F19-00D2-4A00-8128-E78E36266C9A}" dt="2023-11-08T17:38:08.263" v="172514"/>
          <ac:spMkLst>
            <pc:docMk/>
            <pc:sldMk cId="160926467" sldId="372"/>
            <ac:spMk id="14" creationId="{C55C87E6-46CF-BE57-D14E-A7424B858A7B}"/>
          </ac:spMkLst>
        </pc:spChg>
        <pc:spChg chg="del">
          <ac:chgData name="Muchahary, Frankle" userId="0f2bf491-0617-4378-90b8-89af8fa381b9" providerId="ADAL" clId="{90877F19-00D2-4A00-8128-E78E36266C9A}" dt="2023-11-08T17:38:08.275" v="172530"/>
          <ac:spMkLst>
            <pc:docMk/>
            <pc:sldMk cId="160926467" sldId="372"/>
            <ac:spMk id="15" creationId="{BC8A734D-401C-BA5E-A7B4-075A37D82163}"/>
          </ac:spMkLst>
        </pc:spChg>
        <pc:spChg chg="del">
          <ac:chgData name="Muchahary, Frankle" userId="0f2bf491-0617-4378-90b8-89af8fa381b9" providerId="ADAL" clId="{90877F19-00D2-4A00-8128-E78E36266C9A}" dt="2023-11-08T17:38:08.285" v="172545"/>
          <ac:spMkLst>
            <pc:docMk/>
            <pc:sldMk cId="160926467" sldId="372"/>
            <ac:spMk id="16" creationId="{8962A90B-1284-4D46-CCAA-58D19FEA7010}"/>
          </ac:spMkLst>
        </pc:spChg>
        <pc:spChg chg="del">
          <ac:chgData name="Muchahary, Frankle" userId="0f2bf491-0617-4378-90b8-89af8fa381b9" providerId="ADAL" clId="{90877F19-00D2-4A00-8128-E78E36266C9A}" dt="2023-11-08T17:38:08.296" v="172558"/>
          <ac:spMkLst>
            <pc:docMk/>
            <pc:sldMk cId="160926467" sldId="372"/>
            <ac:spMk id="17" creationId="{D5A699AC-66A2-0784-DFBE-25D671550572}"/>
          </ac:spMkLst>
        </pc:spChg>
        <pc:spChg chg="del">
          <ac:chgData name="Muchahary, Frankle" userId="0f2bf491-0617-4378-90b8-89af8fa381b9" providerId="ADAL" clId="{90877F19-00D2-4A00-8128-E78E36266C9A}" dt="2023-11-08T17:38:08.311" v="172574"/>
          <ac:spMkLst>
            <pc:docMk/>
            <pc:sldMk cId="160926467" sldId="372"/>
            <ac:spMk id="18" creationId="{8C828A55-91F0-5277-8E3D-286C9C5131F3}"/>
          </ac:spMkLst>
        </pc:spChg>
        <pc:spChg chg="del">
          <ac:chgData name="Muchahary, Frankle" userId="0f2bf491-0617-4378-90b8-89af8fa381b9" providerId="ADAL" clId="{90877F19-00D2-4A00-8128-E78E36266C9A}" dt="2023-11-08T17:38:08.322" v="172589"/>
          <ac:spMkLst>
            <pc:docMk/>
            <pc:sldMk cId="160926467" sldId="372"/>
            <ac:spMk id="19" creationId="{EFAF8C64-6351-0417-442B-920F199403FB}"/>
          </ac:spMkLst>
        </pc:spChg>
        <pc:spChg chg="del">
          <ac:chgData name="Muchahary, Frankle" userId="0f2bf491-0617-4378-90b8-89af8fa381b9" providerId="ADAL" clId="{90877F19-00D2-4A00-8128-E78E36266C9A}" dt="2023-11-08T17:38:08.331" v="172602"/>
          <ac:spMkLst>
            <pc:docMk/>
            <pc:sldMk cId="160926467" sldId="372"/>
            <ac:spMk id="20" creationId="{FE63D0BB-E0D5-158F-226A-C4C006CBA07E}"/>
          </ac:spMkLst>
        </pc:spChg>
        <pc:spChg chg="del">
          <ac:chgData name="Muchahary, Frankle" userId="0f2bf491-0617-4378-90b8-89af8fa381b9" providerId="ADAL" clId="{90877F19-00D2-4A00-8128-E78E36266C9A}" dt="2023-11-08T17:38:08.343" v="172618"/>
          <ac:spMkLst>
            <pc:docMk/>
            <pc:sldMk cId="160926467" sldId="372"/>
            <ac:spMk id="21" creationId="{37F76164-DD58-86F6-496B-8C99AFB148D6}"/>
          </ac:spMkLst>
        </pc:spChg>
        <pc:spChg chg="del">
          <ac:chgData name="Muchahary, Frankle" userId="0f2bf491-0617-4378-90b8-89af8fa381b9" providerId="ADAL" clId="{90877F19-00D2-4A00-8128-E78E36266C9A}" dt="2023-11-08T17:38:08.353" v="172633"/>
          <ac:spMkLst>
            <pc:docMk/>
            <pc:sldMk cId="160926467" sldId="372"/>
            <ac:spMk id="22" creationId="{26CB91F2-A392-F3A7-DFF6-E3DEB620AC3B}"/>
          </ac:spMkLst>
        </pc:spChg>
        <pc:spChg chg="del">
          <ac:chgData name="Muchahary, Frankle" userId="0f2bf491-0617-4378-90b8-89af8fa381b9" providerId="ADAL" clId="{90877F19-00D2-4A00-8128-E78E36266C9A}" dt="2023-11-08T17:38:08.360" v="172646"/>
          <ac:spMkLst>
            <pc:docMk/>
            <pc:sldMk cId="160926467" sldId="372"/>
            <ac:spMk id="23" creationId="{C87C2D1B-2689-18F8-BC51-D06B419BC996}"/>
          </ac:spMkLst>
        </pc:spChg>
        <pc:spChg chg="del">
          <ac:chgData name="Muchahary, Frankle" userId="0f2bf491-0617-4378-90b8-89af8fa381b9" providerId="ADAL" clId="{90877F19-00D2-4A00-8128-E78E36266C9A}" dt="2023-11-08T17:38:08.370" v="172662"/>
          <ac:spMkLst>
            <pc:docMk/>
            <pc:sldMk cId="160926467" sldId="372"/>
            <ac:spMk id="24" creationId="{75959AC3-3D78-6229-C764-5BA76F784973}"/>
          </ac:spMkLst>
        </pc:spChg>
        <pc:spChg chg="mod">
          <ac:chgData name="Muchahary, Frankle" userId="0f2bf491-0617-4378-90b8-89af8fa381b9" providerId="ADAL" clId="{90877F19-00D2-4A00-8128-E78E36266C9A}" dt="2023-11-08T22:36:21.330" v="183467"/>
          <ac:spMkLst>
            <pc:docMk/>
            <pc:sldMk cId="160926467" sldId="372"/>
            <ac:spMk id="25" creationId="{A8C7F538-E7B0-CC28-516B-987926A962E8}"/>
          </ac:spMkLst>
        </pc:spChg>
        <pc:spChg chg="del">
          <ac:chgData name="Muchahary, Frankle" userId="0f2bf491-0617-4378-90b8-89af8fa381b9" providerId="ADAL" clId="{90877F19-00D2-4A00-8128-E78E36266C9A}" dt="2023-11-08T17:38:08.378" v="172677"/>
          <ac:spMkLst>
            <pc:docMk/>
            <pc:sldMk cId="160926467" sldId="372"/>
            <ac:spMk id="26" creationId="{C9D85DB1-F1EF-0916-29AE-D9661C9087E1}"/>
          </ac:spMkLst>
        </pc:spChg>
        <pc:spChg chg="mod">
          <ac:chgData name="Muchahary, Frankle" userId="0f2bf491-0617-4378-90b8-89af8fa381b9" providerId="ADAL" clId="{90877F19-00D2-4A00-8128-E78E36266C9A}" dt="2023-11-08T22:36:21.326" v="183458"/>
          <ac:spMkLst>
            <pc:docMk/>
            <pc:sldMk cId="160926467" sldId="372"/>
            <ac:spMk id="27" creationId="{C4E6FDA9-26A9-E30B-3874-9940AA858ABD}"/>
          </ac:spMkLst>
        </pc:spChg>
        <pc:spChg chg="mod">
          <ac:chgData name="Muchahary, Frankle" userId="0f2bf491-0617-4378-90b8-89af8fa381b9" providerId="ADAL" clId="{90877F19-00D2-4A00-8128-E78E36266C9A}" dt="2023-11-08T22:36:21.333" v="183473"/>
          <ac:spMkLst>
            <pc:docMk/>
            <pc:sldMk cId="160926467" sldId="372"/>
            <ac:spMk id="28" creationId="{1ADEE2F2-209E-5A9E-E809-2248A04C03A3}"/>
          </ac:spMkLst>
        </pc:spChg>
        <pc:spChg chg="del">
          <ac:chgData name="Muchahary, Frankle" userId="0f2bf491-0617-4378-90b8-89af8fa381b9" providerId="ADAL" clId="{90877F19-00D2-4A00-8128-E78E36266C9A}" dt="2023-11-08T17:38:08.387" v="172690"/>
          <ac:spMkLst>
            <pc:docMk/>
            <pc:sldMk cId="160926467" sldId="372"/>
            <ac:spMk id="31" creationId="{1DB9A574-ACF9-D339-A75A-DE08D7FAAA46}"/>
          </ac:spMkLst>
        </pc:spChg>
        <pc:spChg chg="del">
          <ac:chgData name="Muchahary, Frankle" userId="0f2bf491-0617-4378-90b8-89af8fa381b9" providerId="ADAL" clId="{90877F19-00D2-4A00-8128-E78E36266C9A}" dt="2023-11-08T17:38:08.396" v="172706"/>
          <ac:spMkLst>
            <pc:docMk/>
            <pc:sldMk cId="160926467" sldId="372"/>
            <ac:spMk id="32" creationId="{20BA096A-F4A0-475F-BB14-B74F7C5FE501}"/>
          </ac:spMkLst>
        </pc:spChg>
        <pc:spChg chg="del">
          <ac:chgData name="Muchahary, Frankle" userId="0f2bf491-0617-4378-90b8-89af8fa381b9" providerId="ADAL" clId="{90877F19-00D2-4A00-8128-E78E36266C9A}" dt="2023-11-08T17:38:08.407" v="172721"/>
          <ac:spMkLst>
            <pc:docMk/>
            <pc:sldMk cId="160926467" sldId="372"/>
            <ac:spMk id="33" creationId="{AD867E8C-05C2-EEAE-E80A-BA862BE4CFA0}"/>
          </ac:spMkLst>
        </pc:spChg>
        <pc:spChg chg="add del mod modVis">
          <ac:chgData name="Muchahary, Frankle" userId="0f2bf491-0617-4378-90b8-89af8fa381b9" providerId="ADAL" clId="{90877F19-00D2-4A00-8128-E78E36266C9A}" dt="2023-11-05T18:18:29.232" v="150954"/>
          <ac:spMkLst>
            <pc:docMk/>
            <pc:sldMk cId="160926467" sldId="372"/>
            <ac:spMk id="35" creationId="{AA4BB6C2-CB41-6445-A316-43009E10BBBB}"/>
          </ac:spMkLst>
        </pc:spChg>
        <pc:spChg chg="add del mod modVis">
          <ac:chgData name="Muchahary, Frankle" userId="0f2bf491-0617-4378-90b8-89af8fa381b9" providerId="ADAL" clId="{90877F19-00D2-4A00-8128-E78E36266C9A}" dt="2023-11-08T07:16:20.621" v="170064"/>
          <ac:spMkLst>
            <pc:docMk/>
            <pc:sldMk cId="160926467" sldId="372"/>
            <ac:spMk id="35" creationId="{E6694E05-500B-57E2-1DA0-AA914FA469E2}"/>
          </ac:spMkLst>
        </pc:spChg>
        <pc:spChg chg="del">
          <ac:chgData name="Muchahary, Frankle" userId="0f2bf491-0617-4378-90b8-89af8fa381b9" providerId="ADAL" clId="{90877F19-00D2-4A00-8128-E78E36266C9A}" dt="2023-11-08T22:36:07.570" v="182089"/>
          <ac:spMkLst>
            <pc:docMk/>
            <pc:sldMk cId="160926467" sldId="372"/>
            <ac:spMk id="36" creationId="{4660BA44-BFDB-7EA4-B5E8-739DEE722914}"/>
          </ac:spMkLst>
        </pc:spChg>
        <pc:spChg chg="add del mod modVis">
          <ac:chgData name="Muchahary, Frankle" userId="0f2bf491-0617-4378-90b8-89af8fa381b9" providerId="ADAL" clId="{90877F19-00D2-4A00-8128-E78E36266C9A}" dt="2023-11-08T07:16:22.930" v="170092"/>
          <ac:spMkLst>
            <pc:docMk/>
            <pc:sldMk cId="160926467" sldId="372"/>
            <ac:spMk id="36" creationId="{6282DC90-CD2F-6469-8C81-BDEE457C05A6}"/>
          </ac:spMkLst>
        </pc:spChg>
        <pc:spChg chg="add del mod modVis">
          <ac:chgData name="Muchahary, Frankle" userId="0f2bf491-0617-4378-90b8-89af8fa381b9" providerId="ADAL" clId="{90877F19-00D2-4A00-8128-E78E36266C9A}" dt="2023-11-05T18:18:49.029" v="151008"/>
          <ac:spMkLst>
            <pc:docMk/>
            <pc:sldMk cId="160926467" sldId="372"/>
            <ac:spMk id="36" creationId="{97167E8F-C124-ADD9-B21C-FE4936E71E0F}"/>
          </ac:spMkLst>
        </pc:spChg>
        <pc:spChg chg="add del mod modVis">
          <ac:chgData name="Muchahary, Frankle" userId="0f2bf491-0617-4378-90b8-89af8fa381b9" providerId="ADAL" clId="{90877F19-00D2-4A00-8128-E78E36266C9A}" dt="2023-11-08T07:16:24.679" v="170120"/>
          <ac:spMkLst>
            <pc:docMk/>
            <pc:sldMk cId="160926467" sldId="372"/>
            <ac:spMk id="37" creationId="{444E7C75-C67D-9C9C-1BCF-4585DD599B14}"/>
          </ac:spMkLst>
        </pc:spChg>
        <pc:spChg chg="del">
          <ac:chgData name="Muchahary, Frankle" userId="0f2bf491-0617-4378-90b8-89af8fa381b9" providerId="ADAL" clId="{90877F19-00D2-4A00-8128-E78E36266C9A}" dt="2023-11-08T22:36:07.596" v="182105"/>
          <ac:spMkLst>
            <pc:docMk/>
            <pc:sldMk cId="160926467" sldId="372"/>
            <ac:spMk id="37" creationId="{8598A452-52EE-066C-4F57-E16E07E52ABD}"/>
          </ac:spMkLst>
        </pc:spChg>
        <pc:spChg chg="add del mod modVis">
          <ac:chgData name="Muchahary, Frankle" userId="0f2bf491-0617-4378-90b8-89af8fa381b9" providerId="ADAL" clId="{90877F19-00D2-4A00-8128-E78E36266C9A}" dt="2023-11-08T07:16:32.128" v="170147"/>
          <ac:spMkLst>
            <pc:docMk/>
            <pc:sldMk cId="160926467" sldId="372"/>
            <ac:spMk id="38" creationId="{847AAD7E-7E4A-C33F-ADAD-99A232DACBC6}"/>
          </ac:spMkLst>
        </pc:spChg>
        <pc:spChg chg="del">
          <ac:chgData name="Muchahary, Frankle" userId="0f2bf491-0617-4378-90b8-89af8fa381b9" providerId="ADAL" clId="{90877F19-00D2-4A00-8128-E78E36266C9A}" dt="2023-11-08T22:36:07.608" v="182120"/>
          <ac:spMkLst>
            <pc:docMk/>
            <pc:sldMk cId="160926467" sldId="372"/>
            <ac:spMk id="38" creationId="{E9240893-9451-BF59-F755-9A32557CF72A}"/>
          </ac:spMkLst>
        </pc:spChg>
        <pc:spChg chg="add del mod modVis">
          <ac:chgData name="Muchahary, Frankle" userId="0f2bf491-0617-4378-90b8-89af8fa381b9" providerId="ADAL" clId="{90877F19-00D2-4A00-8128-E78E36266C9A}" dt="2023-11-08T17:38:09.671" v="173350"/>
          <ac:spMkLst>
            <pc:docMk/>
            <pc:sldMk cId="160926467" sldId="372"/>
            <ac:spMk id="39" creationId="{473F0FE3-9430-27C1-6251-A9DCF30F335E}"/>
          </ac:spMkLst>
        </pc:spChg>
        <pc:spChg chg="del">
          <ac:chgData name="Muchahary, Frankle" userId="0f2bf491-0617-4378-90b8-89af8fa381b9" providerId="ADAL" clId="{90877F19-00D2-4A00-8128-E78E36266C9A}" dt="2023-11-08T22:36:07.621" v="182133"/>
          <ac:spMkLst>
            <pc:docMk/>
            <pc:sldMk cId="160926467" sldId="372"/>
            <ac:spMk id="39" creationId="{D216678A-43FC-6801-E1B1-D0374CAF5CF9}"/>
          </ac:spMkLst>
        </pc:spChg>
        <pc:spChg chg="add mod ord replST">
          <ac:chgData name="Muchahary, Frankle" userId="0f2bf491-0617-4378-90b8-89af8fa381b9" providerId="ADAL" clId="{90877F19-00D2-4A00-8128-E78E36266C9A}" dt="2023-11-08T18:12:12.774" v="178803"/>
          <ac:spMkLst>
            <pc:docMk/>
            <pc:sldMk cId="160926467" sldId="372"/>
            <ac:spMk id="40" creationId="{2937D7AD-5770-12D9-9257-CD806D82C4AE}"/>
          </ac:spMkLst>
        </pc:spChg>
        <pc:spChg chg="add mod ord replST">
          <ac:chgData name="Muchahary, Frankle" userId="0f2bf491-0617-4378-90b8-89af8fa381b9" providerId="ADAL" clId="{90877F19-00D2-4A00-8128-E78E36266C9A}" dt="2023-11-08T18:12:12.761" v="178775"/>
          <ac:spMkLst>
            <pc:docMk/>
            <pc:sldMk cId="160926467" sldId="372"/>
            <ac:spMk id="41" creationId="{DEDE3323-8BD1-1667-4C71-EB72830A29E8}"/>
          </ac:spMkLst>
        </pc:spChg>
        <pc:spChg chg="add mod replST">
          <ac:chgData name="Muchahary, Frankle" userId="0f2bf491-0617-4378-90b8-89af8fa381b9" providerId="ADAL" clId="{90877F19-00D2-4A00-8128-E78E36266C9A}" dt="2023-11-08T18:12:12.759" v="178771"/>
          <ac:spMkLst>
            <pc:docMk/>
            <pc:sldMk cId="160926467" sldId="372"/>
            <ac:spMk id="42" creationId="{EF5F31F4-A273-9B1A-F0D9-3CDFFF7271E0}"/>
          </ac:spMkLst>
        </pc:spChg>
        <pc:spChg chg="add del mod ord replST">
          <ac:chgData name="Muchahary, Frankle" userId="0f2bf491-0617-4378-90b8-89af8fa381b9" providerId="ADAL" clId="{90877F19-00D2-4A00-8128-E78E36266C9A}" dt="2023-11-08T17:38:56.045" v="174168"/>
          <ac:spMkLst>
            <pc:docMk/>
            <pc:sldMk cId="160926467" sldId="372"/>
            <ac:spMk id="43" creationId="{3668324E-D7C3-9930-D5D3-D7082392B0A5}"/>
          </ac:spMkLst>
        </pc:spChg>
        <pc:spChg chg="add del mod ord replST">
          <ac:chgData name="Muchahary, Frankle" userId="0f2bf491-0617-4378-90b8-89af8fa381b9" providerId="ADAL" clId="{90877F19-00D2-4A00-8128-E78E36266C9A}" dt="2023-11-08T17:38:56.058" v="174184"/>
          <ac:spMkLst>
            <pc:docMk/>
            <pc:sldMk cId="160926467" sldId="372"/>
            <ac:spMk id="44" creationId="{65364FA3-8BA4-2093-7D89-0BDFD43EF8E0}"/>
          </ac:spMkLst>
        </pc:spChg>
        <pc:spChg chg="mod">
          <ac:chgData name="Muchahary, Frankle" userId="0f2bf491-0617-4378-90b8-89af8fa381b9" providerId="ADAL" clId="{90877F19-00D2-4A00-8128-E78E36266C9A}" dt="2023-11-08T22:36:21.330" v="183468"/>
          <ac:spMkLst>
            <pc:docMk/>
            <pc:sldMk cId="160926467" sldId="372"/>
            <ac:spMk id="45" creationId="{A3A2DE02-66BD-6306-848B-E6B12A825C58}"/>
          </ac:spMkLst>
        </pc:spChg>
        <pc:spChg chg="add del mod replST">
          <ac:chgData name="Muchahary, Frankle" userId="0f2bf491-0617-4378-90b8-89af8fa381b9" providerId="ADAL" clId="{90877F19-00D2-4A00-8128-E78E36266C9A}" dt="2023-11-08T17:38:56.066" v="174199"/>
          <ac:spMkLst>
            <pc:docMk/>
            <pc:sldMk cId="160926467" sldId="372"/>
            <ac:spMk id="46" creationId="{9B1B5CA3-FF98-B58A-DFB4-F1C7FE37B044}"/>
          </ac:spMkLst>
        </pc:spChg>
        <pc:spChg chg="add del mod ord replST">
          <ac:chgData name="Muchahary, Frankle" userId="0f2bf491-0617-4378-90b8-89af8fa381b9" providerId="ADAL" clId="{90877F19-00D2-4A00-8128-E78E36266C9A}" dt="2023-11-08T17:38:56.074" v="174212"/>
          <ac:spMkLst>
            <pc:docMk/>
            <pc:sldMk cId="160926467" sldId="372"/>
            <ac:spMk id="47" creationId="{D84D0E84-62F9-C156-94D1-C632916FFE9D}"/>
          </ac:spMkLst>
        </pc:spChg>
        <pc:spChg chg="add del mod ord replST">
          <ac:chgData name="Muchahary, Frankle" userId="0f2bf491-0617-4378-90b8-89af8fa381b9" providerId="ADAL" clId="{90877F19-00D2-4A00-8128-E78E36266C9A}" dt="2023-11-08T17:38:56.084" v="174228"/>
          <ac:spMkLst>
            <pc:docMk/>
            <pc:sldMk cId="160926467" sldId="372"/>
            <ac:spMk id="49" creationId="{C1CE66CE-3305-A270-259B-C9AE36169DC5}"/>
          </ac:spMkLst>
        </pc:spChg>
        <pc:spChg chg="mod">
          <ac:chgData name="Muchahary, Frankle" userId="0f2bf491-0617-4378-90b8-89af8fa381b9" providerId="ADAL" clId="{90877F19-00D2-4A00-8128-E78E36266C9A}" dt="2023-11-08T22:36:21.329" v="183465"/>
          <ac:spMkLst>
            <pc:docMk/>
            <pc:sldMk cId="160926467" sldId="372"/>
            <ac:spMk id="50" creationId="{83AB9063-8ACB-512C-24BB-B17BBA415C1B}"/>
          </ac:spMkLst>
        </pc:spChg>
        <pc:spChg chg="add del mod replST">
          <ac:chgData name="Muchahary, Frankle" userId="0f2bf491-0617-4378-90b8-89af8fa381b9" providerId="ADAL" clId="{90877F19-00D2-4A00-8128-E78E36266C9A}" dt="2023-11-08T17:38:56.093" v="174243"/>
          <ac:spMkLst>
            <pc:docMk/>
            <pc:sldMk cId="160926467" sldId="372"/>
            <ac:spMk id="51" creationId="{68B928A9-F85A-4552-A955-6BA323A6CADD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03" v="174256"/>
          <ac:spMkLst>
            <pc:docMk/>
            <pc:sldMk cId="160926467" sldId="372"/>
            <ac:spMk id="52" creationId="{FCCFFAEF-09A4-0BE5-A383-FB0F2B6EB83C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14" v="174272"/>
          <ac:spMkLst>
            <pc:docMk/>
            <pc:sldMk cId="160926467" sldId="372"/>
            <ac:spMk id="54" creationId="{72C39BA3-001D-C0CE-062F-46200FC03FC1}"/>
          </ac:spMkLst>
        </pc:spChg>
        <pc:spChg chg="mod">
          <ac:chgData name="Muchahary, Frankle" userId="0f2bf491-0617-4378-90b8-89af8fa381b9" providerId="ADAL" clId="{90877F19-00D2-4A00-8128-E78E36266C9A}" dt="2023-11-08T22:36:21.326" v="183459"/>
          <ac:spMkLst>
            <pc:docMk/>
            <pc:sldMk cId="160926467" sldId="372"/>
            <ac:spMk id="55" creationId="{81F04892-2CBE-05E8-1FF2-2F3C18C79DDA}"/>
          </ac:spMkLst>
        </pc:spChg>
        <pc:spChg chg="add del mod replST">
          <ac:chgData name="Muchahary, Frankle" userId="0f2bf491-0617-4378-90b8-89af8fa381b9" providerId="ADAL" clId="{90877F19-00D2-4A00-8128-E78E36266C9A}" dt="2023-11-08T17:38:56.123" v="174287"/>
          <ac:spMkLst>
            <pc:docMk/>
            <pc:sldMk cId="160926467" sldId="372"/>
            <ac:spMk id="56" creationId="{E463B412-A443-4969-DFD6-2B97459A2E2D}"/>
          </ac:spMkLst>
        </pc:spChg>
        <pc:spChg chg="add mod ord replST">
          <ac:chgData name="Muchahary, Frankle" userId="0f2bf491-0617-4378-90b8-89af8fa381b9" providerId="ADAL" clId="{90877F19-00D2-4A00-8128-E78E36266C9A}" dt="2023-11-08T18:12:12.762" v="178777"/>
          <ac:spMkLst>
            <pc:docMk/>
            <pc:sldMk cId="160926467" sldId="372"/>
            <ac:spMk id="57" creationId="{0FC71AF1-CD86-EBF3-66B5-6E6CA1F57ACB}"/>
          </ac:spMkLst>
        </pc:spChg>
        <pc:spChg chg="add mod ord replST">
          <ac:chgData name="Muchahary, Frankle" userId="0f2bf491-0617-4378-90b8-89af8fa381b9" providerId="ADAL" clId="{90877F19-00D2-4A00-8128-E78E36266C9A}" dt="2023-11-08T18:12:12.763" v="178779"/>
          <ac:spMkLst>
            <pc:docMk/>
            <pc:sldMk cId="160926467" sldId="372"/>
            <ac:spMk id="59" creationId="{C16AA5DF-2B22-BF51-5288-B5A896F22C19}"/>
          </ac:spMkLst>
        </pc:spChg>
        <pc:spChg chg="add mod replST">
          <ac:chgData name="Muchahary, Frankle" userId="0f2bf491-0617-4378-90b8-89af8fa381b9" providerId="ADAL" clId="{90877F19-00D2-4A00-8128-E78E36266C9A}" dt="2023-11-08T18:12:12.758" v="178770"/>
          <ac:spMkLst>
            <pc:docMk/>
            <pc:sldMk cId="160926467" sldId="372"/>
            <ac:spMk id="60" creationId="{74A7D67A-2378-B885-83D4-3A23D10860AA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32" v="174300"/>
          <ac:spMkLst>
            <pc:docMk/>
            <pc:sldMk cId="160926467" sldId="372"/>
            <ac:spMk id="61" creationId="{E36E4A27-C11B-292F-F8CF-F1842384DECA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41" v="174316"/>
          <ac:spMkLst>
            <pc:docMk/>
            <pc:sldMk cId="160926467" sldId="372"/>
            <ac:spMk id="62" creationId="{76D45CCD-4B86-41F6-5F76-FC711C6B42BF}"/>
          </ac:spMkLst>
        </pc:spChg>
        <pc:spChg chg="add del mod replST">
          <ac:chgData name="Muchahary, Frankle" userId="0f2bf491-0617-4378-90b8-89af8fa381b9" providerId="ADAL" clId="{90877F19-00D2-4A00-8128-E78E36266C9A}" dt="2023-11-08T17:38:56.151" v="174331"/>
          <ac:spMkLst>
            <pc:docMk/>
            <pc:sldMk cId="160926467" sldId="372"/>
            <ac:spMk id="63" creationId="{F6A9D022-3671-0829-CBFE-CE64F78027F3}"/>
          </ac:spMkLst>
        </pc:spChg>
        <pc:spChg chg="mod">
          <ac:chgData name="Muchahary, Frankle" userId="0f2bf491-0617-4378-90b8-89af8fa381b9" providerId="ADAL" clId="{90877F19-00D2-4A00-8128-E78E36266C9A}" dt="2023-11-08T22:36:21.343" v="183503"/>
          <ac:spMkLst>
            <pc:docMk/>
            <pc:sldMk cId="160926467" sldId="372"/>
            <ac:spMk id="411" creationId="{B3ED5D1D-3A10-6FF1-AAE5-D85346506BB1}"/>
          </ac:spMkLst>
        </pc:spChg>
        <pc:spChg chg="mod">
          <ac:chgData name="Muchahary, Frankle" userId="0f2bf491-0617-4378-90b8-89af8fa381b9" providerId="ADAL" clId="{90877F19-00D2-4A00-8128-E78E36266C9A}" dt="2023-11-08T22:36:21.327" v="183462"/>
          <ac:spMkLst>
            <pc:docMk/>
            <pc:sldMk cId="160926467" sldId="372"/>
            <ac:spMk id="412" creationId="{6CC7986B-3E4B-19F2-3290-89AE5E9D943D}"/>
          </ac:spMkLst>
        </pc:spChg>
        <pc:spChg chg="mod">
          <ac:chgData name="Muchahary, Frankle" userId="0f2bf491-0617-4378-90b8-89af8fa381b9" providerId="ADAL" clId="{90877F19-00D2-4A00-8128-E78E36266C9A}" dt="2023-11-08T22:36:21.344" v="183505"/>
          <ac:spMkLst>
            <pc:docMk/>
            <pc:sldMk cId="160926467" sldId="372"/>
            <ac:spMk id="417" creationId="{7E95A5CB-9B2F-97C1-FC1D-A712101F58AF}"/>
          </ac:spMkLst>
        </pc:spChg>
        <pc:spChg chg="mod">
          <ac:chgData name="Muchahary, Frankle" userId="0f2bf491-0617-4378-90b8-89af8fa381b9" providerId="ADAL" clId="{90877F19-00D2-4A00-8128-E78E36266C9A}" dt="2023-11-08T22:36:21.347" v="183509"/>
          <ac:spMkLst>
            <pc:docMk/>
            <pc:sldMk cId="160926467" sldId="372"/>
            <ac:spMk id="418" creationId="{636CA115-C575-48CA-37D2-287435EDEB9A}"/>
          </ac:spMkLst>
        </pc:spChg>
        <pc:spChg chg="mod">
          <ac:chgData name="Muchahary, Frankle" userId="0f2bf491-0617-4378-90b8-89af8fa381b9" providerId="ADAL" clId="{90877F19-00D2-4A00-8128-E78E36266C9A}" dt="2023-11-08T22:36:21.327" v="183463"/>
          <ac:spMkLst>
            <pc:docMk/>
            <pc:sldMk cId="160926467" sldId="372"/>
            <ac:spMk id="434" creationId="{890C81EC-90ED-A141-4B88-8C94BE21B802}"/>
          </ac:spMkLst>
        </pc:spChg>
        <pc:spChg chg="mod">
          <ac:chgData name="Muchahary, Frankle" userId="0f2bf491-0617-4378-90b8-89af8fa381b9" providerId="ADAL" clId="{90877F19-00D2-4A00-8128-E78E36266C9A}" dt="2023-11-08T22:36:21.300" v="183400"/>
          <ac:spMkLst>
            <pc:docMk/>
            <pc:sldMk cId="160926467" sldId="372"/>
            <ac:spMk id="435" creationId="{06ECB298-7D04-8719-A8C3-A559DEAB6D10}"/>
          </ac:spMkLst>
        </pc:spChg>
        <pc:spChg chg="mod">
          <ac:chgData name="Muchahary, Frankle" userId="0f2bf491-0617-4378-90b8-89af8fa381b9" providerId="ADAL" clId="{90877F19-00D2-4A00-8128-E78E36266C9A}" dt="2023-11-08T22:36:21.300" v="183401"/>
          <ac:spMkLst>
            <pc:docMk/>
            <pc:sldMk cId="160926467" sldId="372"/>
            <ac:spMk id="437" creationId="{39519187-F53D-0D26-4C15-FEE4DF8F3348}"/>
          </ac:spMkLst>
        </pc:spChg>
        <pc:spChg chg="mod">
          <ac:chgData name="Muchahary, Frankle" userId="0f2bf491-0617-4378-90b8-89af8fa381b9" providerId="ADAL" clId="{90877F19-00D2-4A00-8128-E78E36266C9A}" dt="2023-11-08T22:36:21.344" v="183506"/>
          <ac:spMkLst>
            <pc:docMk/>
            <pc:sldMk cId="160926467" sldId="372"/>
            <ac:spMk id="438" creationId="{84FAB29A-455F-08B2-B433-78FF60A92CE4}"/>
          </ac:spMkLst>
        </pc:spChg>
        <pc:spChg chg="mod">
          <ac:chgData name="Muchahary, Frankle" userId="0f2bf491-0617-4378-90b8-89af8fa381b9" providerId="ADAL" clId="{90877F19-00D2-4A00-8128-E78E36266C9A}" dt="2023-11-08T22:36:21.302" v="183403"/>
          <ac:spMkLst>
            <pc:docMk/>
            <pc:sldMk cId="160926467" sldId="372"/>
            <ac:spMk id="439" creationId="{FFD987BA-DFC4-5FF7-B520-DFE3A414A159}"/>
          </ac:spMkLst>
        </pc:spChg>
        <pc:spChg chg="mod">
          <ac:chgData name="Muchahary, Frankle" userId="0f2bf491-0617-4378-90b8-89af8fa381b9" providerId="ADAL" clId="{90877F19-00D2-4A00-8128-E78E36266C9A}" dt="2023-11-08T22:36:21.303" v="183404"/>
          <ac:spMkLst>
            <pc:docMk/>
            <pc:sldMk cId="160926467" sldId="372"/>
            <ac:spMk id="441" creationId="{0EEFBB1A-4E83-ED25-484E-DEC9A4298AF9}"/>
          </ac:spMkLst>
        </pc:spChg>
        <pc:spChg chg="del mod">
          <ac:chgData name="Muchahary, Frankle" userId="0f2bf491-0617-4378-90b8-89af8fa381b9" providerId="ADAL" clId="{90877F19-00D2-4A00-8128-E78E36266C9A}" dt="2023-11-08T17:38:43.657" v="173729"/>
          <ac:spMkLst>
            <pc:docMk/>
            <pc:sldMk cId="160926467" sldId="372"/>
            <ac:spMk id="444" creationId="{54583192-9FCF-1079-F792-1C6A5841CC49}"/>
          </ac:spMkLst>
        </pc:spChg>
        <pc:spChg chg="mod">
          <ac:chgData name="Muchahary, Frankle" userId="0f2bf491-0617-4378-90b8-89af8fa381b9" providerId="ADAL" clId="{90877F19-00D2-4A00-8128-E78E36266C9A}" dt="2023-11-08T22:36:21.304" v="183407"/>
          <ac:spMkLst>
            <pc:docMk/>
            <pc:sldMk cId="160926467" sldId="372"/>
            <ac:spMk id="446" creationId="{4E0A4B12-352B-CCF5-B5D8-CC5A8C3F2F01}"/>
          </ac:spMkLst>
        </pc:spChg>
        <pc:spChg chg="mod">
          <ac:chgData name="Muchahary, Frankle" userId="0f2bf491-0617-4378-90b8-89af8fa381b9" providerId="ADAL" clId="{90877F19-00D2-4A00-8128-E78E36266C9A}" dt="2023-11-08T22:36:21.305" v="183408"/>
          <ac:spMkLst>
            <pc:docMk/>
            <pc:sldMk cId="160926467" sldId="372"/>
            <ac:spMk id="447" creationId="{6146C153-A8A6-BE05-5FD9-98E0D115C574}"/>
          </ac:spMkLst>
        </pc:spChg>
        <pc:spChg chg="add del mod modVis">
          <ac:chgData name="Muchahary, Frankle" userId="0f2bf491-0617-4378-90b8-89af8fa381b9" providerId="ADAL" clId="{90877F19-00D2-4A00-8128-E78E36266C9A}" dt="2023-11-08T22:36:21.351" v="183521"/>
          <ac:spMkLst>
            <pc:docMk/>
            <pc:sldMk cId="160926467" sldId="372"/>
            <ac:spMk id="513" creationId="{BEEAAD92-70C0-D66D-621A-E87F438518B5}"/>
          </ac:spMkLst>
        </pc:spChg>
        <pc:spChg chg="mod">
          <ac:chgData name="Muchahary, Frankle" userId="0f2bf491-0617-4378-90b8-89af8fa381b9" providerId="ADAL" clId="{90877F19-00D2-4A00-8128-E78E36266C9A}" dt="2023-11-08T22:36:21.324" v="183455"/>
          <ac:spMkLst>
            <pc:docMk/>
            <pc:sldMk cId="160926467" sldId="372"/>
            <ac:spMk id="562" creationId="{BFAE1C44-A8C0-B514-6416-052BDDF41428}"/>
          </ac:spMkLst>
        </pc:spChg>
        <pc:spChg chg="mod ord">
          <ac:chgData name="Muchahary, Frankle" userId="0f2bf491-0617-4378-90b8-89af8fa381b9" providerId="ADAL" clId="{90877F19-00D2-4A00-8128-E78E36266C9A}" dt="2023-11-08T22:36:21.333" v="183475"/>
          <ac:spMkLst>
            <pc:docMk/>
            <pc:sldMk cId="160926467" sldId="372"/>
            <ac:spMk id="705" creationId="{2BAB8A09-998F-FECB-0657-889582B1FE9C}"/>
          </ac:spMkLst>
        </pc:spChg>
        <pc:spChg chg="mod">
          <ac:chgData name="Muchahary, Frankle" userId="0f2bf491-0617-4378-90b8-89af8fa381b9" providerId="ADAL" clId="{90877F19-00D2-4A00-8128-E78E36266C9A}" dt="2023-11-08T22:36:21.330" v="183466"/>
          <ac:spMkLst>
            <pc:docMk/>
            <pc:sldMk cId="160926467" sldId="372"/>
            <ac:spMk id="740" creationId="{F032FE9F-F04A-C21D-789B-61C99E159F5E}"/>
          </ac:spMkLst>
        </pc:spChg>
        <pc:spChg chg="mod ord">
          <ac:chgData name="Muchahary, Frankle" userId="0f2bf491-0617-4378-90b8-89af8fa381b9" providerId="ADAL" clId="{90877F19-00D2-4A00-8128-E78E36266C9A}" dt="2023-11-08T22:36:21.324" v="183457"/>
          <ac:spMkLst>
            <pc:docMk/>
            <pc:sldMk cId="160926467" sldId="372"/>
            <ac:spMk id="753" creationId="{A5FDCA23-8A6D-A0B2-23BA-E93C2EA13206}"/>
          </ac:spMkLst>
        </pc:spChg>
        <pc:spChg chg="mod">
          <ac:chgData name="Muchahary, Frankle" userId="0f2bf491-0617-4378-90b8-89af8fa381b9" providerId="ADAL" clId="{90877F19-00D2-4A00-8128-E78E36266C9A}" dt="2023-11-08T22:36:21.331" v="183469"/>
          <ac:spMkLst>
            <pc:docMk/>
            <pc:sldMk cId="160926467" sldId="372"/>
            <ac:spMk id="798" creationId="{FD338F2F-C25D-7662-9579-080DDD3D2F87}"/>
          </ac:spMkLst>
        </pc:spChg>
        <pc:spChg chg="mod">
          <ac:chgData name="Muchahary, Frankle" userId="0f2bf491-0617-4378-90b8-89af8fa381b9" providerId="ADAL" clId="{90877F19-00D2-4A00-8128-E78E36266C9A}" dt="2023-11-08T22:36:21.331" v="183470"/>
          <ac:spMkLst>
            <pc:docMk/>
            <pc:sldMk cId="160926467" sldId="372"/>
            <ac:spMk id="866" creationId="{7E7BE56D-E711-64C4-2657-C0593A54EC3A}"/>
          </ac:spMkLst>
        </pc:spChg>
        <pc:spChg chg="mod">
          <ac:chgData name="Muchahary, Frankle" userId="0f2bf491-0617-4378-90b8-89af8fa381b9" providerId="ADAL" clId="{90877F19-00D2-4A00-8128-E78E36266C9A}" dt="2023-11-08T22:36:21.332" v="183471"/>
          <ac:spMkLst>
            <pc:docMk/>
            <pc:sldMk cId="160926467" sldId="372"/>
            <ac:spMk id="867" creationId="{E1A93581-987F-607F-0A21-C2672F53506A}"/>
          </ac:spMkLst>
        </pc:spChg>
        <pc:spChg chg="mod">
          <ac:chgData name="Muchahary, Frankle" userId="0f2bf491-0617-4378-90b8-89af8fa381b9" providerId="ADAL" clId="{90877F19-00D2-4A00-8128-E78E36266C9A}" dt="2023-11-08T22:36:21.332" v="183472"/>
          <ac:spMkLst>
            <pc:docMk/>
            <pc:sldMk cId="160926467" sldId="372"/>
            <ac:spMk id="868" creationId="{5E28DCB7-2022-E238-D3FF-394DED8C65DE}"/>
          </ac:spMkLst>
        </pc:spChg>
        <pc:spChg chg="mod">
          <ac:chgData name="Muchahary, Frankle" userId="0f2bf491-0617-4378-90b8-89af8fa381b9" providerId="ADAL" clId="{90877F19-00D2-4A00-8128-E78E36266C9A}" dt="2023-11-08T22:36:21.302" v="183402"/>
          <ac:spMkLst>
            <pc:docMk/>
            <pc:sldMk cId="160926467" sldId="372"/>
            <ac:spMk id="869" creationId="{BA161C74-E035-2EFD-44EB-68500C0986FB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59" v="174344"/>
          <ac:spMkLst>
            <pc:docMk/>
            <pc:sldMk cId="160926467" sldId="372"/>
            <ac:spMk id="896" creationId="{92CAB9D7-5D31-ECBA-02B2-547D7DFD6889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69" v="174360"/>
          <ac:spMkLst>
            <pc:docMk/>
            <pc:sldMk cId="160926467" sldId="372"/>
            <ac:spMk id="897" creationId="{57F063E0-B7C2-E913-B37B-7DC754568E87}"/>
          </ac:spMkLst>
        </pc:spChg>
        <pc:spChg chg="mod ord">
          <ac:chgData name="Muchahary, Frankle" userId="0f2bf491-0617-4378-90b8-89af8fa381b9" providerId="ADAL" clId="{90877F19-00D2-4A00-8128-E78E36266C9A}" dt="2023-11-08T22:36:21.347" v="183511"/>
          <ac:spMkLst>
            <pc:docMk/>
            <pc:sldMk cId="160926467" sldId="372"/>
            <ac:spMk id="898" creationId="{11FED061-3C46-C825-773C-FF776F34B758}"/>
          </ac:spMkLst>
        </pc:spChg>
        <pc:spChg chg="add del mod replST">
          <ac:chgData name="Muchahary, Frankle" userId="0f2bf491-0617-4378-90b8-89af8fa381b9" providerId="ADAL" clId="{90877F19-00D2-4A00-8128-E78E36266C9A}" dt="2023-11-08T17:38:56.179" v="174375"/>
          <ac:spMkLst>
            <pc:docMk/>
            <pc:sldMk cId="160926467" sldId="372"/>
            <ac:spMk id="899" creationId="{5E807678-A796-D054-D187-AC3044794185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87" v="174388"/>
          <ac:spMkLst>
            <pc:docMk/>
            <pc:sldMk cId="160926467" sldId="372"/>
            <ac:spMk id="900" creationId="{F1626480-5EC0-6A5C-BCD4-2341A6C90EA4}"/>
          </ac:spMkLst>
        </pc:spChg>
        <pc:spChg chg="add del mod ord replST">
          <ac:chgData name="Muchahary, Frankle" userId="0f2bf491-0617-4378-90b8-89af8fa381b9" providerId="ADAL" clId="{90877F19-00D2-4A00-8128-E78E36266C9A}" dt="2023-11-08T17:38:56.199" v="174404"/>
          <ac:spMkLst>
            <pc:docMk/>
            <pc:sldMk cId="160926467" sldId="372"/>
            <ac:spMk id="901" creationId="{3FEC22D1-096E-9C74-0088-2D796A8EEB2B}"/>
          </ac:spMkLst>
        </pc:spChg>
        <pc:spChg chg="add del mod replST">
          <ac:chgData name="Muchahary, Frankle" userId="0f2bf491-0617-4378-90b8-89af8fa381b9" providerId="ADAL" clId="{90877F19-00D2-4A00-8128-E78E36266C9A}" dt="2023-11-08T17:38:56.208" v="174419"/>
          <ac:spMkLst>
            <pc:docMk/>
            <pc:sldMk cId="160926467" sldId="372"/>
            <ac:spMk id="902" creationId="{3154E777-B53A-4DC0-2061-EE3BC78B0C9A}"/>
          </ac:spMkLst>
        </pc:spChg>
        <pc:spChg chg="add del mod ord replST">
          <ac:chgData name="Muchahary, Frankle" userId="0f2bf491-0617-4378-90b8-89af8fa381b9" providerId="ADAL" clId="{90877F19-00D2-4A00-8128-E78E36266C9A}" dt="2023-11-08T17:38:44.105" v="173901"/>
          <ac:spMkLst>
            <pc:docMk/>
            <pc:sldMk cId="160926467" sldId="372"/>
            <ac:spMk id="903" creationId="{63778BCC-FB34-9736-9383-4B7E3A157F00}"/>
          </ac:spMkLst>
        </pc:spChg>
        <pc:spChg chg="add mod replST">
          <ac:chgData name="Muchahary, Frankle" userId="0f2bf491-0617-4378-90b8-89af8fa381b9" providerId="ADAL" clId="{90877F19-00D2-4A00-8128-E78E36266C9A}" dt="2023-11-08T22:36:21.329" v="183464"/>
          <ac:spMkLst>
            <pc:docMk/>
            <pc:sldMk cId="160926467" sldId="372"/>
            <ac:spMk id="906" creationId="{62D3FEA7-BF89-DD71-85A7-E9080088A44F}"/>
          </ac:spMkLst>
        </pc:spChg>
        <pc:spChg chg="del">
          <ac:chgData name="Muchahary, Frankle" userId="0f2bf491-0617-4378-90b8-89af8fa381b9" providerId="ADAL" clId="{90877F19-00D2-4A00-8128-E78E36266C9A}" dt="2023-11-08T22:36:07.634" v="182149"/>
          <ac:spMkLst>
            <pc:docMk/>
            <pc:sldMk cId="160926467" sldId="372"/>
            <ac:spMk id="907" creationId="{BD40C724-A69F-A488-17DA-101724058BE6}"/>
          </ac:spMkLst>
        </pc:spChg>
        <pc:spChg chg="add del mod modVis">
          <ac:chgData name="Muchahary, Frankle" userId="0f2bf491-0617-4378-90b8-89af8fa381b9" providerId="ADAL" clId="{90877F19-00D2-4A00-8128-E78E36266C9A}" dt="2023-11-08T17:38:31.871" v="173635"/>
          <ac:spMkLst>
            <pc:docMk/>
            <pc:sldMk cId="160926467" sldId="372"/>
            <ac:spMk id="907" creationId="{DAC37C24-BF35-D8C8-36E4-E371CDBD61C3}"/>
          </ac:spMkLst>
        </pc:spChg>
        <pc:spChg chg="add del mod replST">
          <ac:chgData name="Muchahary, Frankle" userId="0f2bf491-0617-4378-90b8-89af8fa381b9" providerId="ADAL" clId="{90877F19-00D2-4A00-8128-E78E36266C9A}" dt="2023-11-08T17:38:44.104" v="173899"/>
          <ac:spMkLst>
            <pc:docMk/>
            <pc:sldMk cId="160926467" sldId="372"/>
            <ac:spMk id="909" creationId="{1269030C-677A-87E4-E8F5-3772BA337ABB}"/>
          </ac:spMkLst>
        </pc:spChg>
        <pc:spChg chg="del">
          <ac:chgData name="Muchahary, Frankle" userId="0f2bf491-0617-4378-90b8-89af8fa381b9" providerId="ADAL" clId="{90877F19-00D2-4A00-8128-E78E36266C9A}" dt="2023-11-08T22:36:07.647" v="182164"/>
          <ac:spMkLst>
            <pc:docMk/>
            <pc:sldMk cId="160926467" sldId="372"/>
            <ac:spMk id="909" creationId="{434E7999-FE4B-7E6F-3D7B-191419A99B40}"/>
          </ac:spMkLst>
        </pc:spChg>
        <pc:spChg chg="add del mod modVis">
          <ac:chgData name="Muchahary, Frankle" userId="0f2bf491-0617-4378-90b8-89af8fa381b9" providerId="ADAL" clId="{90877F19-00D2-4A00-8128-E78E36266C9A}" dt="2023-11-08T17:38:44.288" v="174126"/>
          <ac:spMkLst>
            <pc:docMk/>
            <pc:sldMk cId="160926467" sldId="372"/>
            <ac:spMk id="910" creationId="{06B9011E-0910-FF4F-0112-46CBBDA160D4}"/>
          </ac:spMkLst>
        </pc:spChg>
        <pc:spChg chg="del">
          <ac:chgData name="Muchahary, Frankle" userId="0f2bf491-0617-4378-90b8-89af8fa381b9" providerId="ADAL" clId="{90877F19-00D2-4A00-8128-E78E36266C9A}" dt="2023-11-08T22:36:07.659" v="182177"/>
          <ac:spMkLst>
            <pc:docMk/>
            <pc:sldMk cId="160926467" sldId="372"/>
            <ac:spMk id="910" creationId="{8EFFA912-7585-8473-1885-5566AD869C47}"/>
          </ac:spMkLst>
        </pc:spChg>
        <pc:spChg chg="add mod replST">
          <ac:chgData name="Muchahary, Frankle" userId="0f2bf491-0617-4378-90b8-89af8fa381b9" providerId="ADAL" clId="{90877F19-00D2-4A00-8128-E78E36266C9A}" dt="2023-11-08T22:36:21.304" v="183406"/>
          <ac:spMkLst>
            <pc:docMk/>
            <pc:sldMk cId="160926467" sldId="372"/>
            <ac:spMk id="911" creationId="{2F7EB55F-C57D-5937-86FE-032604B30BD8}"/>
          </ac:spMkLst>
        </pc:spChg>
        <pc:spChg chg="add del mod modVis">
          <ac:chgData name="Muchahary, Frankle" userId="0f2bf491-0617-4378-90b8-89af8fa381b9" providerId="ADAL" clId="{90877F19-00D2-4A00-8128-E78E36266C9A}" dt="2023-11-08T17:38:56.405" v="174721"/>
          <ac:spMkLst>
            <pc:docMk/>
            <pc:sldMk cId="160926467" sldId="372"/>
            <ac:spMk id="914" creationId="{289C6802-CF0A-37A3-E48C-3D646EF64942}"/>
          </ac:spMkLst>
        </pc:spChg>
        <pc:spChg chg="del">
          <ac:chgData name="Muchahary, Frankle" userId="0f2bf491-0617-4378-90b8-89af8fa381b9" providerId="ADAL" clId="{90877F19-00D2-4A00-8128-E78E36266C9A}" dt="2023-11-08T22:36:07.672" v="182193"/>
          <ac:spMkLst>
            <pc:docMk/>
            <pc:sldMk cId="160926467" sldId="372"/>
            <ac:spMk id="914" creationId="{F3E325FD-C89C-9B8E-7A19-4E1DB6F1D8EB}"/>
          </ac:spMkLst>
        </pc:spChg>
        <pc:spChg chg="add mod ord replST">
          <ac:chgData name="Muchahary, Frankle" userId="0f2bf491-0617-4378-90b8-89af8fa381b9" providerId="ADAL" clId="{90877F19-00D2-4A00-8128-E78E36266C9A}" dt="2023-11-08T18:12:12.771" v="178797"/>
          <ac:spMkLst>
            <pc:docMk/>
            <pc:sldMk cId="160926467" sldId="372"/>
            <ac:spMk id="915" creationId="{D7024CEC-CC39-8EAD-9FA1-412C8751B28B}"/>
          </ac:spMkLst>
        </pc:spChg>
        <pc:spChg chg="add mod ord replST">
          <ac:chgData name="Muchahary, Frankle" userId="0f2bf491-0617-4378-90b8-89af8fa381b9" providerId="ADAL" clId="{90877F19-00D2-4A00-8128-E78E36266C9A}" dt="2023-11-08T18:12:12.763" v="178781"/>
          <ac:spMkLst>
            <pc:docMk/>
            <pc:sldMk cId="160926467" sldId="372"/>
            <ac:spMk id="916" creationId="{06A302BC-7275-9474-2011-F5C47EBB0292}"/>
          </ac:spMkLst>
        </pc:spChg>
        <pc:spChg chg="add mod replST">
          <ac:chgData name="Muchahary, Frankle" userId="0f2bf491-0617-4378-90b8-89af8fa381b9" providerId="ADAL" clId="{90877F19-00D2-4A00-8128-E78E36266C9A}" dt="2023-11-08T18:12:12.757" v="178768"/>
          <ac:spMkLst>
            <pc:docMk/>
            <pc:sldMk cId="160926467" sldId="372"/>
            <ac:spMk id="917" creationId="{A8BA5204-C7D5-9AD3-3A9F-606C282BC1DA}"/>
          </ac:spMkLst>
        </pc:spChg>
        <pc:spChg chg="add mod ord replST">
          <ac:chgData name="Muchahary, Frankle" userId="0f2bf491-0617-4378-90b8-89af8fa381b9" providerId="ADAL" clId="{90877F19-00D2-4A00-8128-E78E36266C9A}" dt="2023-11-08T18:12:12.764" v="178783"/>
          <ac:spMkLst>
            <pc:docMk/>
            <pc:sldMk cId="160926467" sldId="372"/>
            <ac:spMk id="918" creationId="{D11990C0-23F4-5D24-BF93-E71CC2FD812C}"/>
          </ac:spMkLst>
        </pc:spChg>
        <pc:spChg chg="add mod ord replST">
          <ac:chgData name="Muchahary, Frankle" userId="0f2bf491-0617-4378-90b8-89af8fa381b9" providerId="ADAL" clId="{90877F19-00D2-4A00-8128-E78E36266C9A}" dt="2023-11-08T18:12:12.765" v="178785"/>
          <ac:spMkLst>
            <pc:docMk/>
            <pc:sldMk cId="160926467" sldId="372"/>
            <ac:spMk id="919" creationId="{00249357-BA63-AE3A-8B35-E9698E62D384}"/>
          </ac:spMkLst>
        </pc:spChg>
        <pc:spChg chg="add mod replST">
          <ac:chgData name="Muchahary, Frankle" userId="0f2bf491-0617-4378-90b8-89af8fa381b9" providerId="ADAL" clId="{90877F19-00D2-4A00-8128-E78E36266C9A}" dt="2023-11-08T18:12:12.755" v="178767"/>
          <ac:spMkLst>
            <pc:docMk/>
            <pc:sldMk cId="160926467" sldId="372"/>
            <ac:spMk id="920" creationId="{FF665F2D-6301-F233-9DEA-C78E90B70E8B}"/>
          </ac:spMkLst>
        </pc:spChg>
        <pc:spChg chg="add mod ord replST">
          <ac:chgData name="Muchahary, Frankle" userId="0f2bf491-0617-4378-90b8-89af8fa381b9" providerId="ADAL" clId="{90877F19-00D2-4A00-8128-E78E36266C9A}" dt="2023-11-08T18:12:12.766" v="178787"/>
          <ac:spMkLst>
            <pc:docMk/>
            <pc:sldMk cId="160926467" sldId="372"/>
            <ac:spMk id="921" creationId="{8D847F56-971D-78A6-017F-F21A0A052583}"/>
          </ac:spMkLst>
        </pc:spChg>
        <pc:spChg chg="add mod ord replST">
          <ac:chgData name="Muchahary, Frankle" userId="0f2bf491-0617-4378-90b8-89af8fa381b9" providerId="ADAL" clId="{90877F19-00D2-4A00-8128-E78E36266C9A}" dt="2023-11-08T18:12:12.767" v="178789"/>
          <ac:spMkLst>
            <pc:docMk/>
            <pc:sldMk cId="160926467" sldId="372"/>
            <ac:spMk id="922" creationId="{7E998408-5F2F-FD37-CEB5-6255B44EDDBA}"/>
          </ac:spMkLst>
        </pc:spChg>
        <pc:spChg chg="add mod replST">
          <ac:chgData name="Muchahary, Frankle" userId="0f2bf491-0617-4378-90b8-89af8fa381b9" providerId="ADAL" clId="{90877F19-00D2-4A00-8128-E78E36266C9A}" dt="2023-11-08T18:12:12.755" v="178766"/>
          <ac:spMkLst>
            <pc:docMk/>
            <pc:sldMk cId="160926467" sldId="372"/>
            <ac:spMk id="923" creationId="{4E1C75C2-D84F-561D-7F8D-8B9BA99117F8}"/>
          </ac:spMkLst>
        </pc:spChg>
        <pc:spChg chg="add mod ord replST">
          <ac:chgData name="Muchahary, Frankle" userId="0f2bf491-0617-4378-90b8-89af8fa381b9" providerId="ADAL" clId="{90877F19-00D2-4A00-8128-E78E36266C9A}" dt="2023-11-08T18:12:12.776" v="178805"/>
          <ac:spMkLst>
            <pc:docMk/>
            <pc:sldMk cId="160926467" sldId="372"/>
            <ac:spMk id="924" creationId="{6340EEEB-D36D-4A72-8B21-213B2053A8D3}"/>
          </ac:spMkLst>
        </pc:spChg>
        <pc:spChg chg="add mod ord replST">
          <ac:chgData name="Muchahary, Frankle" userId="0f2bf491-0617-4378-90b8-89af8fa381b9" providerId="ADAL" clId="{90877F19-00D2-4A00-8128-E78E36266C9A}" dt="2023-11-08T18:12:12.768" v="178791"/>
          <ac:spMkLst>
            <pc:docMk/>
            <pc:sldMk cId="160926467" sldId="372"/>
            <ac:spMk id="925" creationId="{F21743E8-B47A-CC95-FE68-AE927E31BBFD}"/>
          </ac:spMkLst>
        </pc:spChg>
        <pc:spChg chg="add mod replST">
          <ac:chgData name="Muchahary, Frankle" userId="0f2bf491-0617-4378-90b8-89af8fa381b9" providerId="ADAL" clId="{90877F19-00D2-4A00-8128-E78E36266C9A}" dt="2023-11-08T18:12:12.758" v="178769"/>
          <ac:spMkLst>
            <pc:docMk/>
            <pc:sldMk cId="160926467" sldId="372"/>
            <ac:spMk id="926" creationId="{E17C0B60-C84B-75B2-33FA-004B23D3C141}"/>
          </ac:spMkLst>
        </pc:spChg>
        <pc:spChg chg="add mod ord replST">
          <ac:chgData name="Muchahary, Frankle" userId="0f2bf491-0617-4378-90b8-89af8fa381b9" providerId="ADAL" clId="{90877F19-00D2-4A00-8128-E78E36266C9A}" dt="2023-11-08T18:12:12.769" v="178793"/>
          <ac:spMkLst>
            <pc:docMk/>
            <pc:sldMk cId="160926467" sldId="372"/>
            <ac:spMk id="927" creationId="{5F954C79-EB99-1F17-43D8-63EB1CE2E4E0}"/>
          </ac:spMkLst>
        </pc:spChg>
        <pc:spChg chg="add mod ord replST">
          <ac:chgData name="Muchahary, Frankle" userId="0f2bf491-0617-4378-90b8-89af8fa381b9" providerId="ADAL" clId="{90877F19-00D2-4A00-8128-E78E36266C9A}" dt="2023-11-08T18:12:12.770" v="178795"/>
          <ac:spMkLst>
            <pc:docMk/>
            <pc:sldMk cId="160926467" sldId="372"/>
            <ac:spMk id="928" creationId="{37AB4276-B2A6-6997-8BF9-309DAC1386AD}"/>
          </ac:spMkLst>
        </pc:spChg>
        <pc:spChg chg="add mod replST">
          <ac:chgData name="Muchahary, Frankle" userId="0f2bf491-0617-4378-90b8-89af8fa381b9" providerId="ADAL" clId="{90877F19-00D2-4A00-8128-E78E36266C9A}" dt="2023-11-08T18:12:12.759" v="178772"/>
          <ac:spMkLst>
            <pc:docMk/>
            <pc:sldMk cId="160926467" sldId="372"/>
            <ac:spMk id="929" creationId="{AA628B70-EE68-76C0-6026-3D5BDB3DD74F}"/>
          </ac:spMkLst>
        </pc:spChg>
        <pc:spChg chg="add mod ord replST">
          <ac:chgData name="Muchahary, Frankle" userId="0f2bf491-0617-4378-90b8-89af8fa381b9" providerId="ADAL" clId="{90877F19-00D2-4A00-8128-E78E36266C9A}" dt="2023-11-08T18:12:12.772" v="178799"/>
          <ac:spMkLst>
            <pc:docMk/>
            <pc:sldMk cId="160926467" sldId="372"/>
            <ac:spMk id="930" creationId="{38DC6CAA-49BD-0BEC-755A-93D04471FE83}"/>
          </ac:spMkLst>
        </pc:spChg>
        <pc:spChg chg="add mod ord replST">
          <ac:chgData name="Muchahary, Frankle" userId="0f2bf491-0617-4378-90b8-89af8fa381b9" providerId="ADAL" clId="{90877F19-00D2-4A00-8128-E78E36266C9A}" dt="2023-11-08T18:12:12.773" v="178801"/>
          <ac:spMkLst>
            <pc:docMk/>
            <pc:sldMk cId="160926467" sldId="372"/>
            <ac:spMk id="931" creationId="{3358B993-D0E1-2051-2F0D-89ADE593DA56}"/>
          </ac:spMkLst>
        </pc:spChg>
        <pc:spChg chg="add mod replST">
          <ac:chgData name="Muchahary, Frankle" userId="0f2bf491-0617-4378-90b8-89af8fa381b9" providerId="ADAL" clId="{90877F19-00D2-4A00-8128-E78E36266C9A}" dt="2023-11-08T18:12:12.760" v="178773"/>
          <ac:spMkLst>
            <pc:docMk/>
            <pc:sldMk cId="160926467" sldId="372"/>
            <ac:spMk id="932" creationId="{3DD3D79A-7293-C38C-A18D-4306388DB8D7}"/>
          </ac:spMkLst>
        </pc:spChg>
        <pc:spChg chg="del">
          <ac:chgData name="Muchahary, Frankle" userId="0f2bf491-0617-4378-90b8-89af8fa381b9" providerId="ADAL" clId="{90877F19-00D2-4A00-8128-E78E36266C9A}" dt="2023-11-08T22:36:07.684" v="182208"/>
          <ac:spMkLst>
            <pc:docMk/>
            <pc:sldMk cId="160926467" sldId="372"/>
            <ac:spMk id="934" creationId="{B4C97B59-F28A-3F66-87DC-E3FBB77FDCDE}"/>
          </ac:spMkLst>
        </pc:spChg>
        <pc:spChg chg="add del mod modVis">
          <ac:chgData name="Muchahary, Frankle" userId="0f2bf491-0617-4378-90b8-89af8fa381b9" providerId="ADAL" clId="{90877F19-00D2-4A00-8128-E78E36266C9A}" dt="2023-11-08T17:39:16.787" v="174991"/>
          <ac:spMkLst>
            <pc:docMk/>
            <pc:sldMk cId="160926467" sldId="372"/>
            <ac:spMk id="934" creationId="{D4C2984B-1B36-0C2F-C20A-D262E2D2434E}"/>
          </ac:spMkLst>
        </pc:spChg>
        <pc:spChg chg="add del mod modVis">
          <ac:chgData name="Muchahary, Frankle" userId="0f2bf491-0617-4378-90b8-89af8fa381b9" providerId="ADAL" clId="{90877F19-00D2-4A00-8128-E78E36266C9A}" dt="2023-11-08T17:39:40.313" v="175268"/>
          <ac:spMkLst>
            <pc:docMk/>
            <pc:sldMk cId="160926467" sldId="372"/>
            <ac:spMk id="936" creationId="{0160A0B7-42BB-EFCD-0FF3-FA6273C1FA92}"/>
          </ac:spMkLst>
        </pc:spChg>
        <pc:spChg chg="del">
          <ac:chgData name="Muchahary, Frankle" userId="0f2bf491-0617-4378-90b8-89af8fa381b9" providerId="ADAL" clId="{90877F19-00D2-4A00-8128-E78E36266C9A}" dt="2023-11-08T22:36:07.695" v="182221"/>
          <ac:spMkLst>
            <pc:docMk/>
            <pc:sldMk cId="160926467" sldId="372"/>
            <ac:spMk id="936" creationId="{566090EE-76E1-A5A8-58B7-F3208936C016}"/>
          </ac:spMkLst>
        </pc:spChg>
        <pc:spChg chg="add del mod modVis">
          <ac:chgData name="Muchahary, Frankle" userId="0f2bf491-0617-4378-90b8-89af8fa381b9" providerId="ADAL" clId="{90877F19-00D2-4A00-8128-E78E36266C9A}" dt="2023-11-08T17:39:56.892" v="175494"/>
          <ac:spMkLst>
            <pc:docMk/>
            <pc:sldMk cId="160926467" sldId="372"/>
            <ac:spMk id="938" creationId="{C580DEF4-0C89-F5EC-CE6F-BDDE6F4955C7}"/>
          </ac:spMkLst>
        </pc:spChg>
        <pc:spChg chg="del">
          <ac:chgData name="Muchahary, Frankle" userId="0f2bf491-0617-4378-90b8-89af8fa381b9" providerId="ADAL" clId="{90877F19-00D2-4A00-8128-E78E36266C9A}" dt="2023-11-08T22:36:07.707" v="182237"/>
          <ac:spMkLst>
            <pc:docMk/>
            <pc:sldMk cId="160926467" sldId="372"/>
            <ac:spMk id="938" creationId="{D11BC5F6-B648-F686-A38C-06A1F520AD20}"/>
          </ac:spMkLst>
        </pc:spChg>
        <pc:spChg chg="del">
          <ac:chgData name="Muchahary, Frankle" userId="0f2bf491-0617-4378-90b8-89af8fa381b9" providerId="ADAL" clId="{90877F19-00D2-4A00-8128-E78E36266C9A}" dt="2023-11-08T22:36:07.718" v="182252"/>
          <ac:spMkLst>
            <pc:docMk/>
            <pc:sldMk cId="160926467" sldId="372"/>
            <ac:spMk id="940" creationId="{27775675-231B-4F90-184C-A27E0753BF72}"/>
          </ac:spMkLst>
        </pc:spChg>
        <pc:spChg chg="add del mod modVis">
          <ac:chgData name="Muchahary, Frankle" userId="0f2bf491-0617-4378-90b8-89af8fa381b9" providerId="ADAL" clId="{90877F19-00D2-4A00-8128-E78E36266C9A}" dt="2023-11-08T17:40:00.122" v="175718"/>
          <ac:spMkLst>
            <pc:docMk/>
            <pc:sldMk cId="160926467" sldId="372"/>
            <ac:spMk id="940" creationId="{79D1B551-1955-FF6C-3BF7-0150DFA3987E}"/>
          </ac:spMkLst>
        </pc:spChg>
        <pc:spChg chg="del">
          <ac:chgData name="Muchahary, Frankle" userId="0f2bf491-0617-4378-90b8-89af8fa381b9" providerId="ADAL" clId="{90877F19-00D2-4A00-8128-E78E36266C9A}" dt="2023-11-08T22:36:07.729" v="182265"/>
          <ac:spMkLst>
            <pc:docMk/>
            <pc:sldMk cId="160926467" sldId="372"/>
            <ac:spMk id="942" creationId="{4C91A93C-8180-B3BD-A272-A8E8F8A08B0F}"/>
          </ac:spMkLst>
        </pc:spChg>
        <pc:spChg chg="add del mod modVis">
          <ac:chgData name="Muchahary, Frankle" userId="0f2bf491-0617-4378-90b8-89af8fa381b9" providerId="ADAL" clId="{90877F19-00D2-4A00-8128-E78E36266C9A}" dt="2023-11-08T17:40:37.272" v="176027"/>
          <ac:spMkLst>
            <pc:docMk/>
            <pc:sldMk cId="160926467" sldId="372"/>
            <ac:spMk id="942" creationId="{89FB4C3F-1522-4E32-4078-36FE7B72F9D3}"/>
          </ac:spMkLst>
        </pc:spChg>
        <pc:spChg chg="add del mod replST">
          <ac:chgData name="Muchahary, Frankle" userId="0f2bf491-0617-4378-90b8-89af8fa381b9" providerId="ADAL" clId="{90877F19-00D2-4A00-8128-E78E36266C9A}" dt="2023-11-08T17:40:39.366" v="176097"/>
          <ac:spMkLst>
            <pc:docMk/>
            <pc:sldMk cId="160926467" sldId="372"/>
            <ac:spMk id="943" creationId="{76B19CD3-448A-D848-0896-C4659B64CCE2}"/>
          </ac:spMkLst>
        </pc:spChg>
        <pc:spChg chg="del">
          <ac:chgData name="Muchahary, Frankle" userId="0f2bf491-0617-4378-90b8-89af8fa381b9" providerId="ADAL" clId="{90877F19-00D2-4A00-8128-E78E36266C9A}" dt="2023-11-08T22:36:07.742" v="182281"/>
          <ac:spMkLst>
            <pc:docMk/>
            <pc:sldMk cId="160926467" sldId="372"/>
            <ac:spMk id="943" creationId="{A7FF2898-14FD-6EDF-6E81-5D33D39CDD45}"/>
          </ac:spMkLst>
        </pc:spChg>
        <pc:spChg chg="del">
          <ac:chgData name="Muchahary, Frankle" userId="0f2bf491-0617-4378-90b8-89af8fa381b9" providerId="ADAL" clId="{90877F19-00D2-4A00-8128-E78E36266C9A}" dt="2023-11-08T22:36:07.754" v="182296"/>
          <ac:spMkLst>
            <pc:docMk/>
            <pc:sldMk cId="160926467" sldId="372"/>
            <ac:spMk id="944" creationId="{B176C5D4-0DAF-7956-43F8-2D6C736937EC}"/>
          </ac:spMkLst>
        </pc:spChg>
        <pc:spChg chg="add del mod modVis">
          <ac:chgData name="Muchahary, Frankle" userId="0f2bf491-0617-4378-90b8-89af8fa381b9" providerId="ADAL" clId="{90877F19-00D2-4A00-8128-E78E36266C9A}" dt="2023-11-08T17:40:39.502" v="176271"/>
          <ac:spMkLst>
            <pc:docMk/>
            <pc:sldMk cId="160926467" sldId="372"/>
            <ac:spMk id="945" creationId="{B11A7863-F5C5-BFE7-88F0-4AFD48718566}"/>
          </ac:spMkLst>
        </pc:spChg>
        <pc:spChg chg="del">
          <ac:chgData name="Muchahary, Frankle" userId="0f2bf491-0617-4378-90b8-89af8fa381b9" providerId="ADAL" clId="{90877F19-00D2-4A00-8128-E78E36266C9A}" dt="2023-11-08T22:36:07.765" v="182309"/>
          <ac:spMkLst>
            <pc:docMk/>
            <pc:sldMk cId="160926467" sldId="372"/>
            <ac:spMk id="945" creationId="{D4B2E95F-45E3-9A7E-0CDA-295A29ECBF3B}"/>
          </ac:spMkLst>
        </pc:spChg>
        <pc:spChg chg="del">
          <ac:chgData name="Muchahary, Frankle" userId="0f2bf491-0617-4378-90b8-89af8fa381b9" providerId="ADAL" clId="{90877F19-00D2-4A00-8128-E78E36266C9A}" dt="2023-11-08T22:36:07.781" v="182325"/>
          <ac:spMkLst>
            <pc:docMk/>
            <pc:sldMk cId="160926467" sldId="372"/>
            <ac:spMk id="946" creationId="{A3921652-DD0F-FB1F-EB77-AF83826CC05C}"/>
          </ac:spMkLst>
        </pc:spChg>
        <pc:spChg chg="del">
          <ac:chgData name="Muchahary, Frankle" userId="0f2bf491-0617-4378-90b8-89af8fa381b9" providerId="ADAL" clId="{90877F19-00D2-4A00-8128-E78E36266C9A}" dt="2023-11-08T22:36:07.793" v="182340"/>
          <ac:spMkLst>
            <pc:docMk/>
            <pc:sldMk cId="160926467" sldId="372"/>
            <ac:spMk id="947" creationId="{64B374F4-4F77-1F21-20FD-739C964E65E4}"/>
          </ac:spMkLst>
        </pc:spChg>
        <pc:spChg chg="add del mod modVis">
          <ac:chgData name="Muchahary, Frankle" userId="0f2bf491-0617-4378-90b8-89af8fa381b9" providerId="ADAL" clId="{90877F19-00D2-4A00-8128-E78E36266C9A}" dt="2023-11-08T17:40:47.825" v="176513"/>
          <ac:spMkLst>
            <pc:docMk/>
            <pc:sldMk cId="160926467" sldId="372"/>
            <ac:spMk id="947" creationId="{A494DB7F-3992-790E-1CC0-85E1B449925E}"/>
          </ac:spMkLst>
        </pc:spChg>
        <pc:spChg chg="del">
          <ac:chgData name="Muchahary, Frankle" userId="0f2bf491-0617-4378-90b8-89af8fa381b9" providerId="ADAL" clId="{90877F19-00D2-4A00-8128-E78E36266C9A}" dt="2023-11-08T22:36:07.802" v="182353"/>
          <ac:spMkLst>
            <pc:docMk/>
            <pc:sldMk cId="160926467" sldId="372"/>
            <ac:spMk id="948" creationId="{81768CAF-60D8-26EF-4DCD-6643C5CE09E7}"/>
          </ac:spMkLst>
        </pc:spChg>
        <pc:spChg chg="add del mod modVis">
          <ac:chgData name="Muchahary, Frankle" userId="0f2bf491-0617-4378-90b8-89af8fa381b9" providerId="ADAL" clId="{90877F19-00D2-4A00-8128-E78E36266C9A}" dt="2023-11-08T17:40:53.727" v="176755"/>
          <ac:spMkLst>
            <pc:docMk/>
            <pc:sldMk cId="160926467" sldId="372"/>
            <ac:spMk id="949" creationId="{70995581-A2FD-BF2C-352A-F02A2D41BA98}"/>
          </ac:spMkLst>
        </pc:spChg>
        <pc:spChg chg="del">
          <ac:chgData name="Muchahary, Frankle" userId="0f2bf491-0617-4378-90b8-89af8fa381b9" providerId="ADAL" clId="{90877F19-00D2-4A00-8128-E78E36266C9A}" dt="2023-11-08T22:36:07.814" v="182369"/>
          <ac:spMkLst>
            <pc:docMk/>
            <pc:sldMk cId="160926467" sldId="372"/>
            <ac:spMk id="949" creationId="{C3B84D6B-D6AC-61CA-EA33-7D85A5095200}"/>
          </ac:spMkLst>
        </pc:spChg>
        <pc:spChg chg="del">
          <ac:chgData name="Muchahary, Frankle" userId="0f2bf491-0617-4378-90b8-89af8fa381b9" providerId="ADAL" clId="{90877F19-00D2-4A00-8128-E78E36266C9A}" dt="2023-11-08T22:36:07.825" v="182384"/>
          <ac:spMkLst>
            <pc:docMk/>
            <pc:sldMk cId="160926467" sldId="372"/>
            <ac:spMk id="950" creationId="{09AC2F57-85CB-0B54-2304-99F1F22BBEF2}"/>
          </ac:spMkLst>
        </pc:spChg>
        <pc:spChg chg="add del mod modVis">
          <ac:chgData name="Muchahary, Frankle" userId="0f2bf491-0617-4378-90b8-89af8fa381b9" providerId="ADAL" clId="{90877F19-00D2-4A00-8128-E78E36266C9A}" dt="2023-11-08T17:41:00.280" v="176997"/>
          <ac:spMkLst>
            <pc:docMk/>
            <pc:sldMk cId="160926467" sldId="372"/>
            <ac:spMk id="951" creationId="{9614AA70-1FB2-192A-A8C0-2D66F7956580}"/>
          </ac:spMkLst>
        </pc:spChg>
        <pc:spChg chg="del">
          <ac:chgData name="Muchahary, Frankle" userId="0f2bf491-0617-4378-90b8-89af8fa381b9" providerId="ADAL" clId="{90877F19-00D2-4A00-8128-E78E36266C9A}" dt="2023-11-08T22:36:07.834" v="182397"/>
          <ac:spMkLst>
            <pc:docMk/>
            <pc:sldMk cId="160926467" sldId="372"/>
            <ac:spMk id="951" creationId="{B31069CE-7BDB-F3B5-D6F5-FFB5406D8307}"/>
          </ac:spMkLst>
        </pc:spChg>
        <pc:spChg chg="add del mod modVis">
          <ac:chgData name="Muchahary, Frankle" userId="0f2bf491-0617-4378-90b8-89af8fa381b9" providerId="ADAL" clId="{90877F19-00D2-4A00-8128-E78E36266C9A}" dt="2023-11-08T18:09:28.797" v="177025"/>
          <ac:spMkLst>
            <pc:docMk/>
            <pc:sldMk cId="160926467" sldId="372"/>
            <ac:spMk id="953" creationId="{7BA80376-CE86-5255-2D0B-B5111B8A5189}"/>
          </ac:spMkLst>
        </pc:spChg>
        <pc:spChg chg="del">
          <ac:chgData name="Muchahary, Frankle" userId="0f2bf491-0617-4378-90b8-89af8fa381b9" providerId="ADAL" clId="{90877F19-00D2-4A00-8128-E78E36266C9A}" dt="2023-11-08T22:36:07.846" v="182413"/>
          <ac:spMkLst>
            <pc:docMk/>
            <pc:sldMk cId="160926467" sldId="372"/>
            <ac:spMk id="953" creationId="{DE6880E9-3F14-43DE-D63C-367E5F1370A0}"/>
          </ac:spMkLst>
        </pc:spChg>
        <pc:spChg chg="add del mod modVis">
          <ac:chgData name="Muchahary, Frankle" userId="0f2bf491-0617-4378-90b8-89af8fa381b9" providerId="ADAL" clId="{90877F19-00D2-4A00-8128-E78E36266C9A}" dt="2023-11-08T18:11:12.428" v="177334"/>
          <ac:spMkLst>
            <pc:docMk/>
            <pc:sldMk cId="160926467" sldId="372"/>
            <ac:spMk id="954" creationId="{2862BD25-9428-247A-0162-594E41BD0ECA}"/>
          </ac:spMkLst>
        </pc:spChg>
        <pc:spChg chg="del">
          <ac:chgData name="Muchahary, Frankle" userId="0f2bf491-0617-4378-90b8-89af8fa381b9" providerId="ADAL" clId="{90877F19-00D2-4A00-8128-E78E36266C9A}" dt="2023-11-08T22:36:07.855" v="182428"/>
          <ac:spMkLst>
            <pc:docMk/>
            <pc:sldMk cId="160926467" sldId="372"/>
            <ac:spMk id="954" creationId="{2C2DE94C-135B-4E41-7DA8-41DC2A8A001F}"/>
          </ac:spMkLst>
        </pc:spChg>
        <pc:spChg chg="add del mod replST">
          <ac:chgData name="Muchahary, Frankle" userId="0f2bf491-0617-4378-90b8-89af8fa381b9" providerId="ADAL" clId="{90877F19-00D2-4A00-8128-E78E36266C9A}" dt="2023-11-08T18:11:14.640" v="177404"/>
          <ac:spMkLst>
            <pc:docMk/>
            <pc:sldMk cId="160926467" sldId="372"/>
            <ac:spMk id="955" creationId="{21E3856E-A27B-C2D2-8BB8-D41137AAF51F}"/>
          </ac:spMkLst>
        </pc:spChg>
        <pc:spChg chg="add del mod modVis">
          <ac:chgData name="Muchahary, Frankle" userId="0f2bf491-0617-4378-90b8-89af8fa381b9" providerId="ADAL" clId="{90877F19-00D2-4A00-8128-E78E36266C9A}" dt="2023-11-08T18:11:14.799" v="177578"/>
          <ac:spMkLst>
            <pc:docMk/>
            <pc:sldMk cId="160926467" sldId="372"/>
            <ac:spMk id="957" creationId="{A42F44EE-D009-441A-E7A5-ECBB94038AE6}"/>
          </ac:spMkLst>
        </pc:spChg>
        <pc:spChg chg="add del mod modVis">
          <ac:chgData name="Muchahary, Frankle" userId="0f2bf491-0617-4378-90b8-89af8fa381b9" providerId="ADAL" clId="{90877F19-00D2-4A00-8128-E78E36266C9A}" dt="2023-11-08T18:11:24.984" v="177947"/>
          <ac:spMkLst>
            <pc:docMk/>
            <pc:sldMk cId="160926467" sldId="372"/>
            <ac:spMk id="959" creationId="{F9300F0D-5AA9-9EF8-8DBF-9D3FA5B1FFA0}"/>
          </ac:spMkLst>
        </pc:spChg>
        <pc:spChg chg="add del mod modVis">
          <ac:chgData name="Muchahary, Frankle" userId="0f2bf491-0617-4378-90b8-89af8fa381b9" providerId="ADAL" clId="{90877F19-00D2-4A00-8128-E78E36266C9A}" dt="2023-11-08T18:11:41.458" v="177977"/>
          <ac:spMkLst>
            <pc:docMk/>
            <pc:sldMk cId="160926467" sldId="372"/>
            <ac:spMk id="962" creationId="{122E95A9-A71D-3600-7D3A-F0873877394C}"/>
          </ac:spMkLst>
        </pc:spChg>
        <pc:spChg chg="add del mod modVis">
          <ac:chgData name="Muchahary, Frankle" userId="0f2bf491-0617-4378-90b8-89af8fa381b9" providerId="ADAL" clId="{90877F19-00D2-4A00-8128-E78E36266C9A}" dt="2023-11-08T18:11:42.946" v="178006"/>
          <ac:spMkLst>
            <pc:docMk/>
            <pc:sldMk cId="160926467" sldId="372"/>
            <ac:spMk id="965" creationId="{9C61B72B-DBB7-A41E-FD62-A4FC9A536158}"/>
          </ac:spMkLst>
        </pc:spChg>
        <pc:spChg chg="add del mod modVis">
          <ac:chgData name="Muchahary, Frankle" userId="0f2bf491-0617-4378-90b8-89af8fa381b9" providerId="ADAL" clId="{90877F19-00D2-4A00-8128-E78E36266C9A}" dt="2023-11-08T18:11:46.623" v="178057"/>
          <ac:spMkLst>
            <pc:docMk/>
            <pc:sldMk cId="160926467" sldId="372"/>
            <ac:spMk id="967" creationId="{64321137-DFD4-3505-A737-7F20C22723A1}"/>
          </ac:spMkLst>
        </pc:spChg>
        <pc:spChg chg="add del mod modVis">
          <ac:chgData name="Muchahary, Frankle" userId="0f2bf491-0617-4378-90b8-89af8fa381b9" providerId="ADAL" clId="{90877F19-00D2-4A00-8128-E78E36266C9A}" dt="2023-11-08T18:11:48.478" v="178091"/>
          <ac:spMkLst>
            <pc:docMk/>
            <pc:sldMk cId="160926467" sldId="372"/>
            <ac:spMk id="968" creationId="{75231266-D21D-B5FB-4875-ADFDB9C51ED6}"/>
          </ac:spMkLst>
        </pc:spChg>
        <pc:spChg chg="add del mod modVis">
          <ac:chgData name="Muchahary, Frankle" userId="0f2bf491-0617-4378-90b8-89af8fa381b9" providerId="ADAL" clId="{90877F19-00D2-4A00-8128-E78E36266C9A}" dt="2023-11-08T18:11:56.479" v="178126"/>
          <ac:spMkLst>
            <pc:docMk/>
            <pc:sldMk cId="160926467" sldId="372"/>
            <ac:spMk id="970" creationId="{04BF7385-8695-8EEB-4BAF-3EA7A5A30B10}"/>
          </ac:spMkLst>
        </pc:spChg>
        <pc:spChg chg="add del mod modVis">
          <ac:chgData name="Muchahary, Frankle" userId="0f2bf491-0617-4378-90b8-89af8fa381b9" providerId="ADAL" clId="{90877F19-00D2-4A00-8128-E78E36266C9A}" dt="2023-11-08T18:11:58.985" v="178157"/>
          <ac:spMkLst>
            <pc:docMk/>
            <pc:sldMk cId="160926467" sldId="372"/>
            <ac:spMk id="973" creationId="{ECCDB204-C1B9-A06C-3893-A0EB51E05FD0}"/>
          </ac:spMkLst>
        </pc:spChg>
        <pc:spChg chg="add del mod modVis">
          <ac:chgData name="Muchahary, Frankle" userId="0f2bf491-0617-4378-90b8-89af8fa381b9" providerId="ADAL" clId="{90877F19-00D2-4A00-8128-E78E36266C9A}" dt="2023-11-08T18:12:06.905" v="178630"/>
          <ac:spMkLst>
            <pc:docMk/>
            <pc:sldMk cId="160926467" sldId="372"/>
            <ac:spMk id="974" creationId="{1A7435F1-1433-383E-38E9-ED3416D0A70C}"/>
          </ac:spMkLst>
        </pc:spChg>
        <pc:spChg chg="add mod ord">
          <ac:chgData name="Muchahary, Frankle" userId="0f2bf491-0617-4378-90b8-89af8fa381b9" providerId="ADAL" clId="{90877F19-00D2-4A00-8128-E78E36266C9A}" dt="2023-11-08T22:36:21.349" v="183517"/>
          <ac:spMkLst>
            <pc:docMk/>
            <pc:sldMk cId="160926467" sldId="372"/>
            <ac:spMk id="977" creationId="{21D10775-9154-C471-83B9-1BC7239EABBE}"/>
          </ac:spMkLst>
        </pc:spChg>
        <pc:spChg chg="add del mod modVis">
          <ac:chgData name="Muchahary, Frankle" userId="0f2bf491-0617-4378-90b8-89af8fa381b9" providerId="ADAL" clId="{90877F19-00D2-4A00-8128-E78E36266C9A}" dt="2023-11-08T18:15:03.840" v="179144"/>
          <ac:spMkLst>
            <pc:docMk/>
            <pc:sldMk cId="160926467" sldId="372"/>
            <ac:spMk id="978" creationId="{9F655449-4F04-DC9E-52AE-EDF60D7D0570}"/>
          </ac:spMkLst>
        </pc:spChg>
        <pc:spChg chg="add del mod modVis">
          <ac:chgData name="Muchahary, Frankle" userId="0f2bf491-0617-4378-90b8-89af8fa381b9" providerId="ADAL" clId="{90877F19-00D2-4A00-8128-E78E36266C9A}" dt="2023-11-08T18:15:04.524" v="179171"/>
          <ac:spMkLst>
            <pc:docMk/>
            <pc:sldMk cId="160926467" sldId="372"/>
            <ac:spMk id="979" creationId="{E6DE6F51-31B5-1646-6A46-A9288225F68B}"/>
          </ac:spMkLst>
        </pc:spChg>
        <pc:spChg chg="add del mod modVis">
          <ac:chgData name="Muchahary, Frankle" userId="0f2bf491-0617-4378-90b8-89af8fa381b9" providerId="ADAL" clId="{90877F19-00D2-4A00-8128-E78E36266C9A}" dt="2023-11-08T18:15:08.379" v="179198"/>
          <ac:spMkLst>
            <pc:docMk/>
            <pc:sldMk cId="160926467" sldId="372"/>
            <ac:spMk id="980" creationId="{97805018-45D7-C507-47A1-5362E8C027E5}"/>
          </ac:spMkLst>
        </pc:spChg>
        <pc:spChg chg="add del mod modVis">
          <ac:chgData name="Muchahary, Frankle" userId="0f2bf491-0617-4378-90b8-89af8fa381b9" providerId="ADAL" clId="{90877F19-00D2-4A00-8128-E78E36266C9A}" dt="2023-11-08T18:15:18.804" v="179225"/>
          <ac:spMkLst>
            <pc:docMk/>
            <pc:sldMk cId="160926467" sldId="372"/>
            <ac:spMk id="981" creationId="{3F41BA78-EE47-FC24-B63D-43467D88A979}"/>
          </ac:spMkLst>
        </pc:spChg>
        <pc:spChg chg="add del mod modVis">
          <ac:chgData name="Muchahary, Frankle" userId="0f2bf491-0617-4378-90b8-89af8fa381b9" providerId="ADAL" clId="{90877F19-00D2-4A00-8128-E78E36266C9A}" dt="2023-11-08T18:15:19.536" v="179252"/>
          <ac:spMkLst>
            <pc:docMk/>
            <pc:sldMk cId="160926467" sldId="372"/>
            <ac:spMk id="982" creationId="{4B06737F-9780-02FD-7BBE-16BB8FEF0DDE}"/>
          </ac:spMkLst>
        </pc:spChg>
        <pc:spChg chg="add del mod modVis">
          <ac:chgData name="Muchahary, Frankle" userId="0f2bf491-0617-4378-90b8-89af8fa381b9" providerId="ADAL" clId="{90877F19-00D2-4A00-8128-E78E36266C9A}" dt="2023-11-08T18:15:38.934" v="179282"/>
          <ac:spMkLst>
            <pc:docMk/>
            <pc:sldMk cId="160926467" sldId="372"/>
            <ac:spMk id="983" creationId="{7AF549C6-41FA-1E38-7B5B-7C16866D6D2F}"/>
          </ac:spMkLst>
        </pc:spChg>
        <pc:spChg chg="add del mod modVis">
          <ac:chgData name="Muchahary, Frankle" userId="0f2bf491-0617-4378-90b8-89af8fa381b9" providerId="ADAL" clId="{90877F19-00D2-4A00-8128-E78E36266C9A}" dt="2023-11-08T18:15:39.910" v="179310"/>
          <ac:spMkLst>
            <pc:docMk/>
            <pc:sldMk cId="160926467" sldId="372"/>
            <ac:spMk id="984" creationId="{1EE69A6F-D886-A9AA-C36D-4AB25B2B6282}"/>
          </ac:spMkLst>
        </pc:spChg>
        <pc:spChg chg="add del mod modVis">
          <ac:chgData name="Muchahary, Frankle" userId="0f2bf491-0617-4378-90b8-89af8fa381b9" providerId="ADAL" clId="{90877F19-00D2-4A00-8128-E78E36266C9A}" dt="2023-11-08T18:15:40.489" v="179337"/>
          <ac:spMkLst>
            <pc:docMk/>
            <pc:sldMk cId="160926467" sldId="372"/>
            <ac:spMk id="985" creationId="{47E9D042-A066-0BAD-066B-1B20F5AEDF36}"/>
          </ac:spMkLst>
        </pc:spChg>
        <pc:spChg chg="add del mod modVis">
          <ac:chgData name="Muchahary, Frankle" userId="0f2bf491-0617-4378-90b8-89af8fa381b9" providerId="ADAL" clId="{90877F19-00D2-4A00-8128-E78E36266C9A}" dt="2023-11-08T18:15:42.540" v="179373"/>
          <ac:spMkLst>
            <pc:docMk/>
            <pc:sldMk cId="160926467" sldId="372"/>
            <ac:spMk id="986" creationId="{D4E2B687-45C6-DC74-F67D-AD05B2CC13A4}"/>
          </ac:spMkLst>
        </pc:spChg>
        <pc:spChg chg="add del mod modVis">
          <ac:chgData name="Muchahary, Frankle" userId="0f2bf491-0617-4378-90b8-89af8fa381b9" providerId="ADAL" clId="{90877F19-00D2-4A00-8128-E78E36266C9A}" dt="2023-11-08T18:15:45.981" v="179403"/>
          <ac:spMkLst>
            <pc:docMk/>
            <pc:sldMk cId="160926467" sldId="372"/>
            <ac:spMk id="987" creationId="{8EF98851-9BF4-C617-3D7F-339C20E495CE}"/>
          </ac:spMkLst>
        </pc:spChg>
        <pc:spChg chg="add del mod modVis">
          <ac:chgData name="Muchahary, Frankle" userId="0f2bf491-0617-4378-90b8-89af8fa381b9" providerId="ADAL" clId="{90877F19-00D2-4A00-8128-E78E36266C9A}" dt="2023-11-08T18:15:47.040" v="179431"/>
          <ac:spMkLst>
            <pc:docMk/>
            <pc:sldMk cId="160926467" sldId="372"/>
            <ac:spMk id="988" creationId="{C829DA7D-778E-6AED-70BD-E2977990F8D2}"/>
          </ac:spMkLst>
        </pc:spChg>
        <pc:spChg chg="add del mod modVis">
          <ac:chgData name="Muchahary, Frankle" userId="0f2bf491-0617-4378-90b8-89af8fa381b9" providerId="ADAL" clId="{90877F19-00D2-4A00-8128-E78E36266C9A}" dt="2023-11-08T18:15:49.309" v="179458"/>
          <ac:spMkLst>
            <pc:docMk/>
            <pc:sldMk cId="160926467" sldId="372"/>
            <ac:spMk id="989" creationId="{9AD76273-2CC4-CAD4-81E9-AADCA0A795D4}"/>
          </ac:spMkLst>
        </pc:spChg>
        <pc:spChg chg="add del mod modVis">
          <ac:chgData name="Muchahary, Frankle" userId="0f2bf491-0617-4378-90b8-89af8fa381b9" providerId="ADAL" clId="{90877F19-00D2-4A00-8128-E78E36266C9A}" dt="2023-11-08T18:15:53.848" v="179485"/>
          <ac:spMkLst>
            <pc:docMk/>
            <pc:sldMk cId="160926467" sldId="372"/>
            <ac:spMk id="990" creationId="{F5B2486D-75AA-3CDA-DADE-947918DDF7A4}"/>
          </ac:spMkLst>
        </pc:spChg>
        <pc:spChg chg="add del mod modVis">
          <ac:chgData name="Muchahary, Frankle" userId="0f2bf491-0617-4378-90b8-89af8fa381b9" providerId="ADAL" clId="{90877F19-00D2-4A00-8128-E78E36266C9A}" dt="2023-11-08T18:15:56.375" v="179512"/>
          <ac:spMkLst>
            <pc:docMk/>
            <pc:sldMk cId="160926467" sldId="372"/>
            <ac:spMk id="991" creationId="{6DD8FCC9-8A53-C1F7-F87F-4DFF6CAE2EF8}"/>
          </ac:spMkLst>
        </pc:spChg>
        <pc:spChg chg="add del mod modVis">
          <ac:chgData name="Muchahary, Frankle" userId="0f2bf491-0617-4378-90b8-89af8fa381b9" providerId="ADAL" clId="{90877F19-00D2-4A00-8128-E78E36266C9A}" dt="2023-11-08T18:15:58.711" v="179540"/>
          <ac:spMkLst>
            <pc:docMk/>
            <pc:sldMk cId="160926467" sldId="372"/>
            <ac:spMk id="992" creationId="{714C503C-B86B-B28A-CF64-267811E380E7}"/>
          </ac:spMkLst>
        </pc:spChg>
        <pc:spChg chg="add del mod modVis">
          <ac:chgData name="Muchahary, Frankle" userId="0f2bf491-0617-4378-90b8-89af8fa381b9" providerId="ADAL" clId="{90877F19-00D2-4A00-8128-E78E36266C9A}" dt="2023-11-08T18:16:03.095" v="179568"/>
          <ac:spMkLst>
            <pc:docMk/>
            <pc:sldMk cId="160926467" sldId="372"/>
            <ac:spMk id="993" creationId="{CB4C8A08-4631-7AA6-434F-CBDB95CD487C}"/>
          </ac:spMkLst>
        </pc:spChg>
        <pc:spChg chg="add del mod modVis">
          <ac:chgData name="Muchahary, Frankle" userId="0f2bf491-0617-4378-90b8-89af8fa381b9" providerId="ADAL" clId="{90877F19-00D2-4A00-8128-E78E36266C9A}" dt="2023-11-08T18:16:05.013" v="179595"/>
          <ac:spMkLst>
            <pc:docMk/>
            <pc:sldMk cId="160926467" sldId="372"/>
            <ac:spMk id="994" creationId="{F14D44B3-5379-162C-DFDF-93352E98011F}"/>
          </ac:spMkLst>
        </pc:spChg>
        <pc:spChg chg="add del mod modVis">
          <ac:chgData name="Muchahary, Frankle" userId="0f2bf491-0617-4378-90b8-89af8fa381b9" providerId="ADAL" clId="{90877F19-00D2-4A00-8128-E78E36266C9A}" dt="2023-11-08T18:16:07.207" v="179623"/>
          <ac:spMkLst>
            <pc:docMk/>
            <pc:sldMk cId="160926467" sldId="372"/>
            <ac:spMk id="995" creationId="{BC8DD73F-2EB3-DA1A-C5A2-A34305778509}"/>
          </ac:spMkLst>
        </pc:spChg>
        <pc:spChg chg="add del mod modVis">
          <ac:chgData name="Muchahary, Frankle" userId="0f2bf491-0617-4378-90b8-89af8fa381b9" providerId="ADAL" clId="{90877F19-00D2-4A00-8128-E78E36266C9A}" dt="2023-11-08T22:36:08.776" v="183031"/>
          <ac:spMkLst>
            <pc:docMk/>
            <pc:sldMk cId="160926467" sldId="372"/>
            <ac:spMk id="996" creationId="{99ED4745-5580-DF33-C25F-EEF1CE2C5381}"/>
          </ac:spMkLst>
        </pc:spChg>
        <pc:spChg chg="add mod ord replST">
          <ac:chgData name="Muchahary, Frankle" userId="0f2bf491-0617-4378-90b8-89af8fa381b9" providerId="ADAL" clId="{90877F19-00D2-4A00-8128-E78E36266C9A}" dt="2023-11-08T22:36:21.322" v="183446"/>
          <ac:spMkLst>
            <pc:docMk/>
            <pc:sldMk cId="160926467" sldId="372"/>
            <ac:spMk id="997" creationId="{12491392-52E5-C45A-987E-D4E19DCC9561}"/>
          </ac:spMkLst>
        </pc:spChg>
        <pc:spChg chg="add mod ord replST">
          <ac:chgData name="Muchahary, Frankle" userId="0f2bf491-0617-4378-90b8-89af8fa381b9" providerId="ADAL" clId="{90877F19-00D2-4A00-8128-E78E36266C9A}" dt="2023-11-08T22:36:21.311" v="183418"/>
          <ac:spMkLst>
            <pc:docMk/>
            <pc:sldMk cId="160926467" sldId="372"/>
            <ac:spMk id="998" creationId="{8ED72303-9716-6921-2BBC-45EA18091AF8}"/>
          </ac:spMkLst>
        </pc:spChg>
        <pc:spChg chg="add mod replST">
          <ac:chgData name="Muchahary, Frankle" userId="0f2bf491-0617-4378-90b8-89af8fa381b9" providerId="ADAL" clId="{90877F19-00D2-4A00-8128-E78E36266C9A}" dt="2023-11-08T22:36:21.308" v="183413"/>
          <ac:spMkLst>
            <pc:docMk/>
            <pc:sldMk cId="160926467" sldId="372"/>
            <ac:spMk id="999" creationId="{42F6DB38-D9F2-B37F-03B1-29C321F33F33}"/>
          </ac:spMkLst>
        </pc:spChg>
        <pc:spChg chg="add mod ord replST">
          <ac:chgData name="Muchahary, Frankle" userId="0f2bf491-0617-4378-90b8-89af8fa381b9" providerId="ADAL" clId="{90877F19-00D2-4A00-8128-E78E36266C9A}" dt="2023-11-08T22:36:21.311" v="183420"/>
          <ac:spMkLst>
            <pc:docMk/>
            <pc:sldMk cId="160926467" sldId="372"/>
            <ac:spMk id="1000" creationId="{4313AD43-3EF6-FF2D-B10C-AE19B6B52862}"/>
          </ac:spMkLst>
        </pc:spChg>
        <pc:spChg chg="add mod ord replST">
          <ac:chgData name="Muchahary, Frankle" userId="0f2bf491-0617-4378-90b8-89af8fa381b9" providerId="ADAL" clId="{90877F19-00D2-4A00-8128-E78E36266C9A}" dt="2023-11-08T22:36:21.312" v="183422"/>
          <ac:spMkLst>
            <pc:docMk/>
            <pc:sldMk cId="160926467" sldId="372"/>
            <ac:spMk id="1001" creationId="{1A86BCD8-11A1-30D6-A6D5-0DE96DDE1EB5}"/>
          </ac:spMkLst>
        </pc:spChg>
        <pc:spChg chg="add mod replST">
          <ac:chgData name="Muchahary, Frankle" userId="0f2bf491-0617-4378-90b8-89af8fa381b9" providerId="ADAL" clId="{90877F19-00D2-4A00-8128-E78E36266C9A}" dt="2023-11-08T22:36:21.307" v="183411"/>
          <ac:spMkLst>
            <pc:docMk/>
            <pc:sldMk cId="160926467" sldId="372"/>
            <ac:spMk id="1002" creationId="{7644FA3C-4851-35B0-25BD-D4AA842F7CEF}"/>
          </ac:spMkLst>
        </pc:spChg>
        <pc:spChg chg="add mod ord replST">
          <ac:chgData name="Muchahary, Frankle" userId="0f2bf491-0617-4378-90b8-89af8fa381b9" providerId="ADAL" clId="{90877F19-00D2-4A00-8128-E78E36266C9A}" dt="2023-11-08T22:36:21.320" v="183440"/>
          <ac:spMkLst>
            <pc:docMk/>
            <pc:sldMk cId="160926467" sldId="372"/>
            <ac:spMk id="1003" creationId="{2416DBC2-768C-8A62-CB4B-E46506CF2B92}"/>
          </ac:spMkLst>
        </pc:spChg>
        <pc:spChg chg="add mod ord replST">
          <ac:chgData name="Muchahary, Frankle" userId="0f2bf491-0617-4378-90b8-89af8fa381b9" providerId="ADAL" clId="{90877F19-00D2-4A00-8128-E78E36266C9A}" dt="2023-11-08T22:36:21.314" v="183424"/>
          <ac:spMkLst>
            <pc:docMk/>
            <pc:sldMk cId="160926467" sldId="372"/>
            <ac:spMk id="1004" creationId="{C0AE3E53-78C5-FAE8-5D2B-96D5E4ACDA42}"/>
          </ac:spMkLst>
        </pc:spChg>
        <pc:spChg chg="add mod replST">
          <ac:chgData name="Muchahary, Frankle" userId="0f2bf491-0617-4378-90b8-89af8fa381b9" providerId="ADAL" clId="{90877F19-00D2-4A00-8128-E78E36266C9A}" dt="2023-11-08T22:36:21.305" v="183409"/>
          <ac:spMkLst>
            <pc:docMk/>
            <pc:sldMk cId="160926467" sldId="372"/>
            <ac:spMk id="1005" creationId="{DB03EB9A-E2E1-B7BA-4D8F-1A44ECB6E258}"/>
          </ac:spMkLst>
        </pc:spChg>
        <pc:spChg chg="add mod ord replST">
          <ac:chgData name="Muchahary, Frankle" userId="0f2bf491-0617-4378-90b8-89af8fa381b9" providerId="ADAL" clId="{90877F19-00D2-4A00-8128-E78E36266C9A}" dt="2023-11-08T22:36:21.314" v="183426"/>
          <ac:spMkLst>
            <pc:docMk/>
            <pc:sldMk cId="160926467" sldId="372"/>
            <ac:spMk id="1006" creationId="{EAA0C3CA-2489-1CFB-37FE-B7A67B233445}"/>
          </ac:spMkLst>
        </pc:spChg>
        <pc:spChg chg="add mod ord replST">
          <ac:chgData name="Muchahary, Frankle" userId="0f2bf491-0617-4378-90b8-89af8fa381b9" providerId="ADAL" clId="{90877F19-00D2-4A00-8128-E78E36266C9A}" dt="2023-11-08T22:36:21.315" v="183428"/>
          <ac:spMkLst>
            <pc:docMk/>
            <pc:sldMk cId="160926467" sldId="372"/>
            <ac:spMk id="1007" creationId="{7092292F-8764-310C-1966-8B7B30AE7445}"/>
          </ac:spMkLst>
        </pc:spChg>
        <pc:spChg chg="add mod replST">
          <ac:chgData name="Muchahary, Frankle" userId="0f2bf491-0617-4378-90b8-89af8fa381b9" providerId="ADAL" clId="{90877F19-00D2-4A00-8128-E78E36266C9A}" dt="2023-11-08T22:36:21.308" v="183414"/>
          <ac:spMkLst>
            <pc:docMk/>
            <pc:sldMk cId="160926467" sldId="372"/>
            <ac:spMk id="1008" creationId="{B6C7A509-BFF7-86FE-CCA4-CFE72B44E89C}"/>
          </ac:spMkLst>
        </pc:spChg>
        <pc:spChg chg="add mod ord replST">
          <ac:chgData name="Muchahary, Frankle" userId="0f2bf491-0617-4378-90b8-89af8fa381b9" providerId="ADAL" clId="{90877F19-00D2-4A00-8128-E78E36266C9A}" dt="2023-11-08T22:36:21.316" v="183430"/>
          <ac:spMkLst>
            <pc:docMk/>
            <pc:sldMk cId="160926467" sldId="372"/>
            <ac:spMk id="1009" creationId="{F30D9A80-7AD4-99E6-89EE-AC59ED3DD50E}"/>
          </ac:spMkLst>
        </pc:spChg>
        <pc:spChg chg="add mod ord replST">
          <ac:chgData name="Muchahary, Frankle" userId="0f2bf491-0617-4378-90b8-89af8fa381b9" providerId="ADAL" clId="{90877F19-00D2-4A00-8128-E78E36266C9A}" dt="2023-11-08T22:36:21.316" v="183432"/>
          <ac:spMkLst>
            <pc:docMk/>
            <pc:sldMk cId="160926467" sldId="372"/>
            <ac:spMk id="1010" creationId="{3DE3B6E9-EF85-F364-3B37-A5839564C260}"/>
          </ac:spMkLst>
        </pc:spChg>
        <pc:spChg chg="add mod replST">
          <ac:chgData name="Muchahary, Frankle" userId="0f2bf491-0617-4378-90b8-89af8fa381b9" providerId="ADAL" clId="{90877F19-00D2-4A00-8128-E78E36266C9A}" dt="2023-11-08T22:36:21.307" v="183412"/>
          <ac:spMkLst>
            <pc:docMk/>
            <pc:sldMk cId="160926467" sldId="372"/>
            <ac:spMk id="1011" creationId="{BA56D627-DA31-B532-84DF-FA4DDF31A785}"/>
          </ac:spMkLst>
        </pc:spChg>
        <pc:spChg chg="add mod ord replST">
          <ac:chgData name="Muchahary, Frankle" userId="0f2bf491-0617-4378-90b8-89af8fa381b9" providerId="ADAL" clId="{90877F19-00D2-4A00-8128-E78E36266C9A}" dt="2023-11-08T22:36:21.322" v="183448"/>
          <ac:spMkLst>
            <pc:docMk/>
            <pc:sldMk cId="160926467" sldId="372"/>
            <ac:spMk id="1012" creationId="{776EE1F5-8594-D194-9324-A4352EB371C2}"/>
          </ac:spMkLst>
        </pc:spChg>
        <pc:spChg chg="add mod ord replST">
          <ac:chgData name="Muchahary, Frankle" userId="0f2bf491-0617-4378-90b8-89af8fa381b9" providerId="ADAL" clId="{90877F19-00D2-4A00-8128-E78E36266C9A}" dt="2023-11-08T22:36:21.317" v="183434"/>
          <ac:spMkLst>
            <pc:docMk/>
            <pc:sldMk cId="160926467" sldId="372"/>
            <ac:spMk id="1013" creationId="{B89F7E91-64BA-D1EA-56FF-AFEA47233AC8}"/>
          </ac:spMkLst>
        </pc:spChg>
        <pc:spChg chg="add mod replST">
          <ac:chgData name="Muchahary, Frankle" userId="0f2bf491-0617-4378-90b8-89af8fa381b9" providerId="ADAL" clId="{90877F19-00D2-4A00-8128-E78E36266C9A}" dt="2023-11-08T22:36:21.307" v="183410"/>
          <ac:spMkLst>
            <pc:docMk/>
            <pc:sldMk cId="160926467" sldId="372"/>
            <ac:spMk id="1014" creationId="{AE9E423F-6458-698A-EC3C-4EFCC20B367E}"/>
          </ac:spMkLst>
        </pc:spChg>
        <pc:spChg chg="add mod ord replST">
          <ac:chgData name="Muchahary, Frankle" userId="0f2bf491-0617-4378-90b8-89af8fa381b9" providerId="ADAL" clId="{90877F19-00D2-4A00-8128-E78E36266C9A}" dt="2023-11-08T22:36:21.319" v="183436"/>
          <ac:spMkLst>
            <pc:docMk/>
            <pc:sldMk cId="160926467" sldId="372"/>
            <ac:spMk id="1015" creationId="{49E80D24-F47D-AF4B-C820-DB422FDA6F8A}"/>
          </ac:spMkLst>
        </pc:spChg>
        <pc:spChg chg="add mod ord replST">
          <ac:chgData name="Muchahary, Frankle" userId="0f2bf491-0617-4378-90b8-89af8fa381b9" providerId="ADAL" clId="{90877F19-00D2-4A00-8128-E78E36266C9A}" dt="2023-11-08T22:36:21.319" v="183438"/>
          <ac:spMkLst>
            <pc:docMk/>
            <pc:sldMk cId="160926467" sldId="372"/>
            <ac:spMk id="1016" creationId="{9F10798E-0237-4572-0C30-643CAF3EEEC8}"/>
          </ac:spMkLst>
        </pc:spChg>
        <pc:spChg chg="add mod replST">
          <ac:chgData name="Muchahary, Frankle" userId="0f2bf491-0617-4378-90b8-89af8fa381b9" providerId="ADAL" clId="{90877F19-00D2-4A00-8128-E78E36266C9A}" dt="2023-11-08T22:36:21.309" v="183415"/>
          <ac:spMkLst>
            <pc:docMk/>
            <pc:sldMk cId="160926467" sldId="372"/>
            <ac:spMk id="1017" creationId="{9193A414-0984-BF0E-6BC6-3B79283D93B5}"/>
          </ac:spMkLst>
        </pc:spChg>
        <pc:spChg chg="add mod ord replST">
          <ac:chgData name="Muchahary, Frankle" userId="0f2bf491-0617-4378-90b8-89af8fa381b9" providerId="ADAL" clId="{90877F19-00D2-4A00-8128-E78E36266C9A}" dt="2023-11-08T22:36:21.320" v="183442"/>
          <ac:spMkLst>
            <pc:docMk/>
            <pc:sldMk cId="160926467" sldId="372"/>
            <ac:spMk id="1018" creationId="{744B5C18-BAB7-701C-FD97-EF2E4B59934C}"/>
          </ac:spMkLst>
        </pc:spChg>
        <pc:spChg chg="add mod ord replST">
          <ac:chgData name="Muchahary, Frankle" userId="0f2bf491-0617-4378-90b8-89af8fa381b9" providerId="ADAL" clId="{90877F19-00D2-4A00-8128-E78E36266C9A}" dt="2023-11-08T22:36:21.321" v="183444"/>
          <ac:spMkLst>
            <pc:docMk/>
            <pc:sldMk cId="160926467" sldId="372"/>
            <ac:spMk id="1019" creationId="{4141987D-B39B-3690-7F38-240A1038087F}"/>
          </ac:spMkLst>
        </pc:spChg>
        <pc:spChg chg="add mod replST">
          <ac:chgData name="Muchahary, Frankle" userId="0f2bf491-0617-4378-90b8-89af8fa381b9" providerId="ADAL" clId="{90877F19-00D2-4A00-8128-E78E36266C9A}" dt="2023-11-08T22:36:21.309" v="183416"/>
          <ac:spMkLst>
            <pc:docMk/>
            <pc:sldMk cId="160926467" sldId="372"/>
            <ac:spMk id="1020" creationId="{3D5987E7-9804-19FE-BC13-12E99DB52FB8}"/>
          </ac:spMkLst>
        </pc:spChg>
        <pc:spChg chg="add del mod replST">
          <ac:chgData name="Muchahary, Frankle" userId="0f2bf491-0617-4378-90b8-89af8fa381b9" providerId="ADAL" clId="{90877F19-00D2-4A00-8128-E78E36266C9A}" dt="2023-11-08T22:36:09.905" v="183101"/>
          <ac:spMkLst>
            <pc:docMk/>
            <pc:sldMk cId="160926467" sldId="372"/>
            <ac:spMk id="1021" creationId="{1DA753FB-2FB9-6439-A943-58EEDA6A6028}"/>
          </ac:spMkLst>
        </pc:spChg>
        <pc:spChg chg="add del mod modVis">
          <ac:chgData name="Muchahary, Frankle" userId="0f2bf491-0617-4378-90b8-89af8fa381b9" providerId="ADAL" clId="{90877F19-00D2-4A00-8128-E78E36266C9A}" dt="2023-11-08T22:36:10.026" v="183277"/>
          <ac:spMkLst>
            <pc:docMk/>
            <pc:sldMk cId="160926467" sldId="372"/>
            <ac:spMk id="1023" creationId="{800536A5-825A-A35C-2E83-66FF0C4FFB60}"/>
          </ac:spMkLst>
        </pc:spChg>
        <pc:spChg chg="mod">
          <ac:chgData name="Muchahary, Frankle" userId="0f2bf491-0617-4378-90b8-89af8fa381b9" providerId="ADAL" clId="{90877F19-00D2-4A00-8128-E78E36266C9A}" dt="2023-11-08T22:36:21.346" v="183507"/>
          <ac:spMkLst>
            <pc:docMk/>
            <pc:sldMk cId="160926467" sldId="372"/>
            <ac:spMk id="1577" creationId="{BC7CA6FB-BC20-B8EA-0941-A9403852E697}"/>
          </ac:spMkLst>
        </pc:spChg>
        <pc:spChg chg="mod">
          <ac:chgData name="Muchahary, Frankle" userId="0f2bf491-0617-4378-90b8-89af8fa381b9" providerId="ADAL" clId="{90877F19-00D2-4A00-8128-E78E36266C9A}" dt="2023-11-08T22:36:21.343" v="183504"/>
          <ac:spMkLst>
            <pc:docMk/>
            <pc:sldMk cId="160926467" sldId="372"/>
            <ac:spMk id="1580" creationId="{F4935121-5D3E-9A1B-A765-04B9A8543A54}"/>
          </ac:spMkLst>
        </pc:spChg>
        <pc:spChg chg="mod">
          <ac:chgData name="Muchahary, Frankle" userId="0f2bf491-0617-4378-90b8-89af8fa381b9" providerId="ADAL" clId="{90877F19-00D2-4A00-8128-E78E36266C9A}" dt="2023-11-08T22:36:21.346" v="183508"/>
          <ac:spMkLst>
            <pc:docMk/>
            <pc:sldMk cId="160926467" sldId="372"/>
            <ac:spMk id="1607" creationId="{A9197C97-ED2A-83F9-FA49-73E0EA93F019}"/>
          </ac:spMkLst>
        </pc:spChg>
        <pc:spChg chg="mod">
          <ac:chgData name="Muchahary, Frankle" userId="0f2bf491-0617-4378-90b8-89af8fa381b9" providerId="ADAL" clId="{90877F19-00D2-4A00-8128-E78E36266C9A}" dt="2023-11-08T22:36:21.303" v="183405"/>
          <ac:spMkLst>
            <pc:docMk/>
            <pc:sldMk cId="160926467" sldId="372"/>
            <ac:spMk id="1662" creationId="{9B28145C-D4DD-9C17-C933-14CED3BC0ED6}"/>
          </ac:spMkLst>
        </pc:spChg>
        <pc:spChg chg="del mod">
          <ac:chgData name="Muchahary, Frankle" userId="0f2bf491-0617-4378-90b8-89af8fa381b9" providerId="ADAL" clId="{90877F19-00D2-4A00-8128-E78E36266C9A}" dt="2023-11-08T17:38:43.660" v="173732"/>
          <ac:spMkLst>
            <pc:docMk/>
            <pc:sldMk cId="160926467" sldId="372"/>
            <ac:spMk id="1663" creationId="{A416B38A-0308-5A02-5A51-5FECA2E155EC}"/>
          </ac:spMkLst>
        </pc:spChg>
        <pc:spChg chg="mod ord">
          <ac:chgData name="Muchahary, Frankle" userId="0f2bf491-0617-4378-90b8-89af8fa381b9" providerId="ADAL" clId="{90877F19-00D2-4A00-8128-E78E36266C9A}" dt="2023-11-08T22:36:21.327" v="183461"/>
          <ac:spMkLst>
            <pc:docMk/>
            <pc:sldMk cId="160926467" sldId="372"/>
            <ac:spMk id="1668" creationId="{E88B84B9-AA2E-2C77-43C0-6C7977B052E7}"/>
          </ac:spMkLst>
        </pc:spChg>
        <pc:spChg chg="mod">
          <ac:chgData name="Muchahary, Frankle" userId="0f2bf491-0617-4378-90b8-89af8fa381b9" providerId="ADAL" clId="{90877F19-00D2-4A00-8128-E78E36266C9A}" dt="2023-11-08T22:36:21.299" v="183398"/>
          <ac:spMkLst>
            <pc:docMk/>
            <pc:sldMk cId="160926467" sldId="372"/>
            <ac:spMk id="1669" creationId="{230B4473-C248-3162-803B-D3F13B936ACA}"/>
          </ac:spMkLst>
        </pc:spChg>
        <pc:spChg chg="mod">
          <ac:chgData name="Muchahary, Frankle" userId="0f2bf491-0617-4378-90b8-89af8fa381b9" providerId="ADAL" clId="{90877F19-00D2-4A00-8128-E78E36266C9A}" dt="2023-11-08T22:36:21.299" v="183397"/>
          <ac:spMkLst>
            <pc:docMk/>
            <pc:sldMk cId="160926467" sldId="372"/>
            <ac:spMk id="1673" creationId="{755CD1ED-A4D8-C151-4CF5-7EDA24C262D7}"/>
          </ac:spMkLst>
        </pc:spChg>
        <pc:spChg chg="mod">
          <ac:chgData name="Muchahary, Frankle" userId="0f2bf491-0617-4378-90b8-89af8fa381b9" providerId="ADAL" clId="{90877F19-00D2-4A00-8128-E78E36266C9A}" dt="2023-11-08T22:36:21.299" v="183399"/>
          <ac:spMkLst>
            <pc:docMk/>
            <pc:sldMk cId="160926467" sldId="372"/>
            <ac:spMk id="1674" creationId="{123CEBF4-2027-57AC-D19C-5EEA1F836573}"/>
          </ac:spMkLst>
        </pc:spChg>
        <pc:spChg chg="mod">
          <ac:chgData name="Muchahary, Frankle" userId="0f2bf491-0617-4378-90b8-89af8fa381b9" providerId="ADAL" clId="{90877F19-00D2-4A00-8128-E78E36266C9A}" dt="2023-11-08T22:36:21.343" v="183502"/>
          <ac:spMkLst>
            <pc:docMk/>
            <pc:sldMk cId="160926467" sldId="372"/>
            <ac:spMk id="1689" creationId="{D8C04172-4D26-D0F7-FCC7-8109C3CB99C5}"/>
          </ac:spMkLst>
        </pc:spChg>
        <pc:spChg chg="mod ord">
          <ac:chgData name="Muchahary, Frankle" userId="0f2bf491-0617-4378-90b8-89af8fa381b9" providerId="ADAL" clId="{90877F19-00D2-4A00-8128-E78E36266C9A}" dt="2023-11-08T22:36:21.348" v="183513"/>
          <ac:spMkLst>
            <pc:docMk/>
            <pc:sldMk cId="160926467" sldId="372"/>
            <ac:spMk id="1693" creationId="{E44A3FFF-D430-F078-097E-189155E6B419}"/>
          </ac:spMkLst>
        </pc:spChg>
        <pc:graphicFrameChg chg="mod">
          <ac:chgData name="Muchahary, Frankle" userId="0f2bf491-0617-4378-90b8-89af8fa381b9" providerId="ADAL" clId="{90877F19-00D2-4A00-8128-E78E36266C9A}" dt="2023-11-08T22:36:21.362" v="183523"/>
          <ac:graphicFrameMkLst>
            <pc:docMk/>
            <pc:sldMk cId="160926467" sldId="372"/>
            <ac:graphicFrameMk id="4" creationId="{FD4A65FB-339A-B2BC-4155-257FFC3BBBB9}"/>
          </ac:graphicFrameMkLst>
        </pc:graphicFrameChg>
        <pc:graphicFrameChg chg="del">
          <ac:chgData name="Muchahary, Frankle" userId="0f2bf491-0617-4378-90b8-89af8fa381b9" providerId="ADAL" clId="{90877F19-00D2-4A00-8128-E78E36266C9A}" dt="2023-11-08T17:38:08.911" v="173175"/>
          <ac:graphicFrameMkLst>
            <pc:docMk/>
            <pc:sldMk cId="160926467" sldId="372"/>
            <ac:graphicFrameMk id="34" creationId="{A72F1DC2-8302-E93F-36C3-AE377F57C89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22:36:21.246" v="183348"/>
          <ac:graphicFrameMkLst>
            <pc:docMk/>
            <pc:sldMk cId="160926467" sldId="372"/>
            <ac:graphicFrameMk id="512" creationId="{C0280B6A-56C0-8D49-4C19-3D960F30A17D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22:36:21.289" v="183372"/>
          <ac:graphicFrameMkLst>
            <pc:docMk/>
            <pc:sldMk cId="160926467" sldId="372"/>
            <ac:graphicFrameMk id="514" creationId="{609E1C53-D7D9-A9C1-C163-7E76957B2BF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38:31.732" v="173459"/>
          <ac:graphicFrameMkLst>
            <pc:docMk/>
            <pc:sldMk cId="160926467" sldId="372"/>
            <ac:graphicFrameMk id="905" creationId="{7C5A6245-899F-BBB2-D772-6C0E7BA9880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38:44.150" v="173955"/>
          <ac:graphicFrameMkLst>
            <pc:docMk/>
            <pc:sldMk cId="160926467" sldId="372"/>
            <ac:graphicFrameMk id="908" creationId="{EB0BE015-02E4-318C-F870-0D5787C052A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38:56.292" v="174550"/>
          <ac:graphicFrameMkLst>
            <pc:docMk/>
            <pc:sldMk cId="160926467" sldId="372"/>
            <ac:graphicFrameMk id="913" creationId="{25144D9B-AE39-DE18-97EA-A04EEE41AD1E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39:40.196" v="175097"/>
          <ac:graphicFrameMkLst>
            <pc:docMk/>
            <pc:sldMk cId="160926467" sldId="372"/>
            <ac:graphicFrameMk id="933" creationId="{B42572C6-CB7F-89B6-606F-13E8D561DCB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39:56.771" v="175323"/>
          <ac:graphicFrameMkLst>
            <pc:docMk/>
            <pc:sldMk cId="160926467" sldId="372"/>
            <ac:graphicFrameMk id="935" creationId="{BFEB4000-A817-BEED-818D-E91756B45DE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0:37.164" v="175855"/>
          <ac:graphicFrameMkLst>
            <pc:docMk/>
            <pc:sldMk cId="160926467" sldId="372"/>
            <ac:graphicFrameMk id="937" creationId="{E5B371CF-2945-2468-9B55-9181B9C6109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0:00.003" v="175547"/>
          <ac:graphicFrameMkLst>
            <pc:docMk/>
            <pc:sldMk cId="160926467" sldId="372"/>
            <ac:graphicFrameMk id="939" creationId="{DB53E780-2B01-0164-C08B-5798D1FD8C0B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8:12:12.680" v="178705"/>
          <ac:graphicFrameMkLst>
            <pc:docMk/>
            <pc:sldMk cId="160926467" sldId="372"/>
            <ac:graphicFrameMk id="941" creationId="{04A975FF-A725-76BA-2487-11866968142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0:39.373" v="176100"/>
          <ac:graphicFrameMkLst>
            <pc:docMk/>
            <pc:sldMk cId="160926467" sldId="372"/>
            <ac:graphicFrameMk id="944" creationId="{98C14B0F-7ABC-2548-2E58-B5F5E6374D5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0:47.702" v="176342"/>
          <ac:graphicFrameMkLst>
            <pc:docMk/>
            <pc:sldMk cId="160926467" sldId="372"/>
            <ac:graphicFrameMk id="946" creationId="{90F4CE7B-5792-6B82-2134-F08D01690D0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0:53.609" v="176584"/>
          <ac:graphicFrameMkLst>
            <pc:docMk/>
            <pc:sldMk cId="160926467" sldId="372"/>
            <ac:graphicFrameMk id="948" creationId="{F16FECA8-25CA-FFFE-7D43-7224BFAA9C5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7:41:00.176" v="176826"/>
          <ac:graphicFrameMkLst>
            <pc:docMk/>
            <pc:sldMk cId="160926467" sldId="372"/>
            <ac:graphicFrameMk id="950" creationId="{0A11CF61-1C65-B38C-CC23-E808848A473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8:11:12.285" v="177162"/>
          <ac:graphicFrameMkLst>
            <pc:docMk/>
            <pc:sldMk cId="160926467" sldId="372"/>
            <ac:graphicFrameMk id="952" creationId="{6E979203-BD07-17CF-91F8-53328D57C000}"/>
          </ac:graphicFrameMkLst>
        </pc:graphicFrameChg>
        <pc:graphicFrameChg chg="del">
          <ac:chgData name="Muchahary, Frankle" userId="0f2bf491-0617-4378-90b8-89af8fa381b9" providerId="ADAL" clId="{90877F19-00D2-4A00-8128-E78E36266C9A}" dt="2023-11-08T22:36:08.647" v="182857"/>
          <ac:graphicFrameMkLst>
            <pc:docMk/>
            <pc:sldMk cId="160926467" sldId="372"/>
            <ac:graphicFrameMk id="955" creationId="{C29C714B-8B09-8046-36BB-28F0C8FE6C6F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8:11:14.649" v="177407"/>
          <ac:graphicFrameMkLst>
            <pc:docMk/>
            <pc:sldMk cId="160926467" sldId="372"/>
            <ac:graphicFrameMk id="956" creationId="{656D113E-A979-BA87-3A15-29E352C488B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8:11:24.858" v="177776"/>
          <ac:graphicFrameMkLst>
            <pc:docMk/>
            <pc:sldMk cId="160926467" sldId="372"/>
            <ac:graphicFrameMk id="958" creationId="{45E65AE0-6779-8E7E-BDEA-41C9DF2F023A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18:12:06.780" v="178459"/>
          <ac:graphicFrameMkLst>
            <pc:docMk/>
            <pc:sldMk cId="160926467" sldId="372"/>
            <ac:graphicFrameMk id="960" creationId="{4ECB3A06-80E0-21BC-2041-67A6F34AB72A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18:12:12.733" v="178729"/>
          <ac:graphicFrameMkLst>
            <pc:docMk/>
            <pc:sldMk cId="160926467" sldId="372"/>
            <ac:graphicFrameMk id="975" creationId="{33337D70-4222-F070-872B-CDAB81DE46C9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22:36:21.335" v="183479"/>
          <ac:graphicFrameMkLst>
            <pc:docMk/>
            <pc:sldMk cId="160926467" sldId="372"/>
            <ac:graphicFrameMk id="976" creationId="{77E74A26-EB7E-95A4-5EEA-730F74976D9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22:36:09.912" v="183104"/>
          <ac:graphicFrameMkLst>
            <pc:docMk/>
            <pc:sldMk cId="160926467" sldId="372"/>
            <ac:graphicFrameMk id="1022" creationId="{1468A0FD-FD1D-D406-FC42-CC923770774B}"/>
          </ac:graphicFrameMkLst>
        </pc:graphicFrameChg>
        <pc:graphicFrameChg chg="del mod ord">
          <ac:chgData name="Muchahary, Frankle" userId="0f2bf491-0617-4378-90b8-89af8fa381b9" providerId="ADAL" clId="{90877F19-00D2-4A00-8128-E78E36266C9A}" dt="2023-11-08T17:39:16.667" v="174820"/>
          <ac:graphicFrameMkLst>
            <pc:docMk/>
            <pc:sldMk cId="160926467" sldId="372"/>
            <ac:graphicFrameMk id="1692" creationId="{122F0A61-091D-4F64-0E41-1FE4D53C601F}"/>
          </ac:graphicFrameMkLst>
        </pc:graphicFrameChg>
        <pc:cxnChg chg="mod ord">
          <ac:chgData name="Muchahary, Frankle" userId="0f2bf491-0617-4378-90b8-89af8fa381b9" providerId="ADAL" clId="{90877F19-00D2-4A00-8128-E78E36266C9A}" dt="2023-11-08T22:36:21.287" v="183368"/>
          <ac:cxnSpMkLst>
            <pc:docMk/>
            <pc:sldMk cId="160926467" sldId="372"/>
            <ac:cxnSpMk id="29" creationId="{F2295E77-40E2-5087-4E73-AE5952D8E523}"/>
          </ac:cxnSpMkLst>
        </pc:cxnChg>
        <pc:cxnChg chg="mod ord">
          <ac:chgData name="Muchahary, Frankle" userId="0f2bf491-0617-4378-90b8-89af8fa381b9" providerId="ADAL" clId="{90877F19-00D2-4A00-8128-E78E36266C9A}" dt="2023-11-08T22:36:21.286" v="183364"/>
          <ac:cxnSpMkLst>
            <pc:docMk/>
            <pc:sldMk cId="160926467" sldId="372"/>
            <ac:cxnSpMk id="30" creationId="{991F2E8C-2A22-B0B0-19A8-C1C7726291CF}"/>
          </ac:cxnSpMkLst>
        </pc:cxnChg>
        <pc:cxnChg chg="mod ord">
          <ac:chgData name="Muchahary, Frankle" userId="0f2bf491-0617-4378-90b8-89af8fa381b9" providerId="ADAL" clId="{90877F19-00D2-4A00-8128-E78E36266C9A}" dt="2023-11-08T22:36:21.285" v="183362"/>
          <ac:cxnSpMkLst>
            <pc:docMk/>
            <pc:sldMk cId="160926467" sldId="372"/>
            <ac:cxnSpMk id="48" creationId="{5FFF1E2B-3CD3-452D-9566-44CD44CD4F4A}"/>
          </ac:cxnSpMkLst>
        </pc:cxnChg>
        <pc:cxnChg chg="mod ord">
          <ac:chgData name="Muchahary, Frankle" userId="0f2bf491-0617-4378-90b8-89af8fa381b9" providerId="ADAL" clId="{90877F19-00D2-4A00-8128-E78E36266C9A}" dt="2023-11-08T22:36:21.285" v="183360"/>
          <ac:cxnSpMkLst>
            <pc:docMk/>
            <pc:sldMk cId="160926467" sldId="372"/>
            <ac:cxnSpMk id="53" creationId="{F07D8070-18B2-7BCA-982E-E5420F7D03F1}"/>
          </ac:cxnSpMkLst>
        </pc:cxnChg>
        <pc:cxnChg chg="mod ord">
          <ac:chgData name="Muchahary, Frankle" userId="0f2bf491-0617-4378-90b8-89af8fa381b9" providerId="ADAL" clId="{90877F19-00D2-4A00-8128-E78E36266C9A}" dt="2023-11-08T22:36:21.284" v="183358"/>
          <ac:cxnSpMkLst>
            <pc:docMk/>
            <pc:sldMk cId="160926467" sldId="372"/>
            <ac:cxnSpMk id="58" creationId="{40C7A6BC-3F9E-0E9F-E754-89AE45F21FAC}"/>
          </ac:cxnSpMkLst>
        </pc:cxnChg>
        <pc:cxnChg chg="mod ord">
          <ac:chgData name="Muchahary, Frankle" userId="0f2bf491-0617-4378-90b8-89af8fa381b9" providerId="ADAL" clId="{90877F19-00D2-4A00-8128-E78E36266C9A}" dt="2023-11-08T22:36:21.287" v="183366"/>
          <ac:cxnSpMkLst>
            <pc:docMk/>
            <pc:sldMk cId="160926467" sldId="372"/>
            <ac:cxnSpMk id="388" creationId="{240E3BAE-BFCF-8A99-95B0-41F443EF16B9}"/>
          </ac:cxnSpMkLst>
        </pc:cxnChg>
        <pc:cxnChg chg="mod ord">
          <ac:chgData name="Muchahary, Frankle" userId="0f2bf491-0617-4378-90b8-89af8fa381b9" providerId="ADAL" clId="{90877F19-00D2-4A00-8128-E78E36266C9A}" dt="2023-11-08T22:36:21.283" v="183356"/>
          <ac:cxnSpMkLst>
            <pc:docMk/>
            <pc:sldMk cId="160926467" sldId="372"/>
            <ac:cxnSpMk id="409" creationId="{2856A881-BA9A-26B4-BF0D-6684C6FE003C}"/>
          </ac:cxnSpMkLst>
        </pc:cxnChg>
        <pc:cxnChg chg="mod ord">
          <ac:chgData name="Muchahary, Frankle" userId="0f2bf491-0617-4378-90b8-89af8fa381b9" providerId="ADAL" clId="{90877F19-00D2-4A00-8128-E78E36266C9A}" dt="2023-11-08T22:36:21.323" v="183450"/>
          <ac:cxnSpMkLst>
            <pc:docMk/>
            <pc:sldMk cId="160926467" sldId="372"/>
            <ac:cxnSpMk id="707" creationId="{D4820B4D-9B7C-2510-5EAD-0EF62DFA8123}"/>
          </ac:cxnSpMkLst>
        </pc:cxnChg>
        <pc:cxnChg chg="mod ord">
          <ac:chgData name="Muchahary, Frankle" userId="0f2bf491-0617-4378-90b8-89af8fa381b9" providerId="ADAL" clId="{90877F19-00D2-4A00-8128-E78E36266C9A}" dt="2023-11-08T22:36:21.323" v="183452"/>
          <ac:cxnSpMkLst>
            <pc:docMk/>
            <pc:sldMk cId="160926467" sldId="372"/>
            <ac:cxnSpMk id="708" creationId="{EBFCB9C1-0B3E-EBD3-0584-CDD6D689DC1F}"/>
          </ac:cxnSpMkLst>
        </pc:cxnChg>
        <pc:cxnChg chg="mod ord">
          <ac:chgData name="Muchahary, Frankle" userId="0f2bf491-0617-4378-90b8-89af8fa381b9" providerId="ADAL" clId="{90877F19-00D2-4A00-8128-E78E36266C9A}" dt="2023-11-08T22:36:21.324" v="183454"/>
          <ac:cxnSpMkLst>
            <pc:docMk/>
            <pc:sldMk cId="160926467" sldId="372"/>
            <ac:cxnSpMk id="709" creationId="{8DBE1CD4-2B70-58D2-D203-BBF62683D1A9}"/>
          </ac:cxnSpMkLst>
        </pc:cxnChg>
        <pc:cxnChg chg="mod ord">
          <ac:chgData name="Muchahary, Frankle" userId="0f2bf491-0617-4378-90b8-89af8fa381b9" providerId="ADAL" clId="{90877F19-00D2-4A00-8128-E78E36266C9A}" dt="2023-11-08T22:36:21.291" v="183376"/>
          <ac:cxnSpMkLst>
            <pc:docMk/>
            <pc:sldMk cId="160926467" sldId="372"/>
            <ac:cxnSpMk id="879" creationId="{195BA305-B8EB-056D-7ADB-F6AE37BE1599}"/>
          </ac:cxnSpMkLst>
        </pc:cxnChg>
        <pc:cxnChg chg="add mod ord replST">
          <ac:chgData name="Muchahary, Frankle" userId="0f2bf491-0617-4378-90b8-89af8fa381b9" providerId="ADAL" clId="{90877F19-00D2-4A00-8128-E78E36266C9A}" dt="2023-11-08T22:36:21.289" v="183370"/>
          <ac:cxnSpMkLst>
            <pc:docMk/>
            <pc:sldMk cId="160926467" sldId="372"/>
            <ac:cxnSpMk id="904" creationId="{A632190C-2804-0A46-6FAF-CEDFACF7F4FD}"/>
          </ac:cxnSpMkLst>
        </pc:cxnChg>
        <pc:cxnChg chg="add mod ord replST">
          <ac:chgData name="Muchahary, Frankle" userId="0f2bf491-0617-4378-90b8-89af8fa381b9" providerId="ADAL" clId="{90877F19-00D2-4A00-8128-E78E36266C9A}" dt="2023-11-08T22:36:21.297" v="183392"/>
          <ac:cxnSpMkLst>
            <pc:docMk/>
            <pc:sldMk cId="160926467" sldId="372"/>
            <ac:cxnSpMk id="912" creationId="{BA64492B-E9B1-F5CD-B9AC-9C72D5D666BB}"/>
          </ac:cxnSpMkLst>
        </pc:cxnChg>
        <pc:cxnChg chg="mod ord">
          <ac:chgData name="Muchahary, Frankle" userId="0f2bf491-0617-4378-90b8-89af8fa381b9" providerId="ADAL" clId="{90877F19-00D2-4A00-8128-E78E36266C9A}" dt="2023-11-08T22:36:21.294" v="183388"/>
          <ac:cxnSpMkLst>
            <pc:docMk/>
            <pc:sldMk cId="160926467" sldId="372"/>
            <ac:cxnSpMk id="961" creationId="{E26E4EDA-FD45-8F88-C0FA-0AF94C4C7FDD}"/>
          </ac:cxnSpMkLst>
        </pc:cxnChg>
        <pc:cxnChg chg="mod ord">
          <ac:chgData name="Muchahary, Frankle" userId="0f2bf491-0617-4378-90b8-89af8fa381b9" providerId="ADAL" clId="{90877F19-00D2-4A00-8128-E78E36266C9A}" dt="2023-11-08T22:36:21.290" v="183374"/>
          <ac:cxnSpMkLst>
            <pc:docMk/>
            <pc:sldMk cId="160926467" sldId="372"/>
            <ac:cxnSpMk id="963" creationId="{975685F2-5171-9994-B401-8B9584B787B5}"/>
          </ac:cxnSpMkLst>
        </pc:cxnChg>
        <pc:cxnChg chg="mod ord">
          <ac:chgData name="Muchahary, Frankle" userId="0f2bf491-0617-4378-90b8-89af8fa381b9" providerId="ADAL" clId="{90877F19-00D2-4A00-8128-E78E36266C9A}" dt="2023-11-08T22:36:21.293" v="183382"/>
          <ac:cxnSpMkLst>
            <pc:docMk/>
            <pc:sldMk cId="160926467" sldId="372"/>
            <ac:cxnSpMk id="964" creationId="{1E63183F-91CA-232F-1FE1-6CED52C639B4}"/>
          </ac:cxnSpMkLst>
        </pc:cxnChg>
        <pc:cxnChg chg="mod ord">
          <ac:chgData name="Muchahary, Frankle" userId="0f2bf491-0617-4378-90b8-89af8fa381b9" providerId="ADAL" clId="{90877F19-00D2-4A00-8128-E78E36266C9A}" dt="2023-11-08T22:36:21.296" v="183390"/>
          <ac:cxnSpMkLst>
            <pc:docMk/>
            <pc:sldMk cId="160926467" sldId="372"/>
            <ac:cxnSpMk id="966" creationId="{6D25848C-94BC-3BDD-477D-ABE4DD26A63A}"/>
          </ac:cxnSpMkLst>
        </pc:cxnChg>
        <pc:cxnChg chg="del mod ord">
          <ac:chgData name="Muchahary, Frankle" userId="0f2bf491-0617-4378-90b8-89af8fa381b9" providerId="ADAL" clId="{90877F19-00D2-4A00-8128-E78E36266C9A}" dt="2023-11-08T17:38:43.659" v="173731"/>
          <ac:cxnSpMkLst>
            <pc:docMk/>
            <pc:sldMk cId="160926467" sldId="372"/>
            <ac:cxnSpMk id="969" creationId="{0445CF0A-47BD-D82A-E18C-3AA009836CBD}"/>
          </ac:cxnSpMkLst>
        </pc:cxnChg>
        <pc:cxnChg chg="mod ord">
          <ac:chgData name="Muchahary, Frankle" userId="0f2bf491-0617-4378-90b8-89af8fa381b9" providerId="ADAL" clId="{90877F19-00D2-4A00-8128-E78E36266C9A}" dt="2023-11-08T22:36:21.294" v="183386"/>
          <ac:cxnSpMkLst>
            <pc:docMk/>
            <pc:sldMk cId="160926467" sldId="372"/>
            <ac:cxnSpMk id="971" creationId="{48AE52CF-7A73-4669-DC18-71D0B619B646}"/>
          </ac:cxnSpMkLst>
        </pc:cxnChg>
        <pc:cxnChg chg="mod ord">
          <ac:chgData name="Muchahary, Frankle" userId="0f2bf491-0617-4378-90b8-89af8fa381b9" providerId="ADAL" clId="{90877F19-00D2-4A00-8128-E78E36266C9A}" dt="2023-11-08T22:36:21.298" v="183394"/>
          <ac:cxnSpMkLst>
            <pc:docMk/>
            <pc:sldMk cId="160926467" sldId="372"/>
            <ac:cxnSpMk id="972" creationId="{15B77313-D2B7-9187-2E41-72F882A0E77D}"/>
          </ac:cxnSpMkLst>
        </pc:cxnChg>
        <pc:cxnChg chg="mod ord">
          <ac:chgData name="Muchahary, Frankle" userId="0f2bf491-0617-4378-90b8-89af8fa381b9" providerId="ADAL" clId="{90877F19-00D2-4A00-8128-E78E36266C9A}" dt="2023-11-08T22:36:21.291" v="183378"/>
          <ac:cxnSpMkLst>
            <pc:docMk/>
            <pc:sldMk cId="160926467" sldId="372"/>
            <ac:cxnSpMk id="1664" creationId="{8C85B247-F3B8-0EB0-4836-A6BB7F398B3C}"/>
          </ac:cxnSpMkLst>
        </pc:cxnChg>
        <pc:cxnChg chg="del mod ord">
          <ac:chgData name="Muchahary, Frankle" userId="0f2bf491-0617-4378-90b8-89af8fa381b9" providerId="ADAL" clId="{90877F19-00D2-4A00-8128-E78E36266C9A}" dt="2023-11-08T17:38:43.662" v="173734"/>
          <ac:cxnSpMkLst>
            <pc:docMk/>
            <pc:sldMk cId="160926467" sldId="372"/>
            <ac:cxnSpMk id="1665" creationId="{8C62BE67-3A9D-385D-CECC-CED943F28773}"/>
          </ac:cxnSpMkLst>
        </pc:cxnChg>
        <pc:cxnChg chg="mod ord">
          <ac:chgData name="Muchahary, Frankle" userId="0f2bf491-0617-4378-90b8-89af8fa381b9" providerId="ADAL" clId="{90877F19-00D2-4A00-8128-E78E36266C9A}" dt="2023-11-08T22:36:21.298" v="183396"/>
          <ac:cxnSpMkLst>
            <pc:docMk/>
            <pc:sldMk cId="160926467" sldId="372"/>
            <ac:cxnSpMk id="1670" creationId="{92FECAC1-8555-711B-D942-DC0CC429F7F2}"/>
          </ac:cxnSpMkLst>
        </pc:cxnChg>
        <pc:cxnChg chg="mod ord">
          <ac:chgData name="Muchahary, Frankle" userId="0f2bf491-0617-4378-90b8-89af8fa381b9" providerId="ADAL" clId="{90877F19-00D2-4A00-8128-E78E36266C9A}" dt="2023-11-08T22:36:21.292" v="183380"/>
          <ac:cxnSpMkLst>
            <pc:docMk/>
            <pc:sldMk cId="160926467" sldId="372"/>
            <ac:cxnSpMk id="1675" creationId="{87599269-BA68-963B-4EF3-931B0C145A13}"/>
          </ac:cxnSpMkLst>
        </pc:cxnChg>
        <pc:cxnChg chg="mod ord">
          <ac:chgData name="Muchahary, Frankle" userId="0f2bf491-0617-4378-90b8-89af8fa381b9" providerId="ADAL" clId="{90877F19-00D2-4A00-8128-E78E36266C9A}" dt="2023-11-08T22:36:21.293" v="183384"/>
          <ac:cxnSpMkLst>
            <pc:docMk/>
            <pc:sldMk cId="160926467" sldId="372"/>
            <ac:cxnSpMk id="1676" creationId="{3A8FAA57-9197-5D81-7B64-14660908E38D}"/>
          </ac:cxnSpMkLst>
        </pc:cxnChg>
        <pc:cxnChg chg="mod ord">
          <ac:chgData name="Muchahary, Frankle" userId="0f2bf491-0617-4378-90b8-89af8fa381b9" providerId="ADAL" clId="{90877F19-00D2-4A00-8128-E78E36266C9A}" dt="2023-11-08T22:36:21.335" v="183481"/>
          <ac:cxnSpMkLst>
            <pc:docMk/>
            <pc:sldMk cId="160926467" sldId="372"/>
            <ac:cxnSpMk id="1678" creationId="{57C5A4FE-E420-F4E6-AF1E-31D67758A202}"/>
          </ac:cxnSpMkLst>
        </pc:cxnChg>
        <pc:cxnChg chg="mod ord">
          <ac:chgData name="Muchahary, Frankle" userId="0f2bf491-0617-4378-90b8-89af8fa381b9" providerId="ADAL" clId="{90877F19-00D2-4A00-8128-E78E36266C9A}" dt="2023-11-08T22:36:21.336" v="183483"/>
          <ac:cxnSpMkLst>
            <pc:docMk/>
            <pc:sldMk cId="160926467" sldId="372"/>
            <ac:cxnSpMk id="1679" creationId="{A5023766-BB15-51B1-909E-29B01F05CF9D}"/>
          </ac:cxnSpMkLst>
        </pc:cxnChg>
        <pc:cxnChg chg="mod ord">
          <ac:chgData name="Muchahary, Frankle" userId="0f2bf491-0617-4378-90b8-89af8fa381b9" providerId="ADAL" clId="{90877F19-00D2-4A00-8128-E78E36266C9A}" dt="2023-11-08T22:36:21.336" v="183485"/>
          <ac:cxnSpMkLst>
            <pc:docMk/>
            <pc:sldMk cId="160926467" sldId="372"/>
            <ac:cxnSpMk id="1680" creationId="{64320CC5-3160-80F2-5F6E-025CDADDA492}"/>
          </ac:cxnSpMkLst>
        </pc:cxnChg>
        <pc:cxnChg chg="mod ord">
          <ac:chgData name="Muchahary, Frankle" userId="0f2bf491-0617-4378-90b8-89af8fa381b9" providerId="ADAL" clId="{90877F19-00D2-4A00-8128-E78E36266C9A}" dt="2023-11-08T22:36:21.337" v="183487"/>
          <ac:cxnSpMkLst>
            <pc:docMk/>
            <pc:sldMk cId="160926467" sldId="372"/>
            <ac:cxnSpMk id="1681" creationId="{B4644024-8382-A0F6-BDC6-4419044A9A98}"/>
          </ac:cxnSpMkLst>
        </pc:cxnChg>
        <pc:cxnChg chg="mod ord">
          <ac:chgData name="Muchahary, Frankle" userId="0f2bf491-0617-4378-90b8-89af8fa381b9" providerId="ADAL" clId="{90877F19-00D2-4A00-8128-E78E36266C9A}" dt="2023-11-08T22:36:21.337" v="183489"/>
          <ac:cxnSpMkLst>
            <pc:docMk/>
            <pc:sldMk cId="160926467" sldId="372"/>
            <ac:cxnSpMk id="1682" creationId="{C8892A6B-DA27-CEEB-3704-54DBF8B53825}"/>
          </ac:cxnSpMkLst>
        </pc:cxnChg>
        <pc:cxnChg chg="mod ord">
          <ac:chgData name="Muchahary, Frankle" userId="0f2bf491-0617-4378-90b8-89af8fa381b9" providerId="ADAL" clId="{90877F19-00D2-4A00-8128-E78E36266C9A}" dt="2023-11-08T22:36:21.338" v="183491"/>
          <ac:cxnSpMkLst>
            <pc:docMk/>
            <pc:sldMk cId="160926467" sldId="372"/>
            <ac:cxnSpMk id="1683" creationId="{6B3BB417-FFA2-2A35-F45A-35A5D887BBC9}"/>
          </ac:cxnSpMkLst>
        </pc:cxnChg>
        <pc:cxnChg chg="mod ord">
          <ac:chgData name="Muchahary, Frankle" userId="0f2bf491-0617-4378-90b8-89af8fa381b9" providerId="ADAL" clId="{90877F19-00D2-4A00-8128-E78E36266C9A}" dt="2023-11-08T22:36:21.338" v="183493"/>
          <ac:cxnSpMkLst>
            <pc:docMk/>
            <pc:sldMk cId="160926467" sldId="372"/>
            <ac:cxnSpMk id="1684" creationId="{9841B74B-EA7E-60D9-3EB5-8A76A4781F25}"/>
          </ac:cxnSpMkLst>
        </pc:cxnChg>
        <pc:cxnChg chg="mod ord">
          <ac:chgData name="Muchahary, Frankle" userId="0f2bf491-0617-4378-90b8-89af8fa381b9" providerId="ADAL" clId="{90877F19-00D2-4A00-8128-E78E36266C9A}" dt="2023-11-08T22:36:21.339" v="183495"/>
          <ac:cxnSpMkLst>
            <pc:docMk/>
            <pc:sldMk cId="160926467" sldId="372"/>
            <ac:cxnSpMk id="1685" creationId="{57DB82F4-BED1-ECE8-2B70-4A70A66C4BA1}"/>
          </ac:cxnSpMkLst>
        </pc:cxnChg>
        <pc:cxnChg chg="mod ord">
          <ac:chgData name="Muchahary, Frankle" userId="0f2bf491-0617-4378-90b8-89af8fa381b9" providerId="ADAL" clId="{90877F19-00D2-4A00-8128-E78E36266C9A}" dt="2023-11-08T22:36:21.341" v="183497"/>
          <ac:cxnSpMkLst>
            <pc:docMk/>
            <pc:sldMk cId="160926467" sldId="372"/>
            <ac:cxnSpMk id="1686" creationId="{EC07D800-E3E8-A0AD-B094-AF42AF0E90B1}"/>
          </ac:cxnSpMkLst>
        </pc:cxnChg>
        <pc:cxnChg chg="mod ord">
          <ac:chgData name="Muchahary, Frankle" userId="0f2bf491-0617-4378-90b8-89af8fa381b9" providerId="ADAL" clId="{90877F19-00D2-4A00-8128-E78E36266C9A}" dt="2023-11-08T22:36:21.341" v="183499"/>
          <ac:cxnSpMkLst>
            <pc:docMk/>
            <pc:sldMk cId="160926467" sldId="372"/>
            <ac:cxnSpMk id="1687" creationId="{F54EFD62-445A-FA05-279A-9592C8923910}"/>
          </ac:cxnSpMkLst>
        </pc:cxnChg>
        <pc:cxnChg chg="mod ord">
          <ac:chgData name="Muchahary, Frankle" userId="0f2bf491-0617-4378-90b8-89af8fa381b9" providerId="ADAL" clId="{90877F19-00D2-4A00-8128-E78E36266C9A}" dt="2023-11-08T22:36:21.342" v="183501"/>
          <ac:cxnSpMkLst>
            <pc:docMk/>
            <pc:sldMk cId="160926467" sldId="372"/>
            <ac:cxnSpMk id="1688" creationId="{56D62BC7-10A8-3B49-F48F-297EFD5B6731}"/>
          </ac:cxnSpMkLst>
        </pc:cxnChg>
      </pc:sldChg>
      <pc:sldChg chg="addSp delSp modSp add mod modClrScheme chgLayout">
        <pc:chgData name="Muchahary, Frankle" userId="0f2bf491-0617-4378-90b8-89af8fa381b9" providerId="ADAL" clId="{90877F19-00D2-4A00-8128-E78E36266C9A}" dt="2023-11-08T07:21:21.637" v="171292" actId="20577"/>
        <pc:sldMkLst>
          <pc:docMk/>
          <pc:sldMk cId="1357425586" sldId="373"/>
        </pc:sldMkLst>
        <pc:spChg chg="add mod">
          <ac:chgData name="Muchahary, Frankle" userId="0f2bf491-0617-4378-90b8-89af8fa381b9" providerId="ADAL" clId="{90877F19-00D2-4A00-8128-E78E36266C9A}" dt="2023-11-08T07:21:21.637" v="171292" actId="20577"/>
          <ac:spMkLst>
            <pc:docMk/>
            <pc:sldMk cId="1357425586" sldId="373"/>
            <ac:spMk id="3" creationId="{F91D5F9B-C8D5-6F93-74EF-FC1D6E1441F0}"/>
          </ac:spMkLst>
        </pc:spChg>
        <pc:spChg chg="del mod ord">
          <ac:chgData name="Muchahary, Frankle" userId="0f2bf491-0617-4378-90b8-89af8fa381b9" providerId="ADAL" clId="{90877F19-00D2-4A00-8128-E78E36266C9A}" dt="2023-11-05T18:12:52.799" v="150567" actId="478"/>
          <ac:spMkLst>
            <pc:docMk/>
            <pc:sldMk cId="1357425586" sldId="373"/>
            <ac:spMk id="881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4:51.416" v="150745" actId="164"/>
          <ac:spMkLst>
            <pc:docMk/>
            <pc:sldMk cId="1357425586" sldId="373"/>
            <ac:spMk id="882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4:51.416" v="150745" actId="164"/>
          <ac:spMkLst>
            <pc:docMk/>
            <pc:sldMk cId="1357425586" sldId="373"/>
            <ac:spMk id="883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4:51.416" v="150745" actId="164"/>
          <ac:spMkLst>
            <pc:docMk/>
            <pc:sldMk cId="1357425586" sldId="373"/>
            <ac:spMk id="884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4:51.416" v="150745" actId="164"/>
          <ac:spMkLst>
            <pc:docMk/>
            <pc:sldMk cId="1357425586" sldId="373"/>
            <ac:spMk id="885" creationId="{00000000-0000-0000-0000-000000000000}"/>
          </ac:spMkLst>
        </pc:spChg>
        <pc:spChg chg="del mod">
          <ac:chgData name="Muchahary, Frankle" userId="0f2bf491-0617-4378-90b8-89af8fa381b9" providerId="ADAL" clId="{90877F19-00D2-4A00-8128-E78E36266C9A}" dt="2023-11-05T18:14:38.520" v="150741" actId="478"/>
          <ac:spMkLst>
            <pc:docMk/>
            <pc:sldMk cId="1357425586" sldId="373"/>
            <ac:spMk id="886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6:28.494" v="150846" actId="404"/>
          <ac:spMkLst>
            <pc:docMk/>
            <pc:sldMk cId="1357425586" sldId="373"/>
            <ac:spMk id="887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42:06.161" v="151604" actId="404"/>
          <ac:spMkLst>
            <pc:docMk/>
            <pc:sldMk cId="1357425586" sldId="373"/>
            <ac:spMk id="888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7:12.661" v="150893" actId="20577"/>
          <ac:spMkLst>
            <pc:docMk/>
            <pc:sldMk cId="1357425586" sldId="373"/>
            <ac:spMk id="889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42:03.965" v="151603" actId="404"/>
          <ac:spMkLst>
            <pc:docMk/>
            <pc:sldMk cId="1357425586" sldId="373"/>
            <ac:spMk id="890" creationId="{00000000-0000-0000-0000-000000000000}"/>
          </ac:spMkLst>
        </pc:spChg>
        <pc:spChg chg="add del mod">
          <ac:chgData name="Muchahary, Frankle" userId="0f2bf491-0617-4378-90b8-89af8fa381b9" providerId="ADAL" clId="{90877F19-00D2-4A00-8128-E78E36266C9A}" dt="2023-11-05T18:16:45.365" v="150852" actId="1076"/>
          <ac:spMkLst>
            <pc:docMk/>
            <pc:sldMk cId="1357425586" sldId="373"/>
            <ac:spMk id="891" creationId="{00000000-0000-0000-0000-000000000000}"/>
          </ac:spMkLst>
        </pc:spChg>
        <pc:spChg chg="add del mod">
          <ac:chgData name="Muchahary, Frankle" userId="0f2bf491-0617-4378-90b8-89af8fa381b9" providerId="ADAL" clId="{90877F19-00D2-4A00-8128-E78E36266C9A}" dt="2023-11-05T18:41:45.755" v="151598" actId="20577"/>
          <ac:spMkLst>
            <pc:docMk/>
            <pc:sldMk cId="1357425586" sldId="373"/>
            <ac:spMk id="892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17:34.850" v="150900" actId="14100"/>
          <ac:spMkLst>
            <pc:docMk/>
            <pc:sldMk cId="1357425586" sldId="373"/>
            <ac:spMk id="893" creationId="{00000000-0000-0000-0000-000000000000}"/>
          </ac:spMkLst>
        </pc:spChg>
        <pc:spChg chg="mod">
          <ac:chgData name="Muchahary, Frankle" userId="0f2bf491-0617-4378-90b8-89af8fa381b9" providerId="ADAL" clId="{90877F19-00D2-4A00-8128-E78E36266C9A}" dt="2023-11-05T18:42:00.151" v="151601" actId="404"/>
          <ac:spMkLst>
            <pc:docMk/>
            <pc:sldMk cId="1357425586" sldId="373"/>
            <ac:spMk id="894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5T18:14:40.958" v="150743" actId="478"/>
          <ac:spMkLst>
            <pc:docMk/>
            <pc:sldMk cId="1357425586" sldId="373"/>
            <ac:spMk id="895" creationId="{00000000-0000-0000-0000-000000000000}"/>
          </ac:spMkLst>
        </pc:spChg>
        <pc:spChg chg="del">
          <ac:chgData name="Muchahary, Frankle" userId="0f2bf491-0617-4378-90b8-89af8fa381b9" providerId="ADAL" clId="{90877F19-00D2-4A00-8128-E78E36266C9A}" dt="2023-11-05T18:14:44.469" v="150744" actId="478"/>
          <ac:spMkLst>
            <pc:docMk/>
            <pc:sldMk cId="1357425586" sldId="373"/>
            <ac:spMk id="896" creationId="{00000000-0000-0000-0000-000000000000}"/>
          </ac:spMkLst>
        </pc:spChg>
        <pc:grpChg chg="add mod">
          <ac:chgData name="Muchahary, Frankle" userId="0f2bf491-0617-4378-90b8-89af8fa381b9" providerId="ADAL" clId="{90877F19-00D2-4A00-8128-E78E36266C9A}" dt="2023-11-05T18:37:56.534" v="151269" actId="1076"/>
          <ac:grpSpMkLst>
            <pc:docMk/>
            <pc:sldMk cId="1357425586" sldId="373"/>
            <ac:grpSpMk id="4" creationId="{1229C0D4-8A0A-01CA-E960-B1C763FAA21F}"/>
          </ac:grpSpMkLst>
        </pc:grpChg>
        <pc:grpChg chg="mod">
          <ac:chgData name="Muchahary, Frankle" userId="0f2bf491-0617-4378-90b8-89af8fa381b9" providerId="ADAL" clId="{90877F19-00D2-4A00-8128-E78E36266C9A}" dt="2023-11-05T18:14:51.416" v="150745" actId="164"/>
          <ac:grpSpMkLst>
            <pc:docMk/>
            <pc:sldMk cId="1357425586" sldId="373"/>
            <ac:grpSpMk id="866" creationId="{00000000-0000-0000-0000-000000000000}"/>
          </ac:grpSpMkLst>
        </pc:grpChg>
        <pc:grpChg chg="mod">
          <ac:chgData name="Muchahary, Frankle" userId="0f2bf491-0617-4378-90b8-89af8fa381b9" providerId="ADAL" clId="{90877F19-00D2-4A00-8128-E78E36266C9A}" dt="2023-11-05T18:14:51.416" v="150745" actId="164"/>
          <ac:grpSpMkLst>
            <pc:docMk/>
            <pc:sldMk cId="1357425586" sldId="373"/>
            <ac:grpSpMk id="869" creationId="{00000000-0000-0000-0000-000000000000}"/>
          </ac:grpSpMkLst>
        </pc:grpChg>
        <pc:grpChg chg="add del mod">
          <ac:chgData name="Muchahary, Frankle" userId="0f2bf491-0617-4378-90b8-89af8fa381b9" providerId="ADAL" clId="{90877F19-00D2-4A00-8128-E78E36266C9A}" dt="2023-11-05T18:14:51.416" v="150745" actId="164"/>
          <ac:grpSpMkLst>
            <pc:docMk/>
            <pc:sldMk cId="1357425586" sldId="373"/>
            <ac:grpSpMk id="872" creationId="{00000000-0000-0000-0000-000000000000}"/>
          </ac:grpSpMkLst>
        </pc:grpChg>
        <pc:grpChg chg="mod">
          <ac:chgData name="Muchahary, Frankle" userId="0f2bf491-0617-4378-90b8-89af8fa381b9" providerId="ADAL" clId="{90877F19-00D2-4A00-8128-E78E36266C9A}" dt="2023-11-05T18:14:51.416" v="150745" actId="164"/>
          <ac:grpSpMkLst>
            <pc:docMk/>
            <pc:sldMk cId="1357425586" sldId="373"/>
            <ac:grpSpMk id="875" creationId="{00000000-0000-0000-0000-000000000000}"/>
          </ac:grpSpMkLst>
        </pc:grpChg>
        <pc:grpChg chg="del">
          <ac:chgData name="Muchahary, Frankle" userId="0f2bf491-0617-4378-90b8-89af8fa381b9" providerId="ADAL" clId="{90877F19-00D2-4A00-8128-E78E36266C9A}" dt="2023-11-05T18:14:39.356" v="150742" actId="478"/>
          <ac:grpSpMkLst>
            <pc:docMk/>
            <pc:sldMk cId="1357425586" sldId="373"/>
            <ac:grpSpMk id="878" creationId="{00000000-0000-0000-0000-000000000000}"/>
          </ac:grpSpMkLst>
        </pc:grpChg>
        <pc:graphicFrameChg chg="add mod ord modVis replST">
          <ac:chgData name="Muchahary, Frankle" userId="0f2bf491-0617-4378-90b8-89af8fa381b9" providerId="ADAL" clId="{90877F19-00D2-4A00-8128-E78E36266C9A}" dt="2023-11-05T18:12:53.311" v="150571"/>
          <ac:graphicFrameMkLst>
            <pc:docMk/>
            <pc:sldMk cId="1357425586" sldId="373"/>
            <ac:graphicFrameMk id="2" creationId="{2227DB06-7750-440B-8A64-2FC404B60113}"/>
          </ac:graphicFrameMkLst>
        </pc:graphicFrameChg>
        <pc:cxnChg chg="mod">
          <ac:chgData name="Muchahary, Frankle" userId="0f2bf491-0617-4378-90b8-89af8fa381b9" providerId="ADAL" clId="{90877F19-00D2-4A00-8128-E78E36266C9A}" dt="2023-11-05T18:41:00.993" v="151571" actId="1035"/>
          <ac:cxnSpMkLst>
            <pc:docMk/>
            <pc:sldMk cId="1357425586" sldId="373"/>
            <ac:cxnSpMk id="868" creationId="{00000000-0000-0000-0000-000000000000}"/>
          </ac:cxnSpMkLst>
        </pc:cxnChg>
        <pc:cxnChg chg="mod">
          <ac:chgData name="Muchahary, Frankle" userId="0f2bf491-0617-4378-90b8-89af8fa381b9" providerId="ADAL" clId="{90877F19-00D2-4A00-8128-E78E36266C9A}" dt="2023-11-05T18:41:26.915" v="151592" actId="1035"/>
          <ac:cxnSpMkLst>
            <pc:docMk/>
            <pc:sldMk cId="1357425586" sldId="373"/>
            <ac:cxnSpMk id="871" creationId="{00000000-0000-0000-0000-000000000000}"/>
          </ac:cxnSpMkLst>
        </pc:cxnChg>
        <pc:cxnChg chg="mod">
          <ac:chgData name="Muchahary, Frankle" userId="0f2bf491-0617-4378-90b8-89af8fa381b9" providerId="ADAL" clId="{90877F19-00D2-4A00-8128-E78E36266C9A}" dt="2023-11-05T18:40:39.432" v="151546" actId="14100"/>
          <ac:cxnSpMkLst>
            <pc:docMk/>
            <pc:sldMk cId="1357425586" sldId="373"/>
            <ac:cxnSpMk id="874" creationId="{00000000-0000-0000-0000-000000000000}"/>
          </ac:cxnSpMkLst>
        </pc:cxnChg>
        <pc:cxnChg chg="mod">
          <ac:chgData name="Muchahary, Frankle" userId="0f2bf491-0617-4378-90b8-89af8fa381b9" providerId="ADAL" clId="{90877F19-00D2-4A00-8128-E78E36266C9A}" dt="2023-11-05T18:40:30.755" v="151545" actId="14100"/>
          <ac:cxnSpMkLst>
            <pc:docMk/>
            <pc:sldMk cId="1357425586" sldId="373"/>
            <ac:cxnSpMk id="877" creationId="{00000000-0000-0000-0000-000000000000}"/>
          </ac:cxnSpMkLst>
        </pc:cxnChg>
      </pc:sldChg>
      <pc:sldChg chg="mod modClrScheme chgLayout">
        <pc:chgData name="Muchahary, Frankle" userId="0f2bf491-0617-4378-90b8-89af8fa381b9" providerId="ADAL" clId="{90877F19-00D2-4A00-8128-E78E36266C9A}" dt="2023-11-08T06:04:24.187" v="163572" actId="700"/>
        <pc:sldMkLst>
          <pc:docMk/>
          <pc:sldMk cId="722401933" sldId="374"/>
        </pc:sldMkLst>
      </pc:sldChg>
      <pc:sldChg chg="modSp mod modClrScheme chgLayout">
        <pc:chgData name="Muchahary, Frankle" userId="0f2bf491-0617-4378-90b8-89af8fa381b9" providerId="ADAL" clId="{90877F19-00D2-4A00-8128-E78E36266C9A}" dt="2023-11-08T06:05:30.520" v="163576" actId="1076"/>
        <pc:sldMkLst>
          <pc:docMk/>
          <pc:sldMk cId="4242406866" sldId="375"/>
        </pc:sldMkLst>
        <pc:spChg chg="mod">
          <ac:chgData name="Muchahary, Frankle" userId="0f2bf491-0617-4378-90b8-89af8fa381b9" providerId="ADAL" clId="{90877F19-00D2-4A00-8128-E78E36266C9A}" dt="2023-11-08T06:05:30.520" v="163576" actId="1076"/>
          <ac:spMkLst>
            <pc:docMk/>
            <pc:sldMk cId="4242406866" sldId="375"/>
            <ac:spMk id="6" creationId="{E313A027-7124-2A57-C842-9C00F4AF4F5C}"/>
          </ac:spMkLst>
        </pc:spChg>
      </pc:sldChg>
      <pc:sldChg chg="addSp delSp modSp add del mod modTransition modClrScheme delAnim modAnim modShow chgLayout">
        <pc:chgData name="Muchahary, Frankle" userId="0f2bf491-0617-4378-90b8-89af8fa381b9" providerId="ADAL" clId="{90877F19-00D2-4A00-8128-E78E36266C9A}" dt="2023-11-08T07:14:03.803" v="169464" actId="2696"/>
        <pc:sldMkLst>
          <pc:docMk/>
          <pc:sldMk cId="4133456119" sldId="376"/>
        </pc:sldMkLst>
        <pc:spChg chg="add mod">
          <ac:chgData name="Muchahary, Frankle" userId="0f2bf491-0617-4378-90b8-89af8fa381b9" providerId="ADAL" clId="{90877F19-00D2-4A00-8128-E78E36266C9A}" dt="2023-11-05T21:37:52.726" v="153280" actId="20577"/>
          <ac:spMkLst>
            <pc:docMk/>
            <pc:sldMk cId="4133456119" sldId="376"/>
            <ac:spMk id="2" creationId="{A3EC0B47-2A72-916D-F9F5-9EAF93370B05}"/>
          </ac:spMkLst>
        </pc:spChg>
        <pc:spChg chg="mod">
          <ac:chgData name="Muchahary, Frankle" userId="0f2bf491-0617-4378-90b8-89af8fa381b9" providerId="ADAL" clId="{90877F19-00D2-4A00-8128-E78E36266C9A}" dt="2023-11-05T21:07:57.350" v="152391" actId="14826"/>
          <ac:spMkLst>
            <pc:docMk/>
            <pc:sldMk cId="4133456119" sldId="376"/>
            <ac:spMk id="74" creationId="{0D69362D-6C14-6F8D-F7A3-4C3A2AC45980}"/>
          </ac:spMkLst>
        </pc:spChg>
        <pc:spChg chg="mod">
          <ac:chgData name="Muchahary, Frankle" userId="0f2bf491-0617-4378-90b8-89af8fa381b9" providerId="ADAL" clId="{90877F19-00D2-4A00-8128-E78E36266C9A}" dt="2023-11-05T21:08:40.959" v="152408" actId="14826"/>
          <ac:spMkLst>
            <pc:docMk/>
            <pc:sldMk cId="4133456119" sldId="376"/>
            <ac:spMk id="90" creationId="{50357040-0E6D-E425-B355-92023A3EB7EE}"/>
          </ac:spMkLst>
        </pc:spChg>
        <pc:spChg chg="mod">
          <ac:chgData name="Muchahary, Frankle" userId="0f2bf491-0617-4378-90b8-89af8fa381b9" providerId="ADAL" clId="{90877F19-00D2-4A00-8128-E78E36266C9A}" dt="2023-11-05T21:09:26.436" v="152436" actId="14826"/>
          <ac:spMkLst>
            <pc:docMk/>
            <pc:sldMk cId="4133456119" sldId="376"/>
            <ac:spMk id="92" creationId="{3342A07C-F3B0-6E5D-DA27-B6B4ED853639}"/>
          </ac:spMkLst>
        </pc:spChg>
        <pc:spChg chg="mod">
          <ac:chgData name="Muchahary, Frankle" userId="0f2bf491-0617-4378-90b8-89af8fa381b9" providerId="ADAL" clId="{90877F19-00D2-4A00-8128-E78E36266C9A}" dt="2023-11-05T21:12:38.002" v="152582" actId="14826"/>
          <ac:spMkLst>
            <pc:docMk/>
            <pc:sldMk cId="4133456119" sldId="376"/>
            <ac:spMk id="93" creationId="{DAAEE73E-34B8-1E65-FACF-CCB87F7714C3}"/>
          </ac:spMkLst>
        </pc:spChg>
        <pc:spChg chg="mod">
          <ac:chgData name="Muchahary, Frankle" userId="0f2bf491-0617-4378-90b8-89af8fa381b9" providerId="ADAL" clId="{90877F19-00D2-4A00-8128-E78E36266C9A}" dt="2023-11-05T21:08:14.102" v="152407" actId="1076"/>
          <ac:spMkLst>
            <pc:docMk/>
            <pc:sldMk cId="4133456119" sldId="376"/>
            <ac:spMk id="97" creationId="{0DAB9198-2FD6-9790-64A7-41B8E7E99799}"/>
          </ac:spMkLst>
        </pc:spChg>
        <pc:spChg chg="mod">
          <ac:chgData name="Muchahary, Frankle" userId="0f2bf491-0617-4378-90b8-89af8fa381b9" providerId="ADAL" clId="{90877F19-00D2-4A00-8128-E78E36266C9A}" dt="2023-11-05T21:10:52.668" v="152521" actId="14826"/>
          <ac:spMkLst>
            <pc:docMk/>
            <pc:sldMk cId="4133456119" sldId="376"/>
            <ac:spMk id="98" creationId="{64D3A1A3-2DA6-1DD0-0C81-4103D6C38108}"/>
          </ac:spMkLst>
        </pc:spChg>
        <pc:spChg chg="mod">
          <ac:chgData name="Muchahary, Frankle" userId="0f2bf491-0617-4378-90b8-89af8fa381b9" providerId="ADAL" clId="{90877F19-00D2-4A00-8128-E78E36266C9A}" dt="2023-11-05T21:09:00.179" v="152434" actId="20577"/>
          <ac:spMkLst>
            <pc:docMk/>
            <pc:sldMk cId="4133456119" sldId="376"/>
            <ac:spMk id="103" creationId="{199C9C15-6CDE-85A2-F1BA-7C65D104A285}"/>
          </ac:spMkLst>
        </pc:spChg>
        <pc:spChg chg="mod">
          <ac:chgData name="Muchahary, Frankle" userId="0f2bf491-0617-4378-90b8-89af8fa381b9" providerId="ADAL" clId="{90877F19-00D2-4A00-8128-E78E36266C9A}" dt="2023-11-05T21:29:26.916" v="152810" actId="14100"/>
          <ac:spMkLst>
            <pc:docMk/>
            <pc:sldMk cId="4133456119" sldId="376"/>
            <ac:spMk id="109" creationId="{53E505FA-8833-1BF1-80AE-8108A4D17FA5}"/>
          </ac:spMkLst>
        </pc:spChg>
        <pc:spChg chg="mod">
          <ac:chgData name="Muchahary, Frankle" userId="0f2bf491-0617-4378-90b8-89af8fa381b9" providerId="ADAL" clId="{90877F19-00D2-4A00-8128-E78E36266C9A}" dt="2023-11-05T21:19:03.183" v="152772" actId="20577"/>
          <ac:spMkLst>
            <pc:docMk/>
            <pc:sldMk cId="4133456119" sldId="376"/>
            <ac:spMk id="110" creationId="{51DC5E93-AE3F-2600-9CCF-46DEF6FA4FF2}"/>
          </ac:spMkLst>
        </pc:spChg>
        <pc:spChg chg="mod">
          <ac:chgData name="Muchahary, Frankle" userId="0f2bf491-0617-4378-90b8-89af8fa381b9" providerId="ADAL" clId="{90877F19-00D2-4A00-8128-E78E36266C9A}" dt="2023-11-05T21:18:05.407" v="152734" actId="1076"/>
          <ac:spMkLst>
            <pc:docMk/>
            <pc:sldMk cId="4133456119" sldId="376"/>
            <ac:spMk id="111" creationId="{B211658C-DB71-9155-BD4E-F6CC7CCFE623}"/>
          </ac:spMkLst>
        </pc:spChg>
        <pc:spChg chg="mod">
          <ac:chgData name="Muchahary, Frankle" userId="0f2bf491-0617-4378-90b8-89af8fa381b9" providerId="ADAL" clId="{90877F19-00D2-4A00-8128-E78E36266C9A}" dt="2023-11-05T21:16:07.884" v="152687" actId="14826"/>
          <ac:spMkLst>
            <pc:docMk/>
            <pc:sldMk cId="4133456119" sldId="376"/>
            <ac:spMk id="118" creationId="{09DD51CB-19DA-2F6A-BD71-4931D9E175C3}"/>
          </ac:spMkLst>
        </pc:spChg>
        <pc:spChg chg="mod">
          <ac:chgData name="Muchahary, Frankle" userId="0f2bf491-0617-4378-90b8-89af8fa381b9" providerId="ADAL" clId="{90877F19-00D2-4A00-8128-E78E36266C9A}" dt="2023-11-05T21:18:14.156" v="152735" actId="1076"/>
          <ac:spMkLst>
            <pc:docMk/>
            <pc:sldMk cId="4133456119" sldId="376"/>
            <ac:spMk id="119" creationId="{6B7D46B1-3DC1-6E71-11E2-B6E1365C82FD}"/>
          </ac:spMkLst>
        </pc:spChg>
        <pc:grpChg chg="mod">
          <ac:chgData name="Muchahary, Frankle" userId="0f2bf491-0617-4378-90b8-89af8fa381b9" providerId="ADAL" clId="{90877F19-00D2-4A00-8128-E78E36266C9A}" dt="2023-11-05T21:07:57.350" v="152391" actId="14826"/>
          <ac:grpSpMkLst>
            <pc:docMk/>
            <pc:sldMk cId="4133456119" sldId="376"/>
            <ac:grpSpMk id="122" creationId="{E6ED1A96-693D-ABD7-B8FB-A728B5D7FD44}"/>
          </ac:grpSpMkLst>
        </pc:grpChg>
        <pc:grpChg chg="mod">
          <ac:chgData name="Muchahary, Frankle" userId="0f2bf491-0617-4378-90b8-89af8fa381b9" providerId="ADAL" clId="{90877F19-00D2-4A00-8128-E78E36266C9A}" dt="2023-11-05T21:08:40.959" v="152408" actId="14826"/>
          <ac:grpSpMkLst>
            <pc:docMk/>
            <pc:sldMk cId="4133456119" sldId="376"/>
            <ac:grpSpMk id="123" creationId="{B8375871-C207-2BF1-C3DB-1023050B323C}"/>
          </ac:grpSpMkLst>
        </pc:grpChg>
        <pc:grpChg chg="mod">
          <ac:chgData name="Muchahary, Frankle" userId="0f2bf491-0617-4378-90b8-89af8fa381b9" providerId="ADAL" clId="{90877F19-00D2-4A00-8128-E78E36266C9A}" dt="2023-11-05T21:09:26.436" v="152436" actId="14826"/>
          <ac:grpSpMkLst>
            <pc:docMk/>
            <pc:sldMk cId="4133456119" sldId="376"/>
            <ac:grpSpMk id="124" creationId="{E7D2C619-61B2-B23C-73AC-3D13368B5EB2}"/>
          </ac:grpSpMkLst>
        </pc:grpChg>
        <pc:grpChg chg="mod">
          <ac:chgData name="Muchahary, Frankle" userId="0f2bf491-0617-4378-90b8-89af8fa381b9" providerId="ADAL" clId="{90877F19-00D2-4A00-8128-E78E36266C9A}" dt="2023-11-05T21:12:38.002" v="152582" actId="14826"/>
          <ac:grpSpMkLst>
            <pc:docMk/>
            <pc:sldMk cId="4133456119" sldId="376"/>
            <ac:grpSpMk id="125" creationId="{0935608E-171B-9C69-2680-321FDE459128}"/>
          </ac:grpSpMkLst>
        </pc:grpChg>
        <pc:grpChg chg="mod">
          <ac:chgData name="Muchahary, Frankle" userId="0f2bf491-0617-4378-90b8-89af8fa381b9" providerId="ADAL" clId="{90877F19-00D2-4A00-8128-E78E36266C9A}" dt="2023-11-05T21:10:52.668" v="152521" actId="14826"/>
          <ac:grpSpMkLst>
            <pc:docMk/>
            <pc:sldMk cId="4133456119" sldId="376"/>
            <ac:grpSpMk id="130" creationId="{5901F956-A6EB-0695-2137-73A5EB430CE1}"/>
          </ac:grpSpMkLst>
        </pc:grpChg>
        <pc:grpChg chg="mod">
          <ac:chgData name="Muchahary, Frankle" userId="0f2bf491-0617-4378-90b8-89af8fa381b9" providerId="ADAL" clId="{90877F19-00D2-4A00-8128-E78E36266C9A}" dt="2023-11-05T21:16:07.884" v="152687" actId="14826"/>
          <ac:grpSpMkLst>
            <pc:docMk/>
            <pc:sldMk cId="4133456119" sldId="376"/>
            <ac:grpSpMk id="131" creationId="{F52FE948-865D-55E1-9E61-BEF423C6217C}"/>
          </ac:grpSpMkLst>
        </pc:grpChg>
        <pc:picChg chg="add del mod">
          <ac:chgData name="Muchahary, Frankle" userId="0f2bf491-0617-4378-90b8-89af8fa381b9" providerId="ADAL" clId="{90877F19-00D2-4A00-8128-E78E36266C9A}" dt="2023-11-07T04:41:03.531" v="157736" actId="478"/>
          <ac:picMkLst>
            <pc:docMk/>
            <pc:sldMk cId="4133456119" sldId="376"/>
            <ac:picMk id="3" creationId="{50B756BB-DD57-45ED-2B8C-FF2540F4DC75}"/>
          </ac:picMkLst>
        </pc:picChg>
        <pc:picChg chg="add mod">
          <ac:chgData name="Muchahary, Frankle" userId="0f2bf491-0617-4378-90b8-89af8fa381b9" providerId="ADAL" clId="{90877F19-00D2-4A00-8128-E78E36266C9A}" dt="2023-11-07T04:41:17.052" v="157741" actId="14861"/>
          <ac:picMkLst>
            <pc:docMk/>
            <pc:sldMk cId="4133456119" sldId="376"/>
            <ac:picMk id="7" creationId="{FCF76D4C-EAE4-5DEE-B7A4-3654BBC68209}"/>
          </ac:picMkLst>
        </pc:picChg>
        <pc:picChg chg="mod">
          <ac:chgData name="Muchahary, Frankle" userId="0f2bf491-0617-4378-90b8-89af8fa381b9" providerId="ADAL" clId="{90877F19-00D2-4A00-8128-E78E36266C9A}" dt="2023-11-05T21:07:57.350" v="152391" actId="14826"/>
          <ac:picMkLst>
            <pc:docMk/>
            <pc:sldMk cId="4133456119" sldId="376"/>
            <ac:picMk id="96" creationId="{48768981-F5FE-1050-56A3-5B3C8FA350C8}"/>
          </ac:picMkLst>
        </pc:picChg>
        <pc:picChg chg="mod">
          <ac:chgData name="Muchahary, Frankle" userId="0f2bf491-0617-4378-90b8-89af8fa381b9" providerId="ADAL" clId="{90877F19-00D2-4A00-8128-E78E36266C9A}" dt="2023-11-05T21:09:05.666" v="152435" actId="14100"/>
          <ac:picMkLst>
            <pc:docMk/>
            <pc:sldMk cId="4133456119" sldId="376"/>
            <ac:picMk id="106" creationId="{C5DB582D-E9B7-F5D5-05A5-BB4572AFBE93}"/>
          </ac:picMkLst>
        </pc:picChg>
        <pc:picChg chg="mod">
          <ac:chgData name="Muchahary, Frankle" userId="0f2bf491-0617-4378-90b8-89af8fa381b9" providerId="ADAL" clId="{90877F19-00D2-4A00-8128-E78E36266C9A}" dt="2023-11-05T21:09:26.436" v="152436" actId="14826"/>
          <ac:picMkLst>
            <pc:docMk/>
            <pc:sldMk cId="4133456119" sldId="376"/>
            <ac:picMk id="108" creationId="{9A49D318-0A5B-6D4F-5D9F-AF86286ADF7C}"/>
          </ac:picMkLst>
        </pc:picChg>
        <pc:picChg chg="mod">
          <ac:chgData name="Muchahary, Frankle" userId="0f2bf491-0617-4378-90b8-89af8fa381b9" providerId="ADAL" clId="{90877F19-00D2-4A00-8128-E78E36266C9A}" dt="2023-11-05T21:12:38.002" v="152582" actId="14826"/>
          <ac:picMkLst>
            <pc:docMk/>
            <pc:sldMk cId="4133456119" sldId="376"/>
            <ac:picMk id="113" creationId="{2A0B1F62-3961-F5D3-D113-9633FE30EA38}"/>
          </ac:picMkLst>
        </pc:picChg>
        <pc:picChg chg="mod">
          <ac:chgData name="Muchahary, Frankle" userId="0f2bf491-0617-4378-90b8-89af8fa381b9" providerId="ADAL" clId="{90877F19-00D2-4A00-8128-E78E36266C9A}" dt="2023-11-05T21:10:56.945" v="152523" actId="1035"/>
          <ac:picMkLst>
            <pc:docMk/>
            <pc:sldMk cId="4133456119" sldId="376"/>
            <ac:picMk id="127" creationId="{2E24D698-9598-8D35-ACD5-56838C04E67A}"/>
          </ac:picMkLst>
        </pc:picChg>
        <pc:picChg chg="mod">
          <ac:chgData name="Muchahary, Frankle" userId="0f2bf491-0617-4378-90b8-89af8fa381b9" providerId="ADAL" clId="{90877F19-00D2-4A00-8128-E78E36266C9A}" dt="2023-11-05T21:16:07.884" v="152687" actId="14826"/>
          <ac:picMkLst>
            <pc:docMk/>
            <pc:sldMk cId="4133456119" sldId="376"/>
            <ac:picMk id="129" creationId="{6F71B2E9-EA25-1249-9439-67CC54B3F913}"/>
          </ac:picMkLst>
        </pc:picChg>
        <pc:cxnChg chg="mod">
          <ac:chgData name="Muchahary, Frankle" userId="0f2bf491-0617-4378-90b8-89af8fa381b9" providerId="ADAL" clId="{90877F19-00D2-4A00-8128-E78E36266C9A}" dt="2023-11-05T21:07:57.350" v="152391" actId="14826"/>
          <ac:cxnSpMkLst>
            <pc:docMk/>
            <pc:sldMk cId="4133456119" sldId="376"/>
            <ac:cxnSpMk id="54" creationId="{A4A1719C-3F65-EF78-8178-E5FF922A9FE8}"/>
          </ac:cxnSpMkLst>
        </pc:cxnChg>
      </pc:sldChg>
      <pc:sldChg chg="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3128293501" sldId="378"/>
        </pc:sldMkLst>
      </pc:sldChg>
      <pc:sldChg chg="modSp mod modTransition modShow">
        <pc:chgData name="Muchahary, Frankle" userId="0f2bf491-0617-4378-90b8-89af8fa381b9" providerId="ADAL" clId="{90877F19-00D2-4A00-8128-E78E36266C9A}" dt="2023-11-08T06:11:24.102" v="163813"/>
        <pc:sldMkLst>
          <pc:docMk/>
          <pc:sldMk cId="2786013774" sldId="379"/>
        </pc:sldMkLst>
        <pc:spChg chg="mod">
          <ac:chgData name="Muchahary, Frankle" userId="0f2bf491-0617-4378-90b8-89af8fa381b9" providerId="ADAL" clId="{90877F19-00D2-4A00-8128-E78E36266C9A}" dt="2023-11-07T20:03:26.608" v="162292" actId="13926"/>
          <ac:spMkLst>
            <pc:docMk/>
            <pc:sldMk cId="2786013774" sldId="379"/>
            <ac:spMk id="2" creationId="{8CDAE065-02E5-9B13-30C6-6B12ABF9A718}"/>
          </ac:spMkLst>
        </pc:spChg>
      </pc:sldChg>
      <pc:sldChg chg="mod modTransition modShow">
        <pc:chgData name="Muchahary, Frankle" userId="0f2bf491-0617-4378-90b8-89af8fa381b9" providerId="ADAL" clId="{90877F19-00D2-4A00-8128-E78E36266C9A}" dt="2023-11-06T07:20:32.818" v="157424"/>
        <pc:sldMkLst>
          <pc:docMk/>
          <pc:sldMk cId="2987126759" sldId="381"/>
        </pc:sldMkLst>
      </pc:sldChg>
      <pc:sldChg chg="modSp add del mod">
        <pc:chgData name="Muchahary, Frankle" userId="0f2bf491-0617-4378-90b8-89af8fa381b9" providerId="ADAL" clId="{90877F19-00D2-4A00-8128-E78E36266C9A}" dt="2023-11-08T05:51:31.302" v="163145" actId="47"/>
        <pc:sldMkLst>
          <pc:docMk/>
          <pc:sldMk cId="708761047" sldId="385"/>
        </pc:sldMkLst>
        <pc:spChg chg="mod">
          <ac:chgData name="Muchahary, Frankle" userId="0f2bf491-0617-4378-90b8-89af8fa381b9" providerId="ADAL" clId="{90877F19-00D2-4A00-8128-E78E36266C9A}" dt="2023-11-06T07:46:35.002" v="157471" actId="1076"/>
          <ac:spMkLst>
            <pc:docMk/>
            <pc:sldMk cId="708761047" sldId="385"/>
            <ac:spMk id="2" creationId="{DED2384D-661B-6408-34FB-2EE2D03F2A8A}"/>
          </ac:spMkLst>
        </pc:spChg>
        <pc:graphicFrameChg chg="mod">
          <ac:chgData name="Muchahary, Frankle" userId="0f2bf491-0617-4378-90b8-89af8fa381b9" providerId="ADAL" clId="{90877F19-00D2-4A00-8128-E78E36266C9A}" dt="2023-11-08T05:51:28.199" v="163144"/>
          <ac:graphicFrameMkLst>
            <pc:docMk/>
            <pc:sldMk cId="708761047" sldId="385"/>
            <ac:graphicFrameMk id="4" creationId="{FD4A65FB-339A-B2BC-4155-257FFC3BBBB9}"/>
          </ac:graphicFrameMkLst>
        </pc:graphicFrameChg>
      </pc:sldChg>
      <pc:sldChg chg="del">
        <pc:chgData name="Muchahary, Frankle" userId="0f2bf491-0617-4378-90b8-89af8fa381b9" providerId="ADAL" clId="{90877F19-00D2-4A00-8128-E78E36266C9A}" dt="2023-11-08T05:48:30.205" v="163048" actId="47"/>
        <pc:sldMkLst>
          <pc:docMk/>
          <pc:sldMk cId="2226683047" sldId="389"/>
        </pc:sldMkLst>
      </pc:sldChg>
      <pc:sldChg chg="addSp delSp modSp add mod">
        <pc:chgData name="Muchahary, Frankle" userId="0f2bf491-0617-4378-90b8-89af8fa381b9" providerId="ADAL" clId="{90877F19-00D2-4A00-8128-E78E36266C9A}" dt="2023-11-08T06:26:09.496" v="165732" actId="20577"/>
        <pc:sldMkLst>
          <pc:docMk/>
          <pc:sldMk cId="3541548231" sldId="390"/>
        </pc:sldMkLst>
        <pc:spChg chg="del mod ord">
          <ac:chgData name="Muchahary, Frankle" userId="0f2bf491-0617-4378-90b8-89af8fa381b9" providerId="ADAL" clId="{90877F19-00D2-4A00-8128-E78E36266C9A}" dt="2023-11-06T07:07:24.166" v="157025" actId="478"/>
          <ac:spMkLst>
            <pc:docMk/>
            <pc:sldMk cId="3541548231" sldId="390"/>
            <ac:spMk id="2" creationId="{7A122DDB-75F7-A9E9-2923-77BEC9F48B18}"/>
          </ac:spMkLst>
        </pc:spChg>
        <pc:spChg chg="add mod replST">
          <ac:chgData name="Muchahary, Frankle" userId="0f2bf491-0617-4378-90b8-89af8fa381b9" providerId="ADAL" clId="{90877F19-00D2-4A00-8128-E78E36266C9A}" dt="2023-11-06T07:10:16.479" v="157408"/>
          <ac:spMkLst>
            <pc:docMk/>
            <pc:sldMk cId="3541548231" sldId="390"/>
            <ac:spMk id="3" creationId="{BCCE04C1-AFB8-D80F-A6BD-1D6526F8192A}"/>
          </ac:spMkLst>
        </pc:spChg>
        <pc:spChg chg="mod">
          <ac:chgData name="Muchahary, Frankle" userId="0f2bf491-0617-4378-90b8-89af8fa381b9" providerId="ADAL" clId="{90877F19-00D2-4A00-8128-E78E36266C9A}" dt="2023-11-08T06:26:09.496" v="165732" actId="20577"/>
          <ac:spMkLst>
            <pc:docMk/>
            <pc:sldMk cId="3541548231" sldId="390"/>
            <ac:spMk id="4" creationId="{E03226EA-DB45-2E5A-E1C6-BF708046E187}"/>
          </ac:spMkLst>
        </pc:spChg>
        <pc:spChg chg="add del mod modVis">
          <ac:chgData name="Muchahary, Frankle" userId="0f2bf491-0617-4378-90b8-89af8fa381b9" providerId="ADAL" clId="{90877F19-00D2-4A00-8128-E78E36266C9A}" dt="2023-11-06T07:05:55.286" v="155681"/>
          <ac:spMkLst>
            <pc:docMk/>
            <pc:sldMk cId="3541548231" sldId="390"/>
            <ac:spMk id="5" creationId="{903A5012-F32A-5598-C5FF-C618B3C79E5B}"/>
          </ac:spMkLst>
        </pc:spChg>
        <pc:spChg chg="del mod ord">
          <ac:chgData name="Muchahary, Frankle" userId="0f2bf491-0617-4378-90b8-89af8fa381b9" providerId="ADAL" clId="{90877F19-00D2-4A00-8128-E78E36266C9A}" dt="2023-11-06T07:07:29.247" v="157028" actId="478"/>
          <ac:spMkLst>
            <pc:docMk/>
            <pc:sldMk cId="3541548231" sldId="390"/>
            <ac:spMk id="6" creationId="{61999B40-D6BD-2145-842A-DB7BD5EBAA9B}"/>
          </ac:spMkLst>
        </pc:spChg>
        <pc:spChg chg="add del mod replST">
          <ac:chgData name="Muchahary, Frankle" userId="0f2bf491-0617-4378-90b8-89af8fa381b9" providerId="ADAL" clId="{90877F19-00D2-4A00-8128-E78E36266C9A}" dt="2023-11-06T07:06:01.136" v="155721"/>
          <ac:spMkLst>
            <pc:docMk/>
            <pc:sldMk cId="3541548231" sldId="390"/>
            <ac:spMk id="7" creationId="{FD795C7A-F1FC-27EC-CE35-E50743EDEADF}"/>
          </ac:spMkLst>
        </pc:spChg>
        <pc:spChg chg="add del mod replST">
          <ac:chgData name="Muchahary, Frankle" userId="0f2bf491-0617-4378-90b8-89af8fa381b9" providerId="ADAL" clId="{90877F19-00D2-4A00-8128-E78E36266C9A}" dt="2023-11-06T07:06:01.139" v="155725"/>
          <ac:spMkLst>
            <pc:docMk/>
            <pc:sldMk cId="3541548231" sldId="390"/>
            <ac:spMk id="8" creationId="{6DDB8178-0ED6-5F58-B37F-8320B1606943}"/>
          </ac:spMkLst>
        </pc:spChg>
        <pc:spChg chg="add mod replST">
          <ac:chgData name="Muchahary, Frankle" userId="0f2bf491-0617-4378-90b8-89af8fa381b9" providerId="ADAL" clId="{90877F19-00D2-4A00-8128-E78E36266C9A}" dt="2023-11-06T07:10:16.480" v="157409"/>
          <ac:spMkLst>
            <pc:docMk/>
            <pc:sldMk cId="3541548231" sldId="390"/>
            <ac:spMk id="10" creationId="{4B974D29-2389-961A-FF41-7819BC49FD19}"/>
          </ac:spMkLst>
        </pc:spChg>
        <pc:spChg chg="add mod replST">
          <ac:chgData name="Muchahary, Frankle" userId="0f2bf491-0617-4378-90b8-89af8fa381b9" providerId="ADAL" clId="{90877F19-00D2-4A00-8128-E78E36266C9A}" dt="2023-11-06T07:10:16.480" v="157410"/>
          <ac:spMkLst>
            <pc:docMk/>
            <pc:sldMk cId="3541548231" sldId="390"/>
            <ac:spMk id="11" creationId="{8FEB5D0F-C82C-4021-FB65-A03CCAA7733D}"/>
          </ac:spMkLst>
        </pc:spChg>
        <pc:spChg chg="add del mod replST">
          <ac:chgData name="Muchahary, Frankle" userId="0f2bf491-0617-4378-90b8-89af8fa381b9" providerId="ADAL" clId="{90877F19-00D2-4A00-8128-E78E36266C9A}" dt="2023-11-06T07:06:12.548" v="155955"/>
          <ac:spMkLst>
            <pc:docMk/>
            <pc:sldMk cId="3541548231" sldId="390"/>
            <ac:spMk id="12" creationId="{970DBA00-AA9C-DF6C-8EBA-3A88FBD1C7AD}"/>
          </ac:spMkLst>
        </pc:spChg>
        <pc:spChg chg="add mod replST">
          <ac:chgData name="Muchahary, Frankle" userId="0f2bf491-0617-4378-90b8-89af8fa381b9" providerId="ADAL" clId="{90877F19-00D2-4A00-8128-E78E36266C9A}" dt="2023-11-06T07:10:16.481" v="157411"/>
          <ac:spMkLst>
            <pc:docMk/>
            <pc:sldMk cId="3541548231" sldId="390"/>
            <ac:spMk id="13" creationId="{1A1806CD-1E2D-8ECE-E0E5-331946386C4C}"/>
          </ac:spMkLst>
        </pc:spChg>
        <pc:spChg chg="add mod replST">
          <ac:chgData name="Muchahary, Frankle" userId="0f2bf491-0617-4378-90b8-89af8fa381b9" providerId="ADAL" clId="{90877F19-00D2-4A00-8128-E78E36266C9A}" dt="2023-11-06T07:10:16.481" v="157412"/>
          <ac:spMkLst>
            <pc:docMk/>
            <pc:sldMk cId="3541548231" sldId="390"/>
            <ac:spMk id="14" creationId="{AE0A0DB4-DB0F-B9AE-B440-21D96E2C5A1C}"/>
          </ac:spMkLst>
        </pc:spChg>
        <pc:spChg chg="add del mod ord replST">
          <ac:chgData name="Muchahary, Frankle" userId="0f2bf491-0617-4378-90b8-89af8fa381b9" providerId="ADAL" clId="{90877F19-00D2-4A00-8128-E78E36266C9A}" dt="2023-11-06T07:06:36.191" v="156429"/>
          <ac:spMkLst>
            <pc:docMk/>
            <pc:sldMk cId="3541548231" sldId="390"/>
            <ac:spMk id="15" creationId="{CD61D45C-AD67-33F1-3A74-82D9AD148DC0}"/>
          </ac:spMkLst>
        </pc:spChg>
        <pc:spChg chg="add mod replST">
          <ac:chgData name="Muchahary, Frankle" userId="0f2bf491-0617-4378-90b8-89af8fa381b9" providerId="ADAL" clId="{90877F19-00D2-4A00-8128-E78E36266C9A}" dt="2023-11-06T07:10:16.482" v="157413"/>
          <ac:spMkLst>
            <pc:docMk/>
            <pc:sldMk cId="3541548231" sldId="390"/>
            <ac:spMk id="16" creationId="{57234463-0767-AC78-CD70-5C73A74A36A4}"/>
          </ac:spMkLst>
        </pc:spChg>
        <pc:spChg chg="add mod replST">
          <ac:chgData name="Muchahary, Frankle" userId="0f2bf491-0617-4378-90b8-89af8fa381b9" providerId="ADAL" clId="{90877F19-00D2-4A00-8128-E78E36266C9A}" dt="2023-11-06T07:10:16.482" v="157414"/>
          <ac:spMkLst>
            <pc:docMk/>
            <pc:sldMk cId="3541548231" sldId="390"/>
            <ac:spMk id="17" creationId="{6A0ECE27-CD8C-AEF1-ED8C-4EF7BB7752E0}"/>
          </ac:spMkLst>
        </pc:spChg>
        <pc:spChg chg="add del mod modVis">
          <ac:chgData name="Muchahary, Frankle" userId="0f2bf491-0617-4378-90b8-89af8fa381b9" providerId="ADAL" clId="{90877F19-00D2-4A00-8128-E78E36266C9A}" dt="2023-11-06T07:06:01.208" v="155770"/>
          <ac:spMkLst>
            <pc:docMk/>
            <pc:sldMk cId="3541548231" sldId="390"/>
            <ac:spMk id="20" creationId="{412B929B-B846-6A56-6FC5-34EAC4326801}"/>
          </ac:spMkLst>
        </pc:spChg>
        <pc:spChg chg="add mod replST">
          <ac:chgData name="Muchahary, Frankle" userId="0f2bf491-0617-4378-90b8-89af8fa381b9" providerId="ADAL" clId="{90877F19-00D2-4A00-8128-E78E36266C9A}" dt="2023-11-06T07:10:16.483" v="157415"/>
          <ac:spMkLst>
            <pc:docMk/>
            <pc:sldMk cId="3541548231" sldId="390"/>
            <ac:spMk id="22" creationId="{8533C479-7A7F-C0CF-D53F-B45F329380DF}"/>
          </ac:spMkLst>
        </pc:spChg>
        <pc:spChg chg="add del mod modVis">
          <ac:chgData name="Muchahary, Frankle" userId="0f2bf491-0617-4378-90b8-89af8fa381b9" providerId="ADAL" clId="{90877F19-00D2-4A00-8128-E78E36266C9A}" dt="2023-11-06T07:06:06.830" v="155860"/>
          <ac:spMkLst>
            <pc:docMk/>
            <pc:sldMk cId="3541548231" sldId="390"/>
            <ac:spMk id="23" creationId="{EA217EC1-DB5D-FC16-0A36-9EFF929F08DA}"/>
          </ac:spMkLst>
        </pc:spChg>
        <pc:spChg chg="add mod replST">
          <ac:chgData name="Muchahary, Frankle" userId="0f2bf491-0617-4378-90b8-89af8fa381b9" providerId="ADAL" clId="{90877F19-00D2-4A00-8128-E78E36266C9A}" dt="2023-11-06T07:10:16.484" v="157416"/>
          <ac:spMkLst>
            <pc:docMk/>
            <pc:sldMk cId="3541548231" sldId="390"/>
            <ac:spMk id="25" creationId="{986A2692-6CDB-3146-324D-1918A119B02F}"/>
          </ac:spMkLst>
        </pc:spChg>
        <pc:spChg chg="add del mod modVis">
          <ac:chgData name="Muchahary, Frankle" userId="0f2bf491-0617-4378-90b8-89af8fa381b9" providerId="ADAL" clId="{90877F19-00D2-4A00-8128-E78E36266C9A}" dt="2023-11-06T07:06:08.656" v="155952"/>
          <ac:spMkLst>
            <pc:docMk/>
            <pc:sldMk cId="3541548231" sldId="390"/>
            <ac:spMk id="26" creationId="{B2E1E385-A7D8-1EB0-08E3-2675F582B35E}"/>
          </ac:spMkLst>
        </pc:spChg>
        <pc:spChg chg="add del mod modVis">
          <ac:chgData name="Muchahary, Frankle" userId="0f2bf491-0617-4378-90b8-89af8fa381b9" providerId="ADAL" clId="{90877F19-00D2-4A00-8128-E78E36266C9A}" dt="2023-11-06T07:06:12.732" v="156086"/>
          <ac:spMkLst>
            <pc:docMk/>
            <pc:sldMk cId="3541548231" sldId="390"/>
            <ac:spMk id="28" creationId="{5C5F79C8-BC0F-FAE2-DE5F-99E67DDFBE7A}"/>
          </ac:spMkLst>
        </pc:spChg>
        <pc:spChg chg="add del mod modVis">
          <ac:chgData name="Muchahary, Frankle" userId="0f2bf491-0617-4378-90b8-89af8fa381b9" providerId="ADAL" clId="{90877F19-00D2-4A00-8128-E78E36266C9A}" dt="2023-11-06T07:06:31.033" v="156179"/>
          <ac:spMkLst>
            <pc:docMk/>
            <pc:sldMk cId="3541548231" sldId="390"/>
            <ac:spMk id="30" creationId="{17DD566D-1869-F982-FEE7-2D6A0472A59F}"/>
          </ac:spMkLst>
        </pc:spChg>
        <pc:spChg chg="add del mod modVis">
          <ac:chgData name="Muchahary, Frankle" userId="0f2bf491-0617-4378-90b8-89af8fa381b9" providerId="ADAL" clId="{90877F19-00D2-4A00-8128-E78E36266C9A}" dt="2023-11-06T07:06:32.351" v="156274"/>
          <ac:spMkLst>
            <pc:docMk/>
            <pc:sldMk cId="3541548231" sldId="390"/>
            <ac:spMk id="32" creationId="{BCC7CF53-E217-0E2C-0174-4CCE556D5273}"/>
          </ac:spMkLst>
        </pc:spChg>
        <pc:spChg chg="add del mod modVis">
          <ac:chgData name="Muchahary, Frankle" userId="0f2bf491-0617-4378-90b8-89af8fa381b9" providerId="ADAL" clId="{90877F19-00D2-4A00-8128-E78E36266C9A}" dt="2023-11-06T07:06:35.276" v="156367"/>
          <ac:spMkLst>
            <pc:docMk/>
            <pc:sldMk cId="3541548231" sldId="390"/>
            <ac:spMk id="34" creationId="{95CA65E4-2979-6BF4-F0AD-36C3283781FE}"/>
          </ac:spMkLst>
        </pc:spChg>
        <pc:spChg chg="add del mod modVis">
          <ac:chgData name="Muchahary, Frankle" userId="0f2bf491-0617-4378-90b8-89af8fa381b9" providerId="ADAL" clId="{90877F19-00D2-4A00-8128-E78E36266C9A}" dt="2023-11-06T07:06:36.238" v="156472"/>
          <ac:spMkLst>
            <pc:docMk/>
            <pc:sldMk cId="3541548231" sldId="390"/>
            <ac:spMk id="36" creationId="{6BA46866-D0A1-D6CC-6BC3-5D79D06519CF}"/>
          </ac:spMkLst>
        </pc:spChg>
        <pc:spChg chg="add del mod modVis">
          <ac:chgData name="Muchahary, Frankle" userId="0f2bf491-0617-4378-90b8-89af8fa381b9" providerId="ADAL" clId="{90877F19-00D2-4A00-8128-E78E36266C9A}" dt="2023-11-06T07:06:39.092" v="156562"/>
          <ac:spMkLst>
            <pc:docMk/>
            <pc:sldMk cId="3541548231" sldId="390"/>
            <ac:spMk id="38" creationId="{E5CC3461-0AC0-A4A8-9A52-3C42F7B787F9}"/>
          </ac:spMkLst>
        </pc:spChg>
        <pc:spChg chg="add del mod modVis">
          <ac:chgData name="Muchahary, Frankle" userId="0f2bf491-0617-4378-90b8-89af8fa381b9" providerId="ADAL" clId="{90877F19-00D2-4A00-8128-E78E36266C9A}" dt="2023-11-06T07:06:43.497" v="156650"/>
          <ac:spMkLst>
            <pc:docMk/>
            <pc:sldMk cId="3541548231" sldId="390"/>
            <ac:spMk id="40" creationId="{6D037A8A-4430-60FB-A2B6-7ADEC8B8AE8C}"/>
          </ac:spMkLst>
        </pc:spChg>
        <pc:spChg chg="add del mod modVis">
          <ac:chgData name="Muchahary, Frankle" userId="0f2bf491-0617-4378-90b8-89af8fa381b9" providerId="ADAL" clId="{90877F19-00D2-4A00-8128-E78E36266C9A}" dt="2023-11-06T07:06:58.657" v="156732"/>
          <ac:spMkLst>
            <pc:docMk/>
            <pc:sldMk cId="3541548231" sldId="390"/>
            <ac:spMk id="42" creationId="{F7A1724B-D38E-E90B-1102-F7316198CF3F}"/>
          </ac:spMkLst>
        </pc:spChg>
        <pc:spChg chg="add del mod modVis">
          <ac:chgData name="Muchahary, Frankle" userId="0f2bf491-0617-4378-90b8-89af8fa381b9" providerId="ADAL" clId="{90877F19-00D2-4A00-8128-E78E36266C9A}" dt="2023-11-06T07:07:01.236" v="156814"/>
          <ac:spMkLst>
            <pc:docMk/>
            <pc:sldMk cId="3541548231" sldId="390"/>
            <ac:spMk id="44" creationId="{F1815C8A-BD19-9E6B-941B-9E02E7656249}"/>
          </ac:spMkLst>
        </pc:spChg>
        <pc:spChg chg="add del mod modVis">
          <ac:chgData name="Muchahary, Frankle" userId="0f2bf491-0617-4378-90b8-89af8fa381b9" providerId="ADAL" clId="{90877F19-00D2-4A00-8128-E78E36266C9A}" dt="2023-11-06T07:07:55.028" v="157178"/>
          <ac:spMkLst>
            <pc:docMk/>
            <pc:sldMk cId="3541548231" sldId="390"/>
            <ac:spMk id="50" creationId="{A60EEBE3-143A-6312-63E3-F10BFB2C7AFD}"/>
          </ac:spMkLst>
        </pc:spChg>
        <pc:spChg chg="del">
          <ac:chgData name="Muchahary, Frankle" userId="0f2bf491-0617-4378-90b8-89af8fa381b9" providerId="ADAL" clId="{90877F19-00D2-4A00-8128-E78E36266C9A}" dt="2023-11-06T07:05:41.608" v="154914"/>
          <ac:spMkLst>
            <pc:docMk/>
            <pc:sldMk cId="3541548231" sldId="390"/>
            <ac:spMk id="76" creationId="{C05BE20A-F731-DA30-86F2-15F824006E80}"/>
          </ac:spMkLst>
        </pc:spChg>
        <pc:spChg chg="del">
          <ac:chgData name="Muchahary, Frankle" userId="0f2bf491-0617-4378-90b8-89af8fa381b9" providerId="ADAL" clId="{90877F19-00D2-4A00-8128-E78E36266C9A}" dt="2023-11-06T07:05:41.607" v="154912"/>
          <ac:spMkLst>
            <pc:docMk/>
            <pc:sldMk cId="3541548231" sldId="390"/>
            <ac:spMk id="78" creationId="{5ED211F4-E3B3-CF85-3730-5923FE57A3B7}"/>
          </ac:spMkLst>
        </pc:spChg>
        <pc:spChg chg="del">
          <ac:chgData name="Muchahary, Frankle" userId="0f2bf491-0617-4378-90b8-89af8fa381b9" providerId="ADAL" clId="{90877F19-00D2-4A00-8128-E78E36266C9A}" dt="2023-11-06T07:05:41.606" v="154910"/>
          <ac:spMkLst>
            <pc:docMk/>
            <pc:sldMk cId="3541548231" sldId="390"/>
            <ac:spMk id="79" creationId="{64AC2E82-B1C8-40A8-1096-9834D931467F}"/>
          </ac:spMkLst>
        </pc:spChg>
        <pc:spChg chg="del">
          <ac:chgData name="Muchahary, Frankle" userId="0f2bf491-0617-4378-90b8-89af8fa381b9" providerId="ADAL" clId="{90877F19-00D2-4A00-8128-E78E36266C9A}" dt="2023-11-06T07:05:41.607" v="154913"/>
          <ac:spMkLst>
            <pc:docMk/>
            <pc:sldMk cId="3541548231" sldId="390"/>
            <ac:spMk id="83" creationId="{C8DB2FF8-26DD-51F7-1E48-4D16871BDC75}"/>
          </ac:spMkLst>
        </pc:spChg>
        <pc:spChg chg="del">
          <ac:chgData name="Muchahary, Frankle" userId="0f2bf491-0617-4378-90b8-89af8fa381b9" providerId="ADAL" clId="{90877F19-00D2-4A00-8128-E78E36266C9A}" dt="2023-11-06T07:05:41.606" v="154911"/>
          <ac:spMkLst>
            <pc:docMk/>
            <pc:sldMk cId="3541548231" sldId="390"/>
            <ac:spMk id="84" creationId="{7709E3D4-133F-7E78-C555-378F3FFD7837}"/>
          </ac:spMkLst>
        </pc:spChg>
        <pc:spChg chg="del">
          <ac:chgData name="Muchahary, Frankle" userId="0f2bf491-0617-4378-90b8-89af8fa381b9" providerId="ADAL" clId="{90877F19-00D2-4A00-8128-E78E36266C9A}" dt="2023-11-06T07:05:41.604" v="154907"/>
          <ac:spMkLst>
            <pc:docMk/>
            <pc:sldMk cId="3541548231" sldId="390"/>
            <ac:spMk id="87" creationId="{7C6B60C7-AF75-51AB-27D3-98831251B6BB}"/>
          </ac:spMkLst>
        </pc:spChg>
        <pc:spChg chg="del">
          <ac:chgData name="Muchahary, Frankle" userId="0f2bf491-0617-4378-90b8-89af8fa381b9" providerId="ADAL" clId="{90877F19-00D2-4A00-8128-E78E36266C9A}" dt="2023-11-06T07:05:41.603" v="154904"/>
          <ac:spMkLst>
            <pc:docMk/>
            <pc:sldMk cId="3541548231" sldId="390"/>
            <ac:spMk id="90" creationId="{B2C46E14-A231-B2F9-57D0-855BDF06D7B8}"/>
          </ac:spMkLst>
        </pc:spChg>
        <pc:spChg chg="del">
          <ac:chgData name="Muchahary, Frankle" userId="0f2bf491-0617-4378-90b8-89af8fa381b9" providerId="ADAL" clId="{90877F19-00D2-4A00-8128-E78E36266C9A}" dt="2023-11-06T07:05:41.602" v="154901"/>
          <ac:spMkLst>
            <pc:docMk/>
            <pc:sldMk cId="3541548231" sldId="390"/>
            <ac:spMk id="93" creationId="{DBC6256E-A008-B706-5458-1C7F3AE962E5}"/>
          </ac:spMkLst>
        </pc:spChg>
        <pc:spChg chg="del">
          <ac:chgData name="Muchahary, Frankle" userId="0f2bf491-0617-4378-90b8-89af8fa381b9" providerId="ADAL" clId="{90877F19-00D2-4A00-8128-E78E36266C9A}" dt="2023-11-06T07:05:41.600" v="154898"/>
          <ac:spMkLst>
            <pc:docMk/>
            <pc:sldMk cId="3541548231" sldId="390"/>
            <ac:spMk id="96" creationId="{5E28CCB4-F12C-BB3D-61C6-747BB80A4522}"/>
          </ac:spMkLst>
        </pc:spChg>
        <pc:spChg chg="del">
          <ac:chgData name="Muchahary, Frankle" userId="0f2bf491-0617-4378-90b8-89af8fa381b9" providerId="ADAL" clId="{90877F19-00D2-4A00-8128-E78E36266C9A}" dt="2023-11-06T07:05:41.599" v="154895"/>
          <ac:spMkLst>
            <pc:docMk/>
            <pc:sldMk cId="3541548231" sldId="390"/>
            <ac:spMk id="99" creationId="{44B1D554-907A-C482-6EE0-E31BACE76EB2}"/>
          </ac:spMkLst>
        </pc:spChg>
        <pc:spChg chg="del">
          <ac:chgData name="Muchahary, Frankle" userId="0f2bf491-0617-4378-90b8-89af8fa381b9" providerId="ADAL" clId="{90877F19-00D2-4A00-8128-E78E36266C9A}" dt="2023-11-06T07:05:41.597" v="154892"/>
          <ac:spMkLst>
            <pc:docMk/>
            <pc:sldMk cId="3541548231" sldId="390"/>
            <ac:spMk id="102" creationId="{2B42771B-89F4-8DAE-BE9F-772075F007F2}"/>
          </ac:spMkLst>
        </pc:spChg>
        <pc:spChg chg="del">
          <ac:chgData name="Muchahary, Frankle" userId="0f2bf491-0617-4378-90b8-89af8fa381b9" providerId="ADAL" clId="{90877F19-00D2-4A00-8128-E78E36266C9A}" dt="2023-11-06T07:05:41.605" v="154909"/>
          <ac:spMkLst>
            <pc:docMk/>
            <pc:sldMk cId="3541548231" sldId="390"/>
            <ac:spMk id="211" creationId="{FD5192EA-19D5-554A-4F75-C4AD369F84A4}"/>
          </ac:spMkLst>
        </pc:spChg>
        <pc:spChg chg="del">
          <ac:chgData name="Muchahary, Frankle" userId="0f2bf491-0617-4378-90b8-89af8fa381b9" providerId="ADAL" clId="{90877F19-00D2-4A00-8128-E78E36266C9A}" dt="2023-11-06T07:05:41.605" v="154908"/>
          <ac:spMkLst>
            <pc:docMk/>
            <pc:sldMk cId="3541548231" sldId="390"/>
            <ac:spMk id="212" creationId="{5BE28F67-1B28-1D94-F4EB-2871A388AFF9}"/>
          </ac:spMkLst>
        </pc:spChg>
        <pc:spChg chg="del">
          <ac:chgData name="Muchahary, Frankle" userId="0f2bf491-0617-4378-90b8-89af8fa381b9" providerId="ADAL" clId="{90877F19-00D2-4A00-8128-E78E36266C9A}" dt="2023-11-06T07:05:41.604" v="154906"/>
          <ac:spMkLst>
            <pc:docMk/>
            <pc:sldMk cId="3541548231" sldId="390"/>
            <ac:spMk id="213" creationId="{AAC97D4C-690A-E770-517E-430EA4C359CF}"/>
          </ac:spMkLst>
        </pc:spChg>
        <pc:spChg chg="del">
          <ac:chgData name="Muchahary, Frankle" userId="0f2bf491-0617-4378-90b8-89af8fa381b9" providerId="ADAL" clId="{90877F19-00D2-4A00-8128-E78E36266C9A}" dt="2023-11-06T07:05:41.603" v="154905"/>
          <ac:spMkLst>
            <pc:docMk/>
            <pc:sldMk cId="3541548231" sldId="390"/>
            <ac:spMk id="214" creationId="{3C085518-8DFB-980E-F2CE-28A90C02097F}"/>
          </ac:spMkLst>
        </pc:spChg>
        <pc:spChg chg="del">
          <ac:chgData name="Muchahary, Frankle" userId="0f2bf491-0617-4378-90b8-89af8fa381b9" providerId="ADAL" clId="{90877F19-00D2-4A00-8128-E78E36266C9A}" dt="2023-11-06T07:05:41.602" v="154903"/>
          <ac:spMkLst>
            <pc:docMk/>
            <pc:sldMk cId="3541548231" sldId="390"/>
            <ac:spMk id="215" creationId="{1BF866DB-435A-0BC0-862E-938F94DCBED8}"/>
          </ac:spMkLst>
        </pc:spChg>
        <pc:spChg chg="del">
          <ac:chgData name="Muchahary, Frankle" userId="0f2bf491-0617-4378-90b8-89af8fa381b9" providerId="ADAL" clId="{90877F19-00D2-4A00-8128-E78E36266C9A}" dt="2023-11-06T07:05:41.602" v="154902"/>
          <ac:spMkLst>
            <pc:docMk/>
            <pc:sldMk cId="3541548231" sldId="390"/>
            <ac:spMk id="216" creationId="{AC7E2827-1863-E71E-30AC-EB744B03DE6C}"/>
          </ac:spMkLst>
        </pc:spChg>
        <pc:spChg chg="del">
          <ac:chgData name="Muchahary, Frankle" userId="0f2bf491-0617-4378-90b8-89af8fa381b9" providerId="ADAL" clId="{90877F19-00D2-4A00-8128-E78E36266C9A}" dt="2023-11-06T07:05:41.601" v="154900"/>
          <ac:spMkLst>
            <pc:docMk/>
            <pc:sldMk cId="3541548231" sldId="390"/>
            <ac:spMk id="217" creationId="{C246FC45-4A33-4E4E-C41A-D796A04331D7}"/>
          </ac:spMkLst>
        </pc:spChg>
        <pc:spChg chg="del">
          <ac:chgData name="Muchahary, Frankle" userId="0f2bf491-0617-4378-90b8-89af8fa381b9" providerId="ADAL" clId="{90877F19-00D2-4A00-8128-E78E36266C9A}" dt="2023-11-06T07:05:41.601" v="154899"/>
          <ac:spMkLst>
            <pc:docMk/>
            <pc:sldMk cId="3541548231" sldId="390"/>
            <ac:spMk id="218" creationId="{9DCAE952-9B18-3D8A-4525-B9DEF43D8F97}"/>
          </ac:spMkLst>
        </pc:spChg>
        <pc:spChg chg="del">
          <ac:chgData name="Muchahary, Frankle" userId="0f2bf491-0617-4378-90b8-89af8fa381b9" providerId="ADAL" clId="{90877F19-00D2-4A00-8128-E78E36266C9A}" dt="2023-11-06T07:05:41.600" v="154897"/>
          <ac:spMkLst>
            <pc:docMk/>
            <pc:sldMk cId="3541548231" sldId="390"/>
            <ac:spMk id="219" creationId="{B32EA27E-440D-3AFA-C735-2862E90CBA6A}"/>
          </ac:spMkLst>
        </pc:spChg>
        <pc:spChg chg="del">
          <ac:chgData name="Muchahary, Frankle" userId="0f2bf491-0617-4378-90b8-89af8fa381b9" providerId="ADAL" clId="{90877F19-00D2-4A00-8128-E78E36266C9A}" dt="2023-11-06T07:05:41.599" v="154896"/>
          <ac:spMkLst>
            <pc:docMk/>
            <pc:sldMk cId="3541548231" sldId="390"/>
            <ac:spMk id="220" creationId="{571F7EDB-A480-2131-E714-A5B0C963E3D6}"/>
          </ac:spMkLst>
        </pc:spChg>
        <pc:spChg chg="del">
          <ac:chgData name="Muchahary, Frankle" userId="0f2bf491-0617-4378-90b8-89af8fa381b9" providerId="ADAL" clId="{90877F19-00D2-4A00-8128-E78E36266C9A}" dt="2023-11-06T07:05:41.598" v="154894"/>
          <ac:spMkLst>
            <pc:docMk/>
            <pc:sldMk cId="3541548231" sldId="390"/>
            <ac:spMk id="221" creationId="{9A57B91D-6203-72D0-8E87-738E9AE560A6}"/>
          </ac:spMkLst>
        </pc:spChg>
        <pc:spChg chg="del">
          <ac:chgData name="Muchahary, Frankle" userId="0f2bf491-0617-4378-90b8-89af8fa381b9" providerId="ADAL" clId="{90877F19-00D2-4A00-8128-E78E36266C9A}" dt="2023-11-06T07:05:41.598" v="154893"/>
          <ac:spMkLst>
            <pc:docMk/>
            <pc:sldMk cId="3541548231" sldId="390"/>
            <ac:spMk id="222" creationId="{276113E9-B471-2A31-8935-C0AD4FB604C4}"/>
          </ac:spMkLst>
        </pc:spChg>
        <pc:spChg chg="del">
          <ac:chgData name="Muchahary, Frankle" userId="0f2bf491-0617-4378-90b8-89af8fa381b9" providerId="ADAL" clId="{90877F19-00D2-4A00-8128-E78E36266C9A}" dt="2023-11-06T07:05:41.597" v="154891"/>
          <ac:spMkLst>
            <pc:docMk/>
            <pc:sldMk cId="3541548231" sldId="390"/>
            <ac:spMk id="223" creationId="{5D284A1C-D305-04DC-A34A-831A6E46D2D5}"/>
          </ac:spMkLst>
        </pc:spChg>
        <pc:spChg chg="del">
          <ac:chgData name="Muchahary, Frankle" userId="0f2bf491-0617-4378-90b8-89af8fa381b9" providerId="ADAL" clId="{90877F19-00D2-4A00-8128-E78E36266C9A}" dt="2023-11-06T07:05:41.596" v="154890"/>
          <ac:spMkLst>
            <pc:docMk/>
            <pc:sldMk cId="3541548231" sldId="390"/>
            <ac:spMk id="224" creationId="{DBD1CE1B-C9E8-ABD3-D147-7B634782B230}"/>
          </ac:spMkLst>
        </pc:spChg>
        <pc:spChg chg="del mod ord">
          <ac:chgData name="Muchahary, Frankle" userId="0f2bf491-0617-4378-90b8-89af8fa381b9" providerId="ADAL" clId="{90877F19-00D2-4A00-8128-E78E36266C9A}" dt="2023-11-06T07:07:22.502" v="157024" actId="478"/>
          <ac:spMkLst>
            <pc:docMk/>
            <pc:sldMk cId="3541548231" sldId="390"/>
            <ac:spMk id="481" creationId="{1FDE6CB3-2EE5-97F7-5A8B-21FEA68C093C}"/>
          </ac:spMkLst>
        </pc:spChg>
        <pc:spChg chg="mod ord">
          <ac:chgData name="Muchahary, Frankle" userId="0f2bf491-0617-4378-90b8-89af8fa381b9" providerId="ADAL" clId="{90877F19-00D2-4A00-8128-E78E36266C9A}" dt="2023-11-06T07:10:16.476" v="157403"/>
          <ac:spMkLst>
            <pc:docMk/>
            <pc:sldMk cId="3541548231" sldId="390"/>
            <ac:spMk id="485" creationId="{9919C743-B9CA-D2D5-767A-F02BFF6150B4}"/>
          </ac:spMkLst>
        </pc:spChg>
        <pc:graphicFrameChg chg="del">
          <ac:chgData name="Muchahary, Frankle" userId="0f2bf491-0617-4378-90b8-89af8fa381b9" providerId="ADAL" clId="{90877F19-00D2-4A00-8128-E78E36266C9A}" dt="2023-11-06T07:05:41.610" v="154916"/>
          <ac:graphicFrameMkLst>
            <pc:docMk/>
            <pc:sldMk cId="3541548231" sldId="390"/>
            <ac:graphicFrameMk id="4" creationId="{E17B4AF0-ABEC-A710-8427-8377C2A1A633}"/>
          </ac:graphicFrameMkLst>
        </pc:graphicFrameChg>
        <pc:graphicFrameChg chg="mod">
          <ac:chgData name="Muchahary, Frankle" userId="0f2bf491-0617-4378-90b8-89af8fa381b9" providerId="ADAL" clId="{90877F19-00D2-4A00-8128-E78E36266C9A}" dt="2023-11-06T07:15:37.244" v="157422"/>
          <ac:graphicFrameMkLst>
            <pc:docMk/>
            <pc:sldMk cId="3541548231" sldId="390"/>
            <ac:graphicFrameMk id="9" creationId="{5DE7E905-5EDA-8429-DE11-43E8EDD3180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01.154" v="155734"/>
          <ac:graphicFrameMkLst>
            <pc:docMk/>
            <pc:sldMk cId="3541548231" sldId="390"/>
            <ac:graphicFrameMk id="19" creationId="{DD3EA92F-AF1E-EC86-274B-EBE0F35EC0B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06.785" v="155823"/>
          <ac:graphicFrameMkLst>
            <pc:docMk/>
            <pc:sldMk cId="3541548231" sldId="390"/>
            <ac:graphicFrameMk id="21" creationId="{17CCCEF2-6FD7-63DB-1F9F-2AE91244B4B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08.606" v="155914"/>
          <ac:graphicFrameMkLst>
            <pc:docMk/>
            <pc:sldMk cId="3541548231" sldId="390"/>
            <ac:graphicFrameMk id="24" creationId="{C242E9E3-8C42-00DF-0862-805643F4A00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12.687" v="156049"/>
          <ac:graphicFrameMkLst>
            <pc:docMk/>
            <pc:sldMk cId="3541548231" sldId="390"/>
            <ac:graphicFrameMk id="27" creationId="{E4E8C921-916F-F367-1591-AED92085FA8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30.995" v="156142"/>
          <ac:graphicFrameMkLst>
            <pc:docMk/>
            <pc:sldMk cId="3541548231" sldId="390"/>
            <ac:graphicFrameMk id="29" creationId="{975976AB-7CE8-A46C-DF96-F8ADA7480C4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32.313" v="156237"/>
          <ac:graphicFrameMkLst>
            <pc:docMk/>
            <pc:sldMk cId="3541548231" sldId="390"/>
            <ac:graphicFrameMk id="31" creationId="{693D723E-6A13-7982-444D-14C8AE6EF7C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35.237" v="156330"/>
          <ac:graphicFrameMkLst>
            <pc:docMk/>
            <pc:sldMk cId="3541548231" sldId="390"/>
            <ac:graphicFrameMk id="33" creationId="{7FACA460-EF30-79B4-07FB-F2D993CC449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36.198" v="156437"/>
          <ac:graphicFrameMkLst>
            <pc:docMk/>
            <pc:sldMk cId="3541548231" sldId="390"/>
            <ac:graphicFrameMk id="35" creationId="{ED401047-44B4-761E-4892-E64979BA5C80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39.055" v="156527"/>
          <ac:graphicFrameMkLst>
            <pc:docMk/>
            <pc:sldMk cId="3541548231" sldId="390"/>
            <ac:graphicFrameMk id="37" creationId="{F61A2952-F71D-3B98-C677-38E0768DE641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43.454" v="156615"/>
          <ac:graphicFrameMkLst>
            <pc:docMk/>
            <pc:sldMk cId="3541548231" sldId="390"/>
            <ac:graphicFrameMk id="39" creationId="{F8CC2363-9A9C-FAB7-A1A2-9C3BA8D363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6:58.623" v="156697"/>
          <ac:graphicFrameMkLst>
            <pc:docMk/>
            <pc:sldMk cId="3541548231" sldId="390"/>
            <ac:graphicFrameMk id="41" creationId="{B15FF912-D93E-698D-7B7C-30968EC0DBF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01.191" v="156779"/>
          <ac:graphicFrameMkLst>
            <pc:docMk/>
            <pc:sldMk cId="3541548231" sldId="390"/>
            <ac:graphicFrameMk id="43" creationId="{705C6ABC-76C9-8607-9ACD-79577E7A81EC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06.912" v="156849"/>
          <ac:graphicFrameMkLst>
            <pc:docMk/>
            <pc:sldMk cId="3541548231" sldId="390"/>
            <ac:graphicFrameMk id="45" creationId="{0CADFEF7-54DB-4174-001D-B751037A4FED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10.914" v="156917"/>
          <ac:graphicFrameMkLst>
            <pc:docMk/>
            <pc:sldMk cId="3541548231" sldId="390"/>
            <ac:graphicFrameMk id="46" creationId="{C8E8CB01-9385-C653-AD75-2A0B07DF0EE8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12.515" v="156985"/>
          <ac:graphicFrameMkLst>
            <pc:docMk/>
            <pc:sldMk cId="3541548231" sldId="390"/>
            <ac:graphicFrameMk id="47" creationId="{79C8A8F2-1AF5-2935-6B2D-E0DA97BBA283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32.955" v="157083"/>
          <ac:graphicFrameMkLst>
            <pc:docMk/>
            <pc:sldMk cId="3541548231" sldId="390"/>
            <ac:graphicFrameMk id="48" creationId="{3C081260-B56F-79C2-3B9E-143C387CB465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7:54.989" v="157153"/>
          <ac:graphicFrameMkLst>
            <pc:docMk/>
            <pc:sldMk cId="3541548231" sldId="390"/>
            <ac:graphicFrameMk id="49" creationId="{E9F937D1-1CD9-CEF4-CA72-D64878BD1B24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8:00.662" v="157235"/>
          <ac:graphicFrameMkLst>
            <pc:docMk/>
            <pc:sldMk cId="3541548231" sldId="390"/>
            <ac:graphicFrameMk id="51" creationId="{6109A336-13F3-D91D-7D11-185F21D49AB2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08:40.750" v="157315"/>
          <ac:graphicFrameMkLst>
            <pc:docMk/>
            <pc:sldMk cId="3541548231" sldId="390"/>
            <ac:graphicFrameMk id="52" creationId="{757ED4A6-D8CC-EDDB-AD45-11A212F3A307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6T07:10:16.454" v="157395"/>
          <ac:graphicFrameMkLst>
            <pc:docMk/>
            <pc:sldMk cId="3541548231" sldId="390"/>
            <ac:graphicFrameMk id="53" creationId="{D5F2BAEA-B1E6-6523-7CCF-E966963A031E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6T07:10:16.477" v="157405"/>
          <ac:graphicFrameMkLst>
            <pc:docMk/>
            <pc:sldMk cId="3541548231" sldId="390"/>
            <ac:graphicFrameMk id="54" creationId="{CB936A00-027A-F2E9-A8E4-9E7C47FBD96C}"/>
          </ac:graphicFrameMkLst>
        </pc:graphicFrameChg>
        <pc:graphicFrameChg chg="del mod ord">
          <ac:chgData name="Muchahary, Frankle" userId="0f2bf491-0617-4378-90b8-89af8fa381b9" providerId="ADAL" clId="{90877F19-00D2-4A00-8128-E78E36266C9A}" dt="2023-11-06T07:07:27.417" v="157026" actId="478"/>
          <ac:graphicFrameMkLst>
            <pc:docMk/>
            <pc:sldMk cId="3541548231" sldId="390"/>
            <ac:graphicFrameMk id="459" creationId="{A4A1DB1E-5439-4444-C760-1050438CD2A1}"/>
          </ac:graphicFrameMkLst>
        </pc:graphicFrameChg>
        <pc:cxnChg chg="add mod ord replST">
          <ac:chgData name="Muchahary, Frankle" userId="0f2bf491-0617-4378-90b8-89af8fa381b9" providerId="ADAL" clId="{90877F19-00D2-4A00-8128-E78E36266C9A}" dt="2023-11-06T07:10:16.478" v="157407"/>
          <ac:cxnSpMkLst>
            <pc:docMk/>
            <pc:sldMk cId="3541548231" sldId="390"/>
            <ac:cxnSpMk id="18" creationId="{06627C4E-CDA8-776B-9CA1-15A0310CFCEB}"/>
          </ac:cxnSpMkLst>
        </pc:cxnChg>
        <pc:cxnChg chg="del mod ord">
          <ac:chgData name="Muchahary, Frankle" userId="0f2bf491-0617-4378-90b8-89af8fa381b9" providerId="ADAL" clId="{90877F19-00D2-4A00-8128-E78E36266C9A}" dt="2023-11-06T07:07:21.524" v="157023" actId="478"/>
          <ac:cxnSpMkLst>
            <pc:docMk/>
            <pc:sldMk cId="3541548231" sldId="390"/>
            <ac:cxnSpMk id="479" creationId="{354FF9F7-A32B-1D38-5975-E3B3519996D3}"/>
          </ac:cxnSpMkLst>
        </pc:cxnChg>
      </pc:sldChg>
      <pc:sldChg chg="add del">
        <pc:chgData name="Muchahary, Frankle" userId="0f2bf491-0617-4378-90b8-89af8fa381b9" providerId="ADAL" clId="{90877F19-00D2-4A00-8128-E78E36266C9A}" dt="2023-11-08T05:48:50.487" v="163057" actId="47"/>
        <pc:sldMkLst>
          <pc:docMk/>
          <pc:sldMk cId="1742603404" sldId="391"/>
        </pc:sldMkLst>
      </pc:sldChg>
      <pc:sldChg chg="addSp delSp modSp mod">
        <pc:chgData name="Muchahary, Frankle" userId="0f2bf491-0617-4378-90b8-89af8fa381b9" providerId="ADAL" clId="{90877F19-00D2-4A00-8128-E78E36266C9A}" dt="2023-11-08T06:20:26.250" v="165139" actId="20577"/>
        <pc:sldMkLst>
          <pc:docMk/>
          <pc:sldMk cId="425422822" sldId="393"/>
        </pc:sldMkLst>
        <pc:spChg chg="mod ord">
          <ac:chgData name="Muchahary, Frankle" userId="0f2bf491-0617-4378-90b8-89af8fa381b9" providerId="ADAL" clId="{90877F19-00D2-4A00-8128-E78E36266C9A}" dt="2023-11-08T06:19:22.976" v="165062"/>
          <ac:spMkLst>
            <pc:docMk/>
            <pc:sldMk cId="425422822" sldId="393"/>
            <ac:spMk id="2" creationId="{4A6DA5AA-60C2-F3FF-5C33-0DCE8903522C}"/>
          </ac:spMkLst>
        </pc:spChg>
        <pc:spChg chg="mod">
          <ac:chgData name="Muchahary, Frankle" userId="0f2bf491-0617-4378-90b8-89af8fa381b9" providerId="ADAL" clId="{90877F19-00D2-4A00-8128-E78E36266C9A}" dt="2023-11-08T06:19:22.969" v="165044"/>
          <ac:spMkLst>
            <pc:docMk/>
            <pc:sldMk cId="425422822" sldId="393"/>
            <ac:spMk id="3" creationId="{F374ACBD-0572-3FDE-4699-40F60C0314C5}"/>
          </ac:spMkLst>
        </pc:spChg>
        <pc:spChg chg="mod">
          <ac:chgData name="Muchahary, Frankle" userId="0f2bf491-0617-4378-90b8-89af8fa381b9" providerId="ADAL" clId="{90877F19-00D2-4A00-8128-E78E36266C9A}" dt="2023-11-08T06:19:22.969" v="165045"/>
          <ac:spMkLst>
            <pc:docMk/>
            <pc:sldMk cId="425422822" sldId="393"/>
            <ac:spMk id="4" creationId="{D384D5E8-6A39-8050-F562-5A1AFEE8380B}"/>
          </ac:spMkLst>
        </pc:spChg>
        <pc:spChg chg="mod">
          <ac:chgData name="Muchahary, Frankle" userId="0f2bf491-0617-4378-90b8-89af8fa381b9" providerId="ADAL" clId="{90877F19-00D2-4A00-8128-E78E36266C9A}" dt="2023-11-08T06:19:22.969" v="165046"/>
          <ac:spMkLst>
            <pc:docMk/>
            <pc:sldMk cId="425422822" sldId="393"/>
            <ac:spMk id="5" creationId="{AC93CB86-B8A5-2AFD-AA55-29A29CFF9B1B}"/>
          </ac:spMkLst>
        </pc:spChg>
        <pc:spChg chg="mod">
          <ac:chgData name="Muchahary, Frankle" userId="0f2bf491-0617-4378-90b8-89af8fa381b9" providerId="ADAL" clId="{90877F19-00D2-4A00-8128-E78E36266C9A}" dt="2023-11-08T06:19:22.970" v="165047"/>
          <ac:spMkLst>
            <pc:docMk/>
            <pc:sldMk cId="425422822" sldId="393"/>
            <ac:spMk id="6" creationId="{CFC1E8B0-02BF-5A85-23B2-31E8FBE9ABD8}"/>
          </ac:spMkLst>
        </pc:spChg>
        <pc:spChg chg="mod">
          <ac:chgData name="Muchahary, Frankle" userId="0f2bf491-0617-4378-90b8-89af8fa381b9" providerId="ADAL" clId="{90877F19-00D2-4A00-8128-E78E36266C9A}" dt="2023-11-08T06:19:22.970" v="165048"/>
          <ac:spMkLst>
            <pc:docMk/>
            <pc:sldMk cId="425422822" sldId="393"/>
            <ac:spMk id="7" creationId="{783BF5C5-DB97-91A6-F151-392796E36977}"/>
          </ac:spMkLst>
        </pc:spChg>
        <pc:spChg chg="mod ord">
          <ac:chgData name="Muchahary, Frankle" userId="0f2bf491-0617-4378-90b8-89af8fa381b9" providerId="ADAL" clId="{90877F19-00D2-4A00-8128-E78E36266C9A}" dt="2023-11-08T06:20:26.250" v="165139" actId="20577"/>
          <ac:spMkLst>
            <pc:docMk/>
            <pc:sldMk cId="425422822" sldId="393"/>
            <ac:spMk id="8" creationId="{8A147557-6FFF-4491-6388-E1353D02140A}"/>
          </ac:spMkLst>
        </pc:spChg>
        <pc:spChg chg="mod">
          <ac:chgData name="Muchahary, Frankle" userId="0f2bf491-0617-4378-90b8-89af8fa381b9" providerId="ADAL" clId="{90877F19-00D2-4A00-8128-E78E36266C9A}" dt="2023-11-08T06:19:22.971" v="165049"/>
          <ac:spMkLst>
            <pc:docMk/>
            <pc:sldMk cId="425422822" sldId="393"/>
            <ac:spMk id="9" creationId="{5ADDACF3-5CFF-7125-1E7F-981BF97913B5}"/>
          </ac:spMkLst>
        </pc:spChg>
        <pc:spChg chg="mod">
          <ac:chgData name="Muchahary, Frankle" userId="0f2bf491-0617-4378-90b8-89af8fa381b9" providerId="ADAL" clId="{90877F19-00D2-4A00-8128-E78E36266C9A}" dt="2023-11-08T06:19:22.971" v="165050"/>
          <ac:spMkLst>
            <pc:docMk/>
            <pc:sldMk cId="425422822" sldId="393"/>
            <ac:spMk id="10" creationId="{E8842412-73A3-99CB-C2C4-2E801D3B0383}"/>
          </ac:spMkLst>
        </pc:spChg>
        <pc:spChg chg="add del mod modVis">
          <ac:chgData name="Muchahary, Frankle" userId="0f2bf491-0617-4378-90b8-89af8fa381b9" providerId="ADAL" clId="{90877F19-00D2-4A00-8128-E78E36266C9A}" dt="2023-11-08T06:19:12.718" v="164803"/>
          <ac:spMkLst>
            <pc:docMk/>
            <pc:sldMk cId="425422822" sldId="393"/>
            <ac:spMk id="11" creationId="{885B4A2D-7E9B-B96F-90E8-301E8199F597}"/>
          </ac:spMkLst>
        </pc:spChg>
        <pc:spChg chg="mod">
          <ac:chgData name="Muchahary, Frankle" userId="0f2bf491-0617-4378-90b8-89af8fa381b9" providerId="ADAL" clId="{90877F19-00D2-4A00-8128-E78E36266C9A}" dt="2023-11-08T06:19:22.971" v="165051"/>
          <ac:spMkLst>
            <pc:docMk/>
            <pc:sldMk cId="425422822" sldId="393"/>
            <ac:spMk id="12" creationId="{C2556A3C-11AF-31A3-08B0-4F65018096E5}"/>
          </ac:spMkLst>
        </pc:spChg>
        <pc:spChg chg="mod">
          <ac:chgData name="Muchahary, Frankle" userId="0f2bf491-0617-4378-90b8-89af8fa381b9" providerId="ADAL" clId="{90877F19-00D2-4A00-8128-E78E36266C9A}" dt="2023-11-08T06:19:22.973" v="165052"/>
          <ac:spMkLst>
            <pc:docMk/>
            <pc:sldMk cId="425422822" sldId="393"/>
            <ac:spMk id="14" creationId="{8ED9C437-85A6-115C-B99C-3F9CD34D4DF1}"/>
          </ac:spMkLst>
        </pc:spChg>
        <pc:spChg chg="add del mod modVis">
          <ac:chgData name="Muchahary, Frankle" userId="0f2bf491-0617-4378-90b8-89af8fa381b9" providerId="ADAL" clId="{90877F19-00D2-4A00-8128-E78E36266C9A}" dt="2023-11-08T06:19:16.179" v="164927"/>
          <ac:spMkLst>
            <pc:docMk/>
            <pc:sldMk cId="425422822" sldId="393"/>
            <ac:spMk id="15" creationId="{19C6BA9E-A1DB-6F44-7EA5-58F4ECFEA65F}"/>
          </ac:spMkLst>
        </pc:spChg>
        <pc:spChg chg="add del mod modVis">
          <ac:chgData name="Muchahary, Frankle" userId="0f2bf491-0617-4378-90b8-89af8fa381b9" providerId="ADAL" clId="{90877F19-00D2-4A00-8128-E78E36266C9A}" dt="2023-11-08T06:19:22.978" v="165068"/>
          <ac:spMkLst>
            <pc:docMk/>
            <pc:sldMk cId="425422822" sldId="393"/>
            <ac:spMk id="18" creationId="{AE13307E-A566-E92E-E788-CCBBE2CFA4CE}"/>
          </ac:spMkLst>
        </pc:spChg>
        <pc:spChg chg="mod">
          <ac:chgData name="Muchahary, Frankle" userId="0f2bf491-0617-4378-90b8-89af8fa381b9" providerId="ADAL" clId="{90877F19-00D2-4A00-8128-E78E36266C9A}" dt="2023-11-08T06:19:22.963" v="165034"/>
          <ac:spMkLst>
            <pc:docMk/>
            <pc:sldMk cId="425422822" sldId="393"/>
            <ac:spMk id="28" creationId="{60923BF9-51E5-CBB4-DC09-A2285E468C34}"/>
          </ac:spMkLst>
        </pc:spChg>
        <pc:spChg chg="mod">
          <ac:chgData name="Muchahary, Frankle" userId="0f2bf491-0617-4378-90b8-89af8fa381b9" providerId="ADAL" clId="{90877F19-00D2-4A00-8128-E78E36266C9A}" dt="2023-11-08T06:19:22.963" v="165035"/>
          <ac:spMkLst>
            <pc:docMk/>
            <pc:sldMk cId="425422822" sldId="393"/>
            <ac:spMk id="31" creationId="{92A94E77-7A30-3C04-609D-BDCD0776E05F}"/>
          </ac:spMkLst>
        </pc:spChg>
        <pc:spChg chg="mod">
          <ac:chgData name="Muchahary, Frankle" userId="0f2bf491-0617-4378-90b8-89af8fa381b9" providerId="ADAL" clId="{90877F19-00D2-4A00-8128-E78E36266C9A}" dt="2023-11-08T06:19:22.965" v="165037"/>
          <ac:spMkLst>
            <pc:docMk/>
            <pc:sldMk cId="425422822" sldId="393"/>
            <ac:spMk id="34" creationId="{26E6F0B1-EAB3-E15E-AC9C-D91DC72764D5}"/>
          </ac:spMkLst>
        </pc:spChg>
        <pc:spChg chg="mod">
          <ac:chgData name="Muchahary, Frankle" userId="0f2bf491-0617-4378-90b8-89af8fa381b9" providerId="ADAL" clId="{90877F19-00D2-4A00-8128-E78E36266C9A}" dt="2023-11-08T06:19:22.965" v="165038"/>
          <ac:spMkLst>
            <pc:docMk/>
            <pc:sldMk cId="425422822" sldId="393"/>
            <ac:spMk id="62" creationId="{35FCE657-166E-7AFA-E88F-A8974EBE203D}"/>
          </ac:spMkLst>
        </pc:spChg>
        <pc:spChg chg="mod">
          <ac:chgData name="Muchahary, Frankle" userId="0f2bf491-0617-4378-90b8-89af8fa381b9" providerId="ADAL" clId="{90877F19-00D2-4A00-8128-E78E36266C9A}" dt="2023-11-08T06:19:22.965" v="165036"/>
          <ac:spMkLst>
            <pc:docMk/>
            <pc:sldMk cId="425422822" sldId="393"/>
            <ac:spMk id="205" creationId="{E5CEEBDA-EB0A-7B21-7F69-90CC1659879E}"/>
          </ac:spMkLst>
        </pc:spChg>
        <pc:spChg chg="mod">
          <ac:chgData name="Muchahary, Frankle" userId="0f2bf491-0617-4378-90b8-89af8fa381b9" providerId="ADAL" clId="{90877F19-00D2-4A00-8128-E78E36266C9A}" dt="2023-11-08T06:19:22.962" v="165033"/>
          <ac:spMkLst>
            <pc:docMk/>
            <pc:sldMk cId="425422822" sldId="393"/>
            <ac:spMk id="326" creationId="{6A98CF09-09E3-75F6-57DC-64E1E1678C47}"/>
          </ac:spMkLst>
        </pc:spChg>
        <pc:spChg chg="mod">
          <ac:chgData name="Muchahary, Frankle" userId="0f2bf491-0617-4378-90b8-89af8fa381b9" providerId="ADAL" clId="{90877F19-00D2-4A00-8128-E78E36266C9A}" dt="2023-11-08T06:19:22.966" v="165040"/>
          <ac:spMkLst>
            <pc:docMk/>
            <pc:sldMk cId="425422822" sldId="393"/>
            <ac:spMk id="450" creationId="{F3FC4E6B-1A52-C499-A7F3-F11FBF0B3409}"/>
          </ac:spMkLst>
        </pc:spChg>
        <pc:spChg chg="mod">
          <ac:chgData name="Muchahary, Frankle" userId="0f2bf491-0617-4378-90b8-89af8fa381b9" providerId="ADAL" clId="{90877F19-00D2-4A00-8128-E78E36266C9A}" dt="2023-11-08T06:19:22.968" v="165041"/>
          <ac:spMkLst>
            <pc:docMk/>
            <pc:sldMk cId="425422822" sldId="393"/>
            <ac:spMk id="454" creationId="{E8F3723B-534A-603B-0967-33230DB0A5DB}"/>
          </ac:spMkLst>
        </pc:spChg>
        <pc:spChg chg="mod">
          <ac:chgData name="Muchahary, Frankle" userId="0f2bf491-0617-4378-90b8-89af8fa381b9" providerId="ADAL" clId="{90877F19-00D2-4A00-8128-E78E36266C9A}" dt="2023-11-08T06:19:22.966" v="165039"/>
          <ac:spMkLst>
            <pc:docMk/>
            <pc:sldMk cId="425422822" sldId="393"/>
            <ac:spMk id="460" creationId="{C1576B1E-AA0F-93AD-3659-D1D059CC4013}"/>
          </ac:spMkLst>
        </pc:spChg>
        <pc:spChg chg="mod ord">
          <ac:chgData name="Muchahary, Frankle" userId="0f2bf491-0617-4378-90b8-89af8fa381b9" providerId="ADAL" clId="{90877F19-00D2-4A00-8128-E78E36266C9A}" dt="2023-11-08T06:19:22.973" v="165054"/>
          <ac:spMkLst>
            <pc:docMk/>
            <pc:sldMk cId="425422822" sldId="393"/>
            <ac:spMk id="491" creationId="{AB81E353-7B70-DDB9-24C7-6ECF524B6759}"/>
          </ac:spMkLst>
        </pc:spChg>
        <pc:spChg chg="mod ord">
          <ac:chgData name="Muchahary, Frankle" userId="0f2bf491-0617-4378-90b8-89af8fa381b9" providerId="ADAL" clId="{90877F19-00D2-4A00-8128-E78E36266C9A}" dt="2023-11-08T06:19:22.974" v="165058"/>
          <ac:spMkLst>
            <pc:docMk/>
            <pc:sldMk cId="425422822" sldId="393"/>
            <ac:spMk id="493" creationId="{47541DBA-ACCB-189D-4274-F05B1EFF130D}"/>
          </ac:spMkLst>
        </pc:spChg>
        <pc:graphicFrameChg chg="add del mod ord replST">
          <ac:chgData name="Muchahary, Frankle" userId="0f2bf491-0617-4378-90b8-89af8fa381b9" providerId="ADAL" clId="{90877F19-00D2-4A00-8128-E78E36266C9A}" dt="2023-11-08T06:19:16.119" v="164875"/>
          <ac:graphicFrameMkLst>
            <pc:docMk/>
            <pc:sldMk cId="425422822" sldId="393"/>
            <ac:graphicFrameMk id="13" creationId="{6AB6A3A0-8D09-E02F-E96F-6064942C8F79}"/>
          </ac:graphicFrameMkLst>
        </pc:graphicFrameChg>
        <pc:graphicFrameChg chg="mod">
          <ac:chgData name="Muchahary, Frankle" userId="0f2bf491-0617-4378-90b8-89af8fa381b9" providerId="ADAL" clId="{90877F19-00D2-4A00-8128-E78E36266C9A}" dt="2023-11-08T06:19:27.233" v="165074"/>
          <ac:graphicFrameMkLst>
            <pc:docMk/>
            <pc:sldMk cId="425422822" sldId="393"/>
            <ac:graphicFrameMk id="16" creationId="{B4FC88EE-B108-1D0C-322C-A0E9684DBFB6}"/>
          </ac:graphicFrameMkLst>
        </pc:graphicFrameChg>
        <pc:graphicFrameChg chg="add del mod ord replST">
          <ac:chgData name="Muchahary, Frankle" userId="0f2bf491-0617-4378-90b8-89af8fa381b9" providerId="ADAL" clId="{90877F19-00D2-4A00-8128-E78E36266C9A}" dt="2023-11-08T06:19:22.912" v="165016"/>
          <ac:graphicFrameMkLst>
            <pc:docMk/>
            <pc:sldMk cId="425422822" sldId="393"/>
            <ac:graphicFrameMk id="17" creationId="{5BB6623B-0218-7DF9-8E61-B8FD3DA754B0}"/>
          </ac:graphicFrameMkLst>
        </pc:graphicFrameChg>
        <pc:graphicFrameChg chg="add mod ord replST">
          <ac:chgData name="Muchahary, Frankle" userId="0f2bf491-0617-4378-90b8-89af8fa381b9" providerId="ADAL" clId="{90877F19-00D2-4A00-8128-E78E36266C9A}" dt="2023-11-08T06:19:22.968" v="165043"/>
          <ac:graphicFrameMkLst>
            <pc:docMk/>
            <pc:sldMk cId="425422822" sldId="393"/>
            <ac:graphicFrameMk id="19" creationId="{4813FF6B-7FB4-82EA-BB8C-2FD553F0F934}"/>
          </ac:graphicFrameMkLst>
        </pc:graphicFrameChg>
        <pc:graphicFrameChg chg="mod ord">
          <ac:chgData name="Muchahary, Frankle" userId="0f2bf491-0617-4378-90b8-89af8fa381b9" providerId="ADAL" clId="{90877F19-00D2-4A00-8128-E78E36266C9A}" dt="2023-11-08T06:19:22.962" v="165032"/>
          <ac:graphicFrameMkLst>
            <pc:docMk/>
            <pc:sldMk cId="425422822" sldId="393"/>
            <ac:graphicFrameMk id="186" creationId="{67B376B0-76B4-6416-DA69-AC794B6520A1}"/>
          </ac:graphicFrameMkLst>
        </pc:graphicFrameChg>
        <pc:graphicFrameChg chg="del">
          <ac:chgData name="Muchahary, Frankle" userId="0f2bf491-0617-4378-90b8-89af8fa381b9" providerId="ADAL" clId="{90877F19-00D2-4A00-8128-E78E36266C9A}" dt="2023-11-08T06:19:12.670" v="164759"/>
          <ac:graphicFrameMkLst>
            <pc:docMk/>
            <pc:sldMk cId="425422822" sldId="393"/>
            <ac:graphicFrameMk id="188" creationId="{D03A4266-38B4-1F36-4CC9-D1C726816094}"/>
          </ac:graphicFrameMkLst>
        </pc:graphicFrameChg>
        <pc:cxnChg chg="mod ord">
          <ac:chgData name="Muchahary, Frankle" userId="0f2bf491-0617-4378-90b8-89af8fa381b9" providerId="ADAL" clId="{90877F19-00D2-4A00-8128-E78E36266C9A}" dt="2023-11-08T06:19:22.974" v="165056"/>
          <ac:cxnSpMkLst>
            <pc:docMk/>
            <pc:sldMk cId="425422822" sldId="393"/>
            <ac:cxnSpMk id="492" creationId="{C26A5459-6D56-1BF2-C2B2-4EAFEC459004}"/>
          </ac:cxnSpMkLst>
        </pc:cxnChg>
        <pc:cxnChg chg="mod ord">
          <ac:chgData name="Muchahary, Frankle" userId="0f2bf491-0617-4378-90b8-89af8fa381b9" providerId="ADAL" clId="{90877F19-00D2-4A00-8128-E78E36266C9A}" dt="2023-11-08T06:19:22.976" v="165060"/>
          <ac:cxnSpMkLst>
            <pc:docMk/>
            <pc:sldMk cId="425422822" sldId="393"/>
            <ac:cxnSpMk id="494" creationId="{C64A8DA9-1E37-61E4-FEF0-65ACACA0238F}"/>
          </ac:cxnSpMkLst>
        </pc:cxnChg>
      </pc:sldChg>
      <pc:sldChg chg="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1478378776" sldId="397"/>
        </pc:sldMkLst>
      </pc:sldChg>
      <pc:sldChg chg="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1879241708" sldId="398"/>
        </pc:sldMkLst>
      </pc:sldChg>
      <pc:sldChg chg="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569856316" sldId="399"/>
        </pc:sldMkLst>
      </pc:sldChg>
      <pc:sldChg chg="del">
        <pc:chgData name="Muchahary, Frankle" userId="0f2bf491-0617-4378-90b8-89af8fa381b9" providerId="ADAL" clId="{90877F19-00D2-4A00-8128-E78E36266C9A}" dt="2023-11-08T05:48:31.855" v="163049" actId="47"/>
        <pc:sldMkLst>
          <pc:docMk/>
          <pc:sldMk cId="2251321859" sldId="402"/>
        </pc:sldMkLst>
      </pc:sldChg>
      <pc:sldChg chg="addSp delSp modSp add del mod">
        <pc:chgData name="Muchahary, Frankle" userId="0f2bf491-0617-4378-90b8-89af8fa381b9" providerId="ADAL" clId="{90877F19-00D2-4A00-8128-E78E36266C9A}" dt="2023-11-07T05:57:21.757" v="158296" actId="47"/>
        <pc:sldMkLst>
          <pc:docMk/>
          <pc:sldMk cId="1676416836" sldId="403"/>
        </pc:sldMkLst>
        <pc:spChg chg="mod ord">
          <ac:chgData name="Muchahary, Frankle" userId="0f2bf491-0617-4378-90b8-89af8fa381b9" providerId="ADAL" clId="{90877F19-00D2-4A00-8128-E78E36266C9A}" dt="2023-11-07T05:54:48.134" v="158254" actId="1076"/>
          <ac:spMkLst>
            <pc:docMk/>
            <pc:sldMk cId="1676416836" sldId="403"/>
            <ac:spMk id="2" creationId="{496E9A5C-AC7F-EC41-F04F-873EB24E5193}"/>
          </ac:spMkLst>
        </pc:spChg>
        <pc:spChg chg="del mod">
          <ac:chgData name="Muchahary, Frankle" userId="0f2bf491-0617-4378-90b8-89af8fa381b9" providerId="ADAL" clId="{90877F19-00D2-4A00-8128-E78E36266C9A}" dt="2023-11-07T05:56:38.633" v="158292" actId="21"/>
          <ac:spMkLst>
            <pc:docMk/>
            <pc:sldMk cId="1676416836" sldId="403"/>
            <ac:spMk id="15" creationId="{0AA790BF-69C0-5516-03D3-11A89CBD879C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20" creationId="{FFC6BC5E-2761-7813-30EA-A072FB1A5CD3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21" creationId="{0717FBFE-816D-37B4-5229-B2CF48335539}"/>
          </ac:spMkLst>
        </pc:spChg>
        <pc:spChg chg="add del mod">
          <ac:chgData name="Muchahary, Frankle" userId="0f2bf491-0617-4378-90b8-89af8fa381b9" providerId="ADAL" clId="{90877F19-00D2-4A00-8128-E78E36266C9A}" dt="2023-11-07T05:16:53.209" v="157821"/>
          <ac:spMkLst>
            <pc:docMk/>
            <pc:sldMk cId="1676416836" sldId="403"/>
            <ac:spMk id="22" creationId="{CA0E6F8B-71E6-AA43-951D-FBA6389C73D1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26" creationId="{C2DED236-4C3E-789C-A5FB-1654C9E6A42E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27" creationId="{168418A5-87C1-EED5-AA5B-9AA17B6FCA11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31" creationId="{54BFBA12-647A-DA90-C944-53956FE80295}"/>
          </ac:spMkLst>
        </pc:spChg>
        <pc:spChg chg="mod">
          <ac:chgData name="Muchahary, Frankle" userId="0f2bf491-0617-4378-90b8-89af8fa381b9" providerId="ADAL" clId="{90877F19-00D2-4A00-8128-E78E36266C9A}" dt="2023-11-07T05:55:59.643" v="158283" actId="165"/>
          <ac:spMkLst>
            <pc:docMk/>
            <pc:sldMk cId="1676416836" sldId="403"/>
            <ac:spMk id="32" creationId="{616A5068-F948-B076-56AC-7FF40C98D23B}"/>
          </ac:spMkLst>
        </pc:spChg>
        <pc:spChg chg="del mod ord">
          <ac:chgData name="Muchahary, Frankle" userId="0f2bf491-0617-4378-90b8-89af8fa381b9" providerId="ADAL" clId="{90877F19-00D2-4A00-8128-E78E36266C9A}" dt="2023-11-07T05:20:08.759" v="157913" actId="478"/>
          <ac:spMkLst>
            <pc:docMk/>
            <pc:sldMk cId="1676416836" sldId="403"/>
            <ac:spMk id="40" creationId="{DC3C35FD-CE6C-9589-F816-120858AAFFB9}"/>
          </ac:spMkLst>
        </pc:spChg>
        <pc:spChg chg="mod ord">
          <ac:chgData name="Muchahary, Frankle" userId="0f2bf491-0617-4378-90b8-89af8fa381b9" providerId="ADAL" clId="{90877F19-00D2-4A00-8128-E78E36266C9A}" dt="2023-11-07T05:41:44.003" v="158179" actId="1076"/>
          <ac:spMkLst>
            <pc:docMk/>
            <pc:sldMk cId="1676416836" sldId="403"/>
            <ac:spMk id="42" creationId="{FF5405EF-0385-4531-CD03-80A937D58D50}"/>
          </ac:spMkLst>
        </pc:spChg>
        <pc:spChg chg="add mod">
          <ac:chgData name="Muchahary, Frankle" userId="0f2bf491-0617-4378-90b8-89af8fa381b9" providerId="ADAL" clId="{90877F19-00D2-4A00-8128-E78E36266C9A}" dt="2023-11-07T05:20:15.193" v="157914" actId="164"/>
          <ac:spMkLst>
            <pc:docMk/>
            <pc:sldMk cId="1676416836" sldId="403"/>
            <ac:spMk id="44" creationId="{81DB3125-A394-4B4D-904A-55F29B8471D7}"/>
          </ac:spMkLst>
        </pc:spChg>
        <pc:spChg chg="del mod ord">
          <ac:chgData name="Muchahary, Frankle" userId="0f2bf491-0617-4378-90b8-89af8fa381b9" providerId="ADAL" clId="{90877F19-00D2-4A00-8128-E78E36266C9A}" dt="2023-11-07T05:54:29.804" v="158250" actId="478"/>
          <ac:spMkLst>
            <pc:docMk/>
            <pc:sldMk cId="1676416836" sldId="403"/>
            <ac:spMk id="49" creationId="{F1D47A37-4866-889D-071A-8073BA0335F2}"/>
          </ac:spMkLst>
        </pc:spChg>
        <pc:spChg chg="mod">
          <ac:chgData name="Muchahary, Frankle" userId="0f2bf491-0617-4378-90b8-89af8fa381b9" providerId="ADAL" clId="{90877F19-00D2-4A00-8128-E78E36266C9A}" dt="2023-11-07T05:20:58.862" v="157933"/>
          <ac:spMkLst>
            <pc:docMk/>
            <pc:sldMk cId="1676416836" sldId="403"/>
            <ac:spMk id="51" creationId="{210DC542-76D3-E2E3-0D4B-13D6B80BB157}"/>
          </ac:spMkLst>
        </pc:spChg>
        <pc:spChg chg="mod">
          <ac:chgData name="Muchahary, Frankle" userId="0f2bf491-0617-4378-90b8-89af8fa381b9" providerId="ADAL" clId="{90877F19-00D2-4A00-8128-E78E36266C9A}" dt="2023-11-07T05:20:58.862" v="157933"/>
          <ac:spMkLst>
            <pc:docMk/>
            <pc:sldMk cId="1676416836" sldId="403"/>
            <ac:spMk id="52" creationId="{C166849D-71BE-5FA1-FECE-502C749B8702}"/>
          </ac:spMkLst>
        </pc:spChg>
        <pc:spChg chg="mod">
          <ac:chgData name="Muchahary, Frankle" userId="0f2bf491-0617-4378-90b8-89af8fa381b9" providerId="ADAL" clId="{90877F19-00D2-4A00-8128-E78E36266C9A}" dt="2023-11-07T05:32:20.416" v="158117"/>
          <ac:spMkLst>
            <pc:docMk/>
            <pc:sldMk cId="1676416836" sldId="403"/>
            <ac:spMk id="55" creationId="{EF4A44BD-65D8-E4C3-1953-C2A9DBA5EAA9}"/>
          </ac:spMkLst>
        </pc:spChg>
        <pc:spChg chg="del">
          <ac:chgData name="Muchahary, Frankle" userId="0f2bf491-0617-4378-90b8-89af8fa381b9" providerId="ADAL" clId="{90877F19-00D2-4A00-8128-E78E36266C9A}" dt="2023-11-07T05:15:25.547" v="157768" actId="478"/>
          <ac:spMkLst>
            <pc:docMk/>
            <pc:sldMk cId="1676416836" sldId="403"/>
            <ac:spMk id="56" creationId="{52735BAF-1B99-CF58-A997-96F74B03D163}"/>
          </ac:spMkLst>
        </pc:spChg>
        <pc:spChg chg="del mod">
          <ac:chgData name="Muchahary, Frankle" userId="0f2bf491-0617-4378-90b8-89af8fa381b9" providerId="ADAL" clId="{90877F19-00D2-4A00-8128-E78E36266C9A}" dt="2023-11-07T05:14:45.263" v="157752" actId="478"/>
          <ac:spMkLst>
            <pc:docMk/>
            <pc:sldMk cId="1676416836" sldId="403"/>
            <ac:spMk id="58" creationId="{50F02568-50C0-239E-B9C8-369D0D2DE6EA}"/>
          </ac:spMkLst>
        </pc:spChg>
        <pc:spChg chg="add mod">
          <ac:chgData name="Muchahary, Frankle" userId="0f2bf491-0617-4378-90b8-89af8fa381b9" providerId="ADAL" clId="{90877F19-00D2-4A00-8128-E78E36266C9A}" dt="2023-11-07T05:57:00.584" v="158294" actId="1076"/>
          <ac:spMkLst>
            <pc:docMk/>
            <pc:sldMk cId="1676416836" sldId="403"/>
            <ac:spMk id="62" creationId="{A3CE60E9-16EF-CD88-9CAE-13D7E6197399}"/>
          </ac:spMkLst>
        </pc:spChg>
        <pc:spChg chg="mod">
          <ac:chgData name="Muchahary, Frankle" userId="0f2bf491-0617-4378-90b8-89af8fa381b9" providerId="ADAL" clId="{90877F19-00D2-4A00-8128-E78E36266C9A}" dt="2023-11-07T05:56:40.168" v="158293"/>
          <ac:spMkLst>
            <pc:docMk/>
            <pc:sldMk cId="1676416836" sldId="403"/>
            <ac:spMk id="2048" creationId="{02F1897C-2CB4-4A5F-F825-511BD3BF6B64}"/>
          </ac:spMkLst>
        </pc:spChg>
        <pc:spChg chg="mod">
          <ac:chgData name="Muchahary, Frankle" userId="0f2bf491-0617-4378-90b8-89af8fa381b9" providerId="ADAL" clId="{90877F19-00D2-4A00-8128-E78E36266C9A}" dt="2023-11-07T05:56:40.168" v="158293"/>
          <ac:spMkLst>
            <pc:docMk/>
            <pc:sldMk cId="1676416836" sldId="403"/>
            <ac:spMk id="2049" creationId="{CAEDDA97-AD03-591F-0F35-E94E1DA2AA4A}"/>
          </ac:spMkLst>
        </pc:spChg>
        <pc:spChg chg="mod">
          <ac:chgData name="Muchahary, Frankle" userId="0f2bf491-0617-4378-90b8-89af8fa381b9" providerId="ADAL" clId="{90877F19-00D2-4A00-8128-E78E36266C9A}" dt="2023-11-07T05:56:40.168" v="158293"/>
          <ac:spMkLst>
            <pc:docMk/>
            <pc:sldMk cId="1676416836" sldId="403"/>
            <ac:spMk id="2053" creationId="{A6C80B8D-492B-1A21-75E2-B7842C0D83DE}"/>
          </ac:spMkLst>
        </pc:spChg>
        <pc:spChg chg="mod">
          <ac:chgData name="Muchahary, Frankle" userId="0f2bf491-0617-4378-90b8-89af8fa381b9" providerId="ADAL" clId="{90877F19-00D2-4A00-8128-E78E36266C9A}" dt="2023-11-07T05:56:40.168" v="158293"/>
          <ac:spMkLst>
            <pc:docMk/>
            <pc:sldMk cId="1676416836" sldId="403"/>
            <ac:spMk id="2054" creationId="{245F7768-68EB-C7DE-0562-F38624A41347}"/>
          </ac:spMkLst>
        </pc:spChg>
        <pc:spChg chg="del mod">
          <ac:chgData name="Muchahary, Frankle" userId="0f2bf491-0617-4378-90b8-89af8fa381b9" providerId="ADAL" clId="{90877F19-00D2-4A00-8128-E78E36266C9A}" dt="2023-11-07T05:55:08.764" v="158262" actId="478"/>
          <ac:spMkLst>
            <pc:docMk/>
            <pc:sldMk cId="1676416836" sldId="403"/>
            <ac:spMk id="2061" creationId="{9C01B2B9-5B45-E513-C3D7-08E1A155504A}"/>
          </ac:spMkLst>
        </pc:spChg>
        <pc:spChg chg="mod topLvl">
          <ac:chgData name="Muchahary, Frankle" userId="0f2bf491-0617-4378-90b8-89af8fa381b9" providerId="ADAL" clId="{90877F19-00D2-4A00-8128-E78E36266C9A}" dt="2023-11-07T05:56:15.736" v="158287" actId="1076"/>
          <ac:spMkLst>
            <pc:docMk/>
            <pc:sldMk cId="1676416836" sldId="403"/>
            <ac:spMk id="2074" creationId="{0AA790BF-69C0-5516-03D3-11A89CBD879C}"/>
          </ac:spMkLst>
        </pc:spChg>
        <pc:grpChg chg="add mod ord">
          <ac:chgData name="Muchahary, Frankle" userId="0f2bf491-0617-4378-90b8-89af8fa381b9" providerId="ADAL" clId="{90877F19-00D2-4A00-8128-E78E36266C9A}" dt="2023-11-07T05:20:15.193" v="157914" actId="164"/>
          <ac:grpSpMkLst>
            <pc:docMk/>
            <pc:sldMk cId="1676416836" sldId="403"/>
            <ac:grpSpMk id="10" creationId="{144D78C9-F120-30E8-02D8-6481EE883060}"/>
          </ac:grpSpMkLst>
        </pc:grpChg>
        <pc:grpChg chg="add del mod ord">
          <ac:chgData name="Muchahary, Frankle" userId="0f2bf491-0617-4378-90b8-89af8fa381b9" providerId="ADAL" clId="{90877F19-00D2-4A00-8128-E78E36266C9A}" dt="2023-11-07T05:54:24.239" v="158249" actId="478"/>
          <ac:grpSpMkLst>
            <pc:docMk/>
            <pc:sldMk cId="1676416836" sldId="403"/>
            <ac:grpSpMk id="11" creationId="{F282B5F0-DE1D-F2D6-7F07-77F17C730A6E}"/>
          </ac:grpSpMkLst>
        </pc:grpChg>
        <pc:grpChg chg="del">
          <ac:chgData name="Muchahary, Frankle" userId="0f2bf491-0617-4378-90b8-89af8fa381b9" providerId="ADAL" clId="{90877F19-00D2-4A00-8128-E78E36266C9A}" dt="2023-11-07T05:56:38.633" v="158292" actId="21"/>
          <ac:grpSpMkLst>
            <pc:docMk/>
            <pc:sldMk cId="1676416836" sldId="403"/>
            <ac:grpSpMk id="12" creationId="{DBA23413-2EAE-DA65-5313-2DD31D043EB1}"/>
          </ac:grpSpMkLst>
        </pc:grpChg>
        <pc:grpChg chg="del mod">
          <ac:chgData name="Muchahary, Frankle" userId="0f2bf491-0617-4378-90b8-89af8fa381b9" providerId="ADAL" clId="{90877F19-00D2-4A00-8128-E78E36266C9A}" dt="2023-11-07T05:56:31.227" v="158291" actId="478"/>
          <ac:grpSpMkLst>
            <pc:docMk/>
            <pc:sldMk cId="1676416836" sldId="403"/>
            <ac:grpSpMk id="16" creationId="{88E367B2-4DDB-379C-AA0C-56238F21038A}"/>
          </ac:grpSpMkLst>
        </pc:grpChg>
        <pc:grpChg chg="add del mod ord">
          <ac:chgData name="Muchahary, Frankle" userId="0f2bf491-0617-4378-90b8-89af8fa381b9" providerId="ADAL" clId="{90877F19-00D2-4A00-8128-E78E36266C9A}" dt="2023-11-07T05:18:03.683" v="157876" actId="478"/>
          <ac:grpSpMkLst>
            <pc:docMk/>
            <pc:sldMk cId="1676416836" sldId="403"/>
            <ac:grpSpMk id="17" creationId="{D1E37A0C-037E-3ADE-F35C-9F5AC647EC62}"/>
          </ac:grpSpMkLst>
        </pc:grpChg>
        <pc:grpChg chg="mod topLvl">
          <ac:chgData name="Muchahary, Frankle" userId="0f2bf491-0617-4378-90b8-89af8fa381b9" providerId="ADAL" clId="{90877F19-00D2-4A00-8128-E78E36266C9A}" dt="2023-11-07T05:56:23.053" v="158288" actId="14100"/>
          <ac:grpSpMkLst>
            <pc:docMk/>
            <pc:sldMk cId="1676416836" sldId="403"/>
            <ac:grpSpMk id="18" creationId="{88E367B2-4DDB-379C-AA0C-56238F21038A}"/>
          </ac:grpSpMkLst>
        </pc:grpChg>
        <pc:grpChg chg="del mod">
          <ac:chgData name="Muchahary, Frankle" userId="0f2bf491-0617-4378-90b8-89af8fa381b9" providerId="ADAL" clId="{90877F19-00D2-4A00-8128-E78E36266C9A}" dt="2023-11-07T05:56:38.633" v="158292" actId="21"/>
          <ac:grpSpMkLst>
            <pc:docMk/>
            <pc:sldMk cId="1676416836" sldId="403"/>
            <ac:grpSpMk id="22" creationId="{C07B6C8E-173A-A0A6-8301-286AF59C0003}"/>
          </ac:grpSpMkLst>
        </pc:grpChg>
        <pc:grpChg chg="add del mod ord">
          <ac:chgData name="Muchahary, Frankle" userId="0f2bf491-0617-4378-90b8-89af8fa381b9" providerId="ADAL" clId="{90877F19-00D2-4A00-8128-E78E36266C9A}" dt="2023-11-07T05:18:59.076" v="157888" actId="478"/>
          <ac:grpSpMkLst>
            <pc:docMk/>
            <pc:sldMk cId="1676416836" sldId="403"/>
            <ac:grpSpMk id="23" creationId="{45E8FF63-2F6A-8719-A913-29BE955629E0}"/>
          </ac:grpSpMkLst>
        </pc:grpChg>
        <pc:grpChg chg="mod topLvl">
          <ac:chgData name="Muchahary, Frankle" userId="0f2bf491-0617-4378-90b8-89af8fa381b9" providerId="ADAL" clId="{90877F19-00D2-4A00-8128-E78E36266C9A}" dt="2023-11-07T05:56:15.736" v="158287" actId="1076"/>
          <ac:grpSpMkLst>
            <pc:docMk/>
            <pc:sldMk cId="1676416836" sldId="403"/>
            <ac:grpSpMk id="24" creationId="{C07B6C8E-173A-A0A6-8301-286AF59C0003}"/>
          </ac:grpSpMkLst>
        </pc:grpChg>
        <pc:grpChg chg="add del mod ord">
          <ac:chgData name="Muchahary, Frankle" userId="0f2bf491-0617-4378-90b8-89af8fa381b9" providerId="ADAL" clId="{90877F19-00D2-4A00-8128-E78E36266C9A}" dt="2023-11-07T05:19:25.292" v="157897" actId="478"/>
          <ac:grpSpMkLst>
            <pc:docMk/>
            <pc:sldMk cId="1676416836" sldId="403"/>
            <ac:grpSpMk id="28" creationId="{29A091E3-97A6-0448-9FEE-47D6E1DC5BB9}"/>
          </ac:grpSpMkLst>
        </pc:grpChg>
        <pc:grpChg chg="mod topLvl">
          <ac:chgData name="Muchahary, Frankle" userId="0f2bf491-0617-4378-90b8-89af8fa381b9" providerId="ADAL" clId="{90877F19-00D2-4A00-8128-E78E36266C9A}" dt="2023-11-07T05:55:59.643" v="158283" actId="165"/>
          <ac:grpSpMkLst>
            <pc:docMk/>
            <pc:sldMk cId="1676416836" sldId="403"/>
            <ac:grpSpMk id="29" creationId="{19D4A219-DD9F-F763-2D49-B4413F3BB374}"/>
          </ac:grpSpMkLst>
        </pc:grpChg>
        <pc:grpChg chg="add mod">
          <ac:chgData name="Muchahary, Frankle" userId="0f2bf491-0617-4378-90b8-89af8fa381b9" providerId="ADAL" clId="{90877F19-00D2-4A00-8128-E78E36266C9A}" dt="2023-11-07T05:20:32.589" v="157918" actId="164"/>
          <ac:grpSpMkLst>
            <pc:docMk/>
            <pc:sldMk cId="1676416836" sldId="403"/>
            <ac:grpSpMk id="38" creationId="{57FCA0B4-2C13-139D-A476-86229B32CC31}"/>
          </ac:grpSpMkLst>
        </pc:grpChg>
        <pc:grpChg chg="add mod">
          <ac:chgData name="Muchahary, Frankle" userId="0f2bf491-0617-4378-90b8-89af8fa381b9" providerId="ADAL" clId="{90877F19-00D2-4A00-8128-E78E36266C9A}" dt="2023-11-07T05:20:32.589" v="157918" actId="164"/>
          <ac:grpSpMkLst>
            <pc:docMk/>
            <pc:sldMk cId="1676416836" sldId="403"/>
            <ac:grpSpMk id="39" creationId="{C4115468-B1AE-0916-1865-19D04BF4AD93}"/>
          </ac:grpSpMkLst>
        </pc:grpChg>
        <pc:grpChg chg="add mod topLvl">
          <ac:chgData name="Muchahary, Frankle" userId="0f2bf491-0617-4378-90b8-89af8fa381b9" providerId="ADAL" clId="{90877F19-00D2-4A00-8128-E78E36266C9A}" dt="2023-11-07T05:56:15.736" v="158287" actId="1076"/>
          <ac:grpSpMkLst>
            <pc:docMk/>
            <pc:sldMk cId="1676416836" sldId="403"/>
            <ac:grpSpMk id="43" creationId="{DBA23413-2EAE-DA65-5313-2DD31D043EB1}"/>
          </ac:grpSpMkLst>
        </pc:grpChg>
        <pc:grpChg chg="add mod">
          <ac:chgData name="Muchahary, Frankle" userId="0f2bf491-0617-4378-90b8-89af8fa381b9" providerId="ADAL" clId="{90877F19-00D2-4A00-8128-E78E36266C9A}" dt="2023-11-07T05:20:21.440" v="157915" actId="164"/>
          <ac:grpSpMkLst>
            <pc:docMk/>
            <pc:sldMk cId="1676416836" sldId="403"/>
            <ac:grpSpMk id="45" creationId="{2F6D3322-3064-EEA0-F627-1005ED6ABF29}"/>
          </ac:grpSpMkLst>
        </pc:grpChg>
        <pc:grpChg chg="add mod ord">
          <ac:chgData name="Muchahary, Frankle" userId="0f2bf491-0617-4378-90b8-89af8fa381b9" providerId="ADAL" clId="{90877F19-00D2-4A00-8128-E78E36266C9A}" dt="2023-11-07T05:54:48.134" v="158254" actId="1076"/>
          <ac:grpSpMkLst>
            <pc:docMk/>
            <pc:sldMk cId="1676416836" sldId="403"/>
            <ac:grpSpMk id="46" creationId="{B6336DEF-79A3-933C-7F98-233345156D70}"/>
          </ac:grpSpMkLst>
        </pc:grpChg>
        <pc:grpChg chg="add del mod ord">
          <ac:chgData name="Muchahary, Frankle" userId="0f2bf491-0617-4378-90b8-89af8fa381b9" providerId="ADAL" clId="{90877F19-00D2-4A00-8128-E78E36266C9A}" dt="2023-11-07T05:55:59.643" v="158283" actId="165"/>
          <ac:grpSpMkLst>
            <pc:docMk/>
            <pc:sldMk cId="1676416836" sldId="403"/>
            <ac:grpSpMk id="47" creationId="{9C606329-985C-CB01-0886-E720A5BFB9F8}"/>
          </ac:grpSpMkLst>
        </pc:grpChg>
        <pc:grpChg chg="add del mod">
          <ac:chgData name="Muchahary, Frankle" userId="0f2bf491-0617-4378-90b8-89af8fa381b9" providerId="ADAL" clId="{90877F19-00D2-4A00-8128-E78E36266C9A}" dt="2023-11-07T05:21:14.191" v="157940"/>
          <ac:grpSpMkLst>
            <pc:docMk/>
            <pc:sldMk cId="1676416836" sldId="403"/>
            <ac:grpSpMk id="50" creationId="{8ED9E0B7-9F1C-5EFF-8D2B-B2C16B4749F1}"/>
          </ac:grpSpMkLst>
        </pc:grpChg>
        <pc:grpChg chg="add mod ord">
          <ac:chgData name="Muchahary, Frankle" userId="0f2bf491-0617-4378-90b8-89af8fa381b9" providerId="ADAL" clId="{90877F19-00D2-4A00-8128-E78E36266C9A}" dt="2023-11-07T05:54:48.134" v="158254" actId="1076"/>
          <ac:grpSpMkLst>
            <pc:docMk/>
            <pc:sldMk cId="1676416836" sldId="403"/>
            <ac:grpSpMk id="54" creationId="{69997186-9C83-D23E-B4B1-542D0E61056A}"/>
          </ac:grpSpMkLst>
        </pc:grpChg>
        <pc:grpChg chg="add mod">
          <ac:chgData name="Muchahary, Frankle" userId="0f2bf491-0617-4378-90b8-89af8fa381b9" providerId="ADAL" clId="{90877F19-00D2-4A00-8128-E78E36266C9A}" dt="2023-11-07T05:57:00.584" v="158294" actId="1076"/>
          <ac:grpSpMkLst>
            <pc:docMk/>
            <pc:sldMk cId="1676416836" sldId="403"/>
            <ac:grpSpMk id="63" creationId="{A58F5B73-8F1C-1C8B-CD01-7637CF07255E}"/>
          </ac:grpSpMkLst>
        </pc:grpChg>
        <pc:grpChg chg="add del mod">
          <ac:chgData name="Muchahary, Frankle" userId="0f2bf491-0617-4378-90b8-89af8fa381b9" providerId="ADAL" clId="{90877F19-00D2-4A00-8128-E78E36266C9A}" dt="2023-11-07T05:57:06.616" v="158295" actId="21"/>
          <ac:grpSpMkLst>
            <pc:docMk/>
            <pc:sldMk cId="1676416836" sldId="403"/>
            <ac:grpSpMk id="2050" creationId="{9E7FEC39-D534-1BDD-A53B-79C1C3C1769B}"/>
          </ac:grpSpMkLst>
        </pc:grpChg>
        <pc:grpChg chg="mod topLvl">
          <ac:chgData name="Muchahary, Frankle" userId="0f2bf491-0617-4378-90b8-89af8fa381b9" providerId="ADAL" clId="{90877F19-00D2-4A00-8128-E78E36266C9A}" dt="2023-11-07T05:57:06.616" v="158295" actId="21"/>
          <ac:grpSpMkLst>
            <pc:docMk/>
            <pc:sldMk cId="1676416836" sldId="403"/>
            <ac:grpSpMk id="2051" creationId="{A89037FD-D620-7898-F131-9B8178178EE7}"/>
          </ac:grpSpMkLst>
        </pc:grpChg>
        <pc:grpChg chg="del mod ord">
          <ac:chgData name="Muchahary, Frankle" userId="0f2bf491-0617-4378-90b8-89af8fa381b9" providerId="ADAL" clId="{90877F19-00D2-4A00-8128-E78E36266C9A}" dt="2023-11-07T05:20:05.369" v="157910" actId="478"/>
          <ac:grpSpMkLst>
            <pc:docMk/>
            <pc:sldMk cId="1676416836" sldId="403"/>
            <ac:grpSpMk id="2080" creationId="{CD773379-F553-ACB9-9A23-4076E1B759BD}"/>
          </ac:grpSpMkLst>
        </pc:grpChg>
        <pc:grpChg chg="del mod ord">
          <ac:chgData name="Muchahary, Frankle" userId="0f2bf491-0617-4378-90b8-89af8fa381b9" providerId="ADAL" clId="{90877F19-00D2-4A00-8128-E78E36266C9A}" dt="2023-11-07T05:18:27.059" v="157880" actId="478"/>
          <ac:grpSpMkLst>
            <pc:docMk/>
            <pc:sldMk cId="1676416836" sldId="403"/>
            <ac:grpSpMk id="2081" creationId="{391E3654-F033-0533-C591-44DCB59B060B}"/>
          </ac:grpSpMkLst>
        </pc:grpChg>
        <pc:grpChg chg="del mod">
          <ac:chgData name="Muchahary, Frankle" userId="0f2bf491-0617-4378-90b8-89af8fa381b9" providerId="ADAL" clId="{90877F19-00D2-4A00-8128-E78E36266C9A}" dt="2023-11-07T05:55:08.764" v="158262" actId="478"/>
          <ac:grpSpMkLst>
            <pc:docMk/>
            <pc:sldMk cId="1676416836" sldId="403"/>
            <ac:grpSpMk id="2082" creationId="{C30BF5D7-48D0-12D4-ECED-32563CB8896A}"/>
          </ac:grpSpMkLst>
        </pc:grpChg>
        <pc:grpChg chg="del mod ord">
          <ac:chgData name="Muchahary, Frankle" userId="0f2bf491-0617-4378-90b8-89af8fa381b9" providerId="ADAL" clId="{90877F19-00D2-4A00-8128-E78E36266C9A}" dt="2023-11-07T05:20:04.475" v="157909" actId="478"/>
          <ac:grpSpMkLst>
            <pc:docMk/>
            <pc:sldMk cId="1676416836" sldId="403"/>
            <ac:grpSpMk id="2087" creationId="{A84864D5-6DBF-DF78-F6FD-ED8FA1FE1F97}"/>
          </ac:grpSpMkLst>
        </pc:grpChg>
        <pc:graphicFrameChg chg="mod">
          <ac:chgData name="Muchahary, Frankle" userId="0f2bf491-0617-4378-90b8-89af8fa381b9" providerId="ADAL" clId="{90877F19-00D2-4A00-8128-E78E36266C9A}" dt="2023-11-07T05:35:43.587" v="158139"/>
          <ac:graphicFrameMkLst>
            <pc:docMk/>
            <pc:sldMk cId="1676416836" sldId="403"/>
            <ac:graphicFrameMk id="14" creationId="{17A90CED-A26D-EE3C-D1E0-6B7BEBBD1632}"/>
          </ac:graphicFrameMkLst>
        </pc:graphicFrameChg>
        <pc:picChg chg="mod">
          <ac:chgData name="Muchahary, Frankle" userId="0f2bf491-0617-4378-90b8-89af8fa381b9" providerId="ADAL" clId="{90877F19-00D2-4A00-8128-E78E36266C9A}" dt="2023-11-07T05:54:48.134" v="158254" actId="1076"/>
          <ac:picMkLst>
            <pc:docMk/>
            <pc:sldMk cId="1676416836" sldId="403"/>
            <ac:picMk id="5" creationId="{409B9686-D075-E54F-5DD6-0DBF88164CAB}"/>
          </ac:picMkLst>
        </pc:picChg>
        <pc:picChg chg="del mod topLvl">
          <ac:chgData name="Muchahary, Frankle" userId="0f2bf491-0617-4378-90b8-89af8fa381b9" providerId="ADAL" clId="{90877F19-00D2-4A00-8128-E78E36266C9A}" dt="2023-11-07T05:18:03.683" v="157876" actId="478"/>
          <ac:picMkLst>
            <pc:docMk/>
            <pc:sldMk cId="1676416836" sldId="403"/>
            <ac:picMk id="19" creationId="{D5C48987-4570-5202-3642-334F22F5376F}"/>
          </ac:picMkLst>
        </pc:picChg>
        <pc:picChg chg="del mod topLvl">
          <ac:chgData name="Muchahary, Frankle" userId="0f2bf491-0617-4378-90b8-89af8fa381b9" providerId="ADAL" clId="{90877F19-00D2-4A00-8128-E78E36266C9A}" dt="2023-11-07T05:18:59.076" v="157888" actId="478"/>
          <ac:picMkLst>
            <pc:docMk/>
            <pc:sldMk cId="1676416836" sldId="403"/>
            <ac:picMk id="25" creationId="{3A678B0F-BF0D-40A6-6CCD-351BDF8D59EF}"/>
          </ac:picMkLst>
        </pc:picChg>
        <pc:picChg chg="del mod topLvl">
          <ac:chgData name="Muchahary, Frankle" userId="0f2bf491-0617-4378-90b8-89af8fa381b9" providerId="ADAL" clId="{90877F19-00D2-4A00-8128-E78E36266C9A}" dt="2023-11-07T05:19:25.292" v="157897" actId="478"/>
          <ac:picMkLst>
            <pc:docMk/>
            <pc:sldMk cId="1676416836" sldId="403"/>
            <ac:picMk id="30" creationId="{EB66D940-BF2C-FF93-5891-E4E94716D980}"/>
          </ac:picMkLst>
        </pc:picChg>
        <pc:picChg chg="add del mod ord">
          <ac:chgData name="Muchahary, Frankle" userId="0f2bf491-0617-4378-90b8-89af8fa381b9" providerId="ADAL" clId="{90877F19-00D2-4A00-8128-E78E36266C9A}" dt="2023-11-07T05:18:28.771" v="157882" actId="478"/>
          <ac:picMkLst>
            <pc:docMk/>
            <pc:sldMk cId="1676416836" sldId="403"/>
            <ac:picMk id="34" creationId="{AE7AE638-C882-8D09-07C0-87236A8C6CD0}"/>
          </ac:picMkLst>
        </pc:picChg>
        <pc:picChg chg="add mod">
          <ac:chgData name="Muchahary, Frankle" userId="0f2bf491-0617-4378-90b8-89af8fa381b9" providerId="ADAL" clId="{90877F19-00D2-4A00-8128-E78E36266C9A}" dt="2023-11-07T05:41:15.472" v="158177" actId="1076"/>
          <ac:picMkLst>
            <pc:docMk/>
            <pc:sldMk cId="1676416836" sldId="403"/>
            <ac:picMk id="37" creationId="{351B6C0A-2AE1-2618-7B31-E997ADE5EC18}"/>
          </ac:picMkLst>
        </pc:picChg>
        <pc:picChg chg="add mod">
          <ac:chgData name="Muchahary, Frankle" userId="0f2bf491-0617-4378-90b8-89af8fa381b9" providerId="ADAL" clId="{90877F19-00D2-4A00-8128-E78E36266C9A}" dt="2023-11-07T05:55:59.643" v="158283" actId="165"/>
          <ac:picMkLst>
            <pc:docMk/>
            <pc:sldMk cId="1676416836" sldId="403"/>
            <ac:picMk id="41" creationId="{8B3A5A47-BFF1-A5AA-4584-D2722E55041A}"/>
          </ac:picMkLst>
        </pc:picChg>
        <pc:picChg chg="mod ord">
          <ac:chgData name="Muchahary, Frankle" userId="0f2bf491-0617-4378-90b8-89af8fa381b9" providerId="ADAL" clId="{90877F19-00D2-4A00-8128-E78E36266C9A}" dt="2023-11-07T05:54:48.134" v="158254" actId="1076"/>
          <ac:picMkLst>
            <pc:docMk/>
            <pc:sldMk cId="1676416836" sldId="403"/>
            <ac:picMk id="48" creationId="{ACCA28F1-6D81-CA84-A80B-B8B8664F086F}"/>
          </ac:picMkLst>
        </pc:picChg>
        <pc:picChg chg="mod">
          <ac:chgData name="Muchahary, Frankle" userId="0f2bf491-0617-4378-90b8-89af8fa381b9" providerId="ADAL" clId="{90877F19-00D2-4A00-8128-E78E36266C9A}" dt="2023-11-07T05:53:11.969" v="158234" actId="14100"/>
          <ac:picMkLst>
            <pc:docMk/>
            <pc:sldMk cId="1676416836" sldId="403"/>
            <ac:picMk id="58" creationId="{86ECD813-40B1-D4F2-54AA-05326AC0F5D7}"/>
          </ac:picMkLst>
        </pc:picChg>
        <pc:picChg chg="add del mod">
          <ac:chgData name="Muchahary, Frankle" userId="0f2bf491-0617-4378-90b8-89af8fa381b9" providerId="ADAL" clId="{90877F19-00D2-4A00-8128-E78E36266C9A}" dt="2023-11-07T05:35:21.496" v="158123"/>
          <ac:picMkLst>
            <pc:docMk/>
            <pc:sldMk cId="1676416836" sldId="403"/>
            <ac:picMk id="59" creationId="{C791BE3C-7211-1285-3254-AA099944FD9F}"/>
          </ac:picMkLst>
        </pc:picChg>
        <pc:picChg chg="add mod">
          <ac:chgData name="Muchahary, Frankle" userId="0f2bf491-0617-4378-90b8-89af8fa381b9" providerId="ADAL" clId="{90877F19-00D2-4A00-8128-E78E36266C9A}" dt="2023-11-07T05:54:48.134" v="158254" actId="1076"/>
          <ac:picMkLst>
            <pc:docMk/>
            <pc:sldMk cId="1676416836" sldId="403"/>
            <ac:picMk id="61" creationId="{79F23250-AAAE-E589-F85D-AEA2FE6EAA30}"/>
          </ac:picMkLst>
        </pc:picChg>
        <pc:picChg chg="del mod topLvl">
          <ac:chgData name="Muchahary, Frankle" userId="0f2bf491-0617-4378-90b8-89af8fa381b9" providerId="ADAL" clId="{90877F19-00D2-4A00-8128-E78E36266C9A}" dt="2023-11-07T05:57:06.616" v="158295" actId="21"/>
          <ac:picMkLst>
            <pc:docMk/>
            <pc:sldMk cId="1676416836" sldId="403"/>
            <ac:picMk id="2052" creationId="{A6567784-316E-3C94-F29E-E34E99FDEF76}"/>
          </ac:picMkLst>
        </pc:picChg>
        <pc:picChg chg="del mod ord">
          <ac:chgData name="Muchahary, Frankle" userId="0f2bf491-0617-4378-90b8-89af8fa381b9" providerId="ADAL" clId="{90877F19-00D2-4A00-8128-E78E36266C9A}" dt="2023-11-07T05:20:06.609" v="157911" actId="478"/>
          <ac:picMkLst>
            <pc:docMk/>
            <pc:sldMk cId="1676416836" sldId="403"/>
            <ac:picMk id="2084" creationId="{2D1CFEF8-6197-B2D6-1916-05656F40F9CE}"/>
          </ac:picMkLst>
        </pc:picChg>
        <pc:picChg chg="del mod ord">
          <ac:chgData name="Muchahary, Frankle" userId="0f2bf491-0617-4378-90b8-89af8fa381b9" providerId="ADAL" clId="{90877F19-00D2-4A00-8128-E78E36266C9A}" dt="2023-11-07T05:20:07.430" v="157912" actId="478"/>
          <ac:picMkLst>
            <pc:docMk/>
            <pc:sldMk cId="1676416836" sldId="403"/>
            <ac:picMk id="2086" creationId="{4F465E23-6014-5C02-213E-137D97367121}"/>
          </ac:picMkLst>
        </pc:picChg>
        <pc:picChg chg="del mod">
          <ac:chgData name="Muchahary, Frankle" userId="0f2bf491-0617-4378-90b8-89af8fa381b9" providerId="ADAL" clId="{90877F19-00D2-4A00-8128-E78E36266C9A}" dt="2023-11-07T05:54:24.239" v="158249" actId="478"/>
          <ac:picMkLst>
            <pc:docMk/>
            <pc:sldMk cId="1676416836" sldId="403"/>
            <ac:picMk id="2091" creationId="{620B5D12-90F4-DBB4-839D-427790C55218}"/>
          </ac:picMkLst>
        </pc:picChg>
        <pc:picChg chg="add del mod ord">
          <ac:chgData name="Muchahary, Frankle" userId="0f2bf491-0617-4378-90b8-89af8fa381b9" providerId="ADAL" clId="{90877F19-00D2-4A00-8128-E78E36266C9A}" dt="2023-11-07T05:19:12.379" v="157892" actId="164"/>
          <ac:picMkLst>
            <pc:docMk/>
            <pc:sldMk cId="1676416836" sldId="403"/>
            <ac:picMk id="2093" creationId="{964A6324-08FB-E545-975E-E0891C30456D}"/>
          </ac:picMkLst>
        </pc:picChg>
        <pc:cxnChg chg="add mod">
          <ac:chgData name="Muchahary, Frankle" userId="0f2bf491-0617-4378-90b8-89af8fa381b9" providerId="ADAL" clId="{90877F19-00D2-4A00-8128-E78E36266C9A}" dt="2023-11-07T05:18:44.567" v="157886" actId="14100"/>
          <ac:cxnSpMkLst>
            <pc:docMk/>
            <pc:sldMk cId="1676416836" sldId="403"/>
            <ac:cxnSpMk id="4" creationId="{2778E14E-A08E-5D02-432C-84B3429212E2}"/>
          </ac:cxnSpMkLst>
        </pc:cxnChg>
        <pc:cxnChg chg="add mod">
          <ac:chgData name="Muchahary, Frankle" userId="0f2bf491-0617-4378-90b8-89af8fa381b9" providerId="ADAL" clId="{90877F19-00D2-4A00-8128-E78E36266C9A}" dt="2023-11-07T05:18:49.139" v="157887" actId="14100"/>
          <ac:cxnSpMkLst>
            <pc:docMk/>
            <pc:sldMk cId="1676416836" sldId="403"/>
            <ac:cxnSpMk id="8" creationId="{BA06F952-9B4D-2BBA-1B8D-A1F9B1267EFF}"/>
          </ac:cxnSpMkLst>
        </pc:cxnChg>
        <pc:cxnChg chg="add mod ord">
          <ac:chgData name="Muchahary, Frankle" userId="0f2bf491-0617-4378-90b8-89af8fa381b9" providerId="ADAL" clId="{90877F19-00D2-4A00-8128-E78E36266C9A}" dt="2023-11-07T05:20:21.440" v="157915" actId="164"/>
          <ac:cxnSpMkLst>
            <pc:docMk/>
            <pc:sldMk cId="1676416836" sldId="403"/>
            <ac:cxnSpMk id="13" creationId="{1FE31480-580A-603D-9A14-1A951817E2CE}"/>
          </ac:cxnSpMkLst>
        </pc:cxnChg>
        <pc:cxnChg chg="add del mod">
          <ac:chgData name="Muchahary, Frankle" userId="0f2bf491-0617-4378-90b8-89af8fa381b9" providerId="ADAL" clId="{90877F19-00D2-4A00-8128-E78E36266C9A}" dt="2023-11-07T05:21:14.191" v="157940"/>
          <ac:cxnSpMkLst>
            <pc:docMk/>
            <pc:sldMk cId="1676416836" sldId="403"/>
            <ac:cxnSpMk id="53" creationId="{FF1A6A61-8A4B-4AEA-CE58-59EA1D0906F6}"/>
          </ac:cxnSpMkLst>
        </pc:cxnChg>
        <pc:cxnChg chg="mod">
          <ac:chgData name="Muchahary, Frankle" userId="0f2bf491-0617-4378-90b8-89af8fa381b9" providerId="ADAL" clId="{90877F19-00D2-4A00-8128-E78E36266C9A}" dt="2023-11-07T05:32:20.416" v="158117"/>
          <ac:cxnSpMkLst>
            <pc:docMk/>
            <pc:sldMk cId="1676416836" sldId="403"/>
            <ac:cxnSpMk id="57" creationId="{796F2366-ED5A-D3B2-78B6-67659C3A7CCF}"/>
          </ac:cxnSpMkLst>
        </pc:cxnChg>
      </pc:sldChg>
      <pc:sldChg chg="addSp delSp modSp add 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3829815887" sldId="404"/>
        </pc:sldMkLst>
        <pc:spChg chg="mod ord">
          <ac:chgData name="Muchahary, Frankle" userId="0f2bf491-0617-4378-90b8-89af8fa381b9" providerId="ADAL" clId="{90877F19-00D2-4A00-8128-E78E36266C9A}" dt="2023-11-07T05:30:14.930" v="158077"/>
          <ac:spMkLst>
            <pc:docMk/>
            <pc:sldMk cId="3829815887" sldId="404"/>
            <ac:spMk id="2" creationId="{496E9A5C-AC7F-EC41-F04F-873EB24E5193}"/>
          </ac:spMkLst>
        </pc:spChg>
        <pc:spChg chg="mod">
          <ac:chgData name="Muchahary, Frankle" userId="0f2bf491-0617-4378-90b8-89af8fa381b9" providerId="ADAL" clId="{90877F19-00D2-4A00-8128-E78E36266C9A}" dt="2023-11-07T05:27:44.842" v="158004" actId="14100"/>
          <ac:spMkLst>
            <pc:docMk/>
            <pc:sldMk cId="3829815887" sldId="404"/>
            <ac:spMk id="5" creationId="{28653D5C-86B1-FD15-2D88-21879800C3BD}"/>
          </ac:spMkLst>
        </pc:spChg>
        <pc:spChg chg="mod">
          <ac:chgData name="Muchahary, Frankle" userId="0f2bf491-0617-4378-90b8-89af8fa381b9" providerId="ADAL" clId="{90877F19-00D2-4A00-8128-E78E36266C9A}" dt="2023-11-07T05:21:22.503" v="157942"/>
          <ac:spMkLst>
            <pc:docMk/>
            <pc:sldMk cId="3829815887" sldId="404"/>
            <ac:spMk id="6" creationId="{7F81E626-B0CF-1B76-27E3-F5C58BB99719}"/>
          </ac:spMkLst>
        </pc:spChg>
        <pc:spChg chg="mod">
          <ac:chgData name="Muchahary, Frankle" userId="0f2bf491-0617-4378-90b8-89af8fa381b9" providerId="ADAL" clId="{90877F19-00D2-4A00-8128-E78E36266C9A}" dt="2023-11-07T05:24:24.271" v="157965"/>
          <ac:spMkLst>
            <pc:docMk/>
            <pc:sldMk cId="3829815887" sldId="404"/>
            <ac:spMk id="12" creationId="{AD136DA5-ED61-D582-49B7-DE42406E6A34}"/>
          </ac:spMkLst>
        </pc:spChg>
        <pc:spChg chg="mod">
          <ac:chgData name="Muchahary, Frankle" userId="0f2bf491-0617-4378-90b8-89af8fa381b9" providerId="ADAL" clId="{90877F19-00D2-4A00-8128-E78E36266C9A}" dt="2023-11-07T05:24:24.271" v="157965"/>
          <ac:spMkLst>
            <pc:docMk/>
            <pc:sldMk cId="3829815887" sldId="404"/>
            <ac:spMk id="15" creationId="{C188F0F9-85DE-B1A5-3DA3-8ABF8CA1CC18}"/>
          </ac:spMkLst>
        </pc:spChg>
        <pc:spChg chg="mod">
          <ac:chgData name="Muchahary, Frankle" userId="0f2bf491-0617-4378-90b8-89af8fa381b9" providerId="ADAL" clId="{90877F19-00D2-4A00-8128-E78E36266C9A}" dt="2023-11-07T05:22:17.220" v="157954" actId="207"/>
          <ac:spMkLst>
            <pc:docMk/>
            <pc:sldMk cId="3829815887" sldId="404"/>
            <ac:spMk id="20" creationId="{FFC6BC5E-2761-7813-30EA-A072FB1A5CD3}"/>
          </ac:spMkLst>
        </pc:spChg>
        <pc:spChg chg="mod">
          <ac:chgData name="Muchahary, Frankle" userId="0f2bf491-0617-4378-90b8-89af8fa381b9" providerId="ADAL" clId="{90877F19-00D2-4A00-8128-E78E36266C9A}" dt="2023-11-07T05:24:05.164" v="157963" actId="113"/>
          <ac:spMkLst>
            <pc:docMk/>
            <pc:sldMk cId="3829815887" sldId="404"/>
            <ac:spMk id="21" creationId="{0717FBFE-816D-37B4-5229-B2CF48335539}"/>
          </ac:spMkLst>
        </pc:spChg>
        <pc:spChg chg="add del mod ord">
          <ac:chgData name="Muchahary, Frankle" userId="0f2bf491-0617-4378-90b8-89af8fa381b9" providerId="ADAL" clId="{90877F19-00D2-4A00-8128-E78E36266C9A}" dt="2023-11-07T05:32:57.987" v="158121" actId="478"/>
          <ac:spMkLst>
            <pc:docMk/>
            <pc:sldMk cId="3829815887" sldId="404"/>
            <ac:spMk id="22" creationId="{766033AF-97D6-9F87-5C71-E63B4888577E}"/>
          </ac:spMkLst>
        </pc:spChg>
        <pc:spChg chg="mod">
          <ac:chgData name="Muchahary, Frankle" userId="0f2bf491-0617-4378-90b8-89af8fa381b9" providerId="ADAL" clId="{90877F19-00D2-4A00-8128-E78E36266C9A}" dt="2023-11-07T05:22:19.663" v="157955" actId="207"/>
          <ac:spMkLst>
            <pc:docMk/>
            <pc:sldMk cId="3829815887" sldId="404"/>
            <ac:spMk id="26" creationId="{C2DED236-4C3E-789C-A5FB-1654C9E6A42E}"/>
          </ac:spMkLst>
        </pc:spChg>
        <pc:spChg chg="mod">
          <ac:chgData name="Muchahary, Frankle" userId="0f2bf491-0617-4378-90b8-89af8fa381b9" providerId="ADAL" clId="{90877F19-00D2-4A00-8128-E78E36266C9A}" dt="2023-11-07T05:24:02.944" v="157962" actId="113"/>
          <ac:spMkLst>
            <pc:docMk/>
            <pc:sldMk cId="3829815887" sldId="404"/>
            <ac:spMk id="27" creationId="{168418A5-87C1-EED5-AA5B-9AA17B6FCA11}"/>
          </ac:spMkLst>
        </pc:spChg>
        <pc:spChg chg="mod">
          <ac:chgData name="Muchahary, Frankle" userId="0f2bf491-0617-4378-90b8-89af8fa381b9" providerId="ADAL" clId="{90877F19-00D2-4A00-8128-E78E36266C9A}" dt="2023-11-07T05:21:57.231" v="157949" actId="207"/>
          <ac:spMkLst>
            <pc:docMk/>
            <pc:sldMk cId="3829815887" sldId="404"/>
            <ac:spMk id="31" creationId="{54BFBA12-647A-DA90-C944-53956FE80295}"/>
          </ac:spMkLst>
        </pc:spChg>
        <pc:spChg chg="mod topLvl">
          <ac:chgData name="Muchahary, Frankle" userId="0f2bf491-0617-4378-90b8-89af8fa381b9" providerId="ADAL" clId="{90877F19-00D2-4A00-8128-E78E36266C9A}" dt="2023-11-07T05:30:41.240" v="158104" actId="165"/>
          <ac:spMkLst>
            <pc:docMk/>
            <pc:sldMk cId="3829815887" sldId="404"/>
            <ac:spMk id="42" creationId="{FF5405EF-0385-4531-CD03-80A937D58D50}"/>
          </ac:spMkLst>
        </pc:spChg>
        <pc:spChg chg="mod topLvl">
          <ac:chgData name="Muchahary, Frankle" userId="0f2bf491-0617-4378-90b8-89af8fa381b9" providerId="ADAL" clId="{90877F19-00D2-4A00-8128-E78E36266C9A}" dt="2023-11-07T05:32:08.775" v="158116" actId="164"/>
          <ac:spMkLst>
            <pc:docMk/>
            <pc:sldMk cId="3829815887" sldId="404"/>
            <ac:spMk id="44" creationId="{81DB3125-A394-4B4D-904A-55F29B8471D7}"/>
          </ac:spMkLst>
        </pc:spChg>
        <pc:spChg chg="mod ord">
          <ac:chgData name="Muchahary, Frankle" userId="0f2bf491-0617-4378-90b8-89af8fa381b9" providerId="ADAL" clId="{90877F19-00D2-4A00-8128-E78E36266C9A}" dt="2023-11-07T05:30:14.931" v="158079"/>
          <ac:spMkLst>
            <pc:docMk/>
            <pc:sldMk cId="3829815887" sldId="404"/>
            <ac:spMk id="49" creationId="{F1D47A37-4866-889D-071A-8073BA0335F2}"/>
          </ac:spMkLst>
        </pc:spChg>
        <pc:spChg chg="add mod">
          <ac:chgData name="Muchahary, Frankle" userId="0f2bf491-0617-4378-90b8-89af8fa381b9" providerId="ADAL" clId="{90877F19-00D2-4A00-8128-E78E36266C9A}" dt="2023-11-07T05:32:53.592" v="158120"/>
          <ac:spMkLst>
            <pc:docMk/>
            <pc:sldMk cId="3829815887" sldId="404"/>
            <ac:spMk id="50" creationId="{2893B067-941A-FFFB-D73A-4942E1CA46F0}"/>
          </ac:spMkLst>
        </pc:spChg>
        <pc:spChg chg="mod">
          <ac:chgData name="Muchahary, Frankle" userId="0f2bf491-0617-4378-90b8-89af8fa381b9" providerId="ADAL" clId="{90877F19-00D2-4A00-8128-E78E36266C9A}" dt="2023-11-07T05:24:07.887" v="157964" actId="113"/>
          <ac:spMkLst>
            <pc:docMk/>
            <pc:sldMk cId="3829815887" sldId="404"/>
            <ac:spMk id="2061" creationId="{9C01B2B9-5B45-E513-C3D7-08E1A155504A}"/>
          </ac:spMkLst>
        </pc:spChg>
        <pc:spChg chg="mod">
          <ac:chgData name="Muchahary, Frankle" userId="0f2bf491-0617-4378-90b8-89af8fa381b9" providerId="ADAL" clId="{90877F19-00D2-4A00-8128-E78E36266C9A}" dt="2023-11-07T05:22:14.966" v="157953" actId="207"/>
          <ac:spMkLst>
            <pc:docMk/>
            <pc:sldMk cId="3829815887" sldId="404"/>
            <ac:spMk id="2074" creationId="{0AA790BF-69C0-5516-03D3-11A89CBD879C}"/>
          </ac:spMkLst>
        </pc:spChg>
        <pc:grpChg chg="add mod ord">
          <ac:chgData name="Muchahary, Frankle" userId="0f2bf491-0617-4378-90b8-89af8fa381b9" providerId="ADAL" clId="{90877F19-00D2-4A00-8128-E78E36266C9A}" dt="2023-11-07T05:30:14.932" v="158083"/>
          <ac:grpSpMkLst>
            <pc:docMk/>
            <pc:sldMk cId="3829815887" sldId="404"/>
            <ac:grpSpMk id="3" creationId="{A27130B2-BC55-5AD2-81CC-3C5AB91203CC}"/>
          </ac:grpSpMkLst>
        </pc:grpChg>
        <pc:grpChg chg="add del mod">
          <ac:chgData name="Muchahary, Frankle" userId="0f2bf491-0617-4378-90b8-89af8fa381b9" providerId="ADAL" clId="{90877F19-00D2-4A00-8128-E78E36266C9A}" dt="2023-11-07T05:24:27.475" v="157971" actId="478"/>
          <ac:grpSpMkLst>
            <pc:docMk/>
            <pc:sldMk cId="3829815887" sldId="404"/>
            <ac:grpSpMk id="9" creationId="{C8943D6A-B49D-7ED5-379C-B79EC2D43204}"/>
          </ac:grpSpMkLst>
        </pc:grpChg>
        <pc:grpChg chg="mod topLvl">
          <ac:chgData name="Muchahary, Frankle" userId="0f2bf491-0617-4378-90b8-89af8fa381b9" providerId="ADAL" clId="{90877F19-00D2-4A00-8128-E78E36266C9A}" dt="2023-11-07T05:30:41.240" v="158104" actId="165"/>
          <ac:grpSpMkLst>
            <pc:docMk/>
            <pc:sldMk cId="3829815887" sldId="404"/>
            <ac:grpSpMk id="10" creationId="{144D78C9-F120-30E8-02D8-6481EE883060}"/>
          </ac:grpSpMkLst>
        </pc:grpChg>
        <pc:grpChg chg="add del mod">
          <ac:chgData name="Muchahary, Frankle" userId="0f2bf491-0617-4378-90b8-89af8fa381b9" providerId="ADAL" clId="{90877F19-00D2-4A00-8128-E78E36266C9A}" dt="2023-11-07T05:30:31.378" v="158099" actId="165"/>
          <ac:grpSpMkLst>
            <pc:docMk/>
            <pc:sldMk cId="3829815887" sldId="404"/>
            <ac:grpSpMk id="23" creationId="{7EF50D21-9954-1F8E-593D-26E597566689}"/>
          </ac:grpSpMkLst>
        </pc:grpChg>
        <pc:grpChg chg="add del mod">
          <ac:chgData name="Muchahary, Frankle" userId="0f2bf491-0617-4378-90b8-89af8fa381b9" providerId="ADAL" clId="{90877F19-00D2-4A00-8128-E78E36266C9A}" dt="2023-11-07T05:31:51.926" v="158115" actId="165"/>
          <ac:grpSpMkLst>
            <pc:docMk/>
            <pc:sldMk cId="3829815887" sldId="404"/>
            <ac:grpSpMk id="40" creationId="{06E12D68-90A7-4D32-8B44-BABCDC1C3B22}"/>
          </ac:grpSpMkLst>
        </pc:grpChg>
        <pc:grpChg chg="add del mod ord topLvl">
          <ac:chgData name="Muchahary, Frankle" userId="0f2bf491-0617-4378-90b8-89af8fa381b9" providerId="ADAL" clId="{90877F19-00D2-4A00-8128-E78E36266C9A}" dt="2023-11-07T05:30:41.240" v="158104" actId="165"/>
          <ac:grpSpMkLst>
            <pc:docMk/>
            <pc:sldMk cId="3829815887" sldId="404"/>
            <ac:grpSpMk id="45" creationId="{2F6D3322-3064-EEA0-F627-1005ED6ABF29}"/>
          </ac:grpSpMkLst>
        </pc:grpChg>
        <pc:grpChg chg="del">
          <ac:chgData name="Muchahary, Frankle" userId="0f2bf491-0617-4378-90b8-89af8fa381b9" providerId="ADAL" clId="{90877F19-00D2-4A00-8128-E78E36266C9A}" dt="2023-11-07T05:30:02.338" v="158051" actId="165"/>
          <ac:grpSpMkLst>
            <pc:docMk/>
            <pc:sldMk cId="3829815887" sldId="404"/>
            <ac:grpSpMk id="46" creationId="{B6336DEF-79A3-933C-7F98-233345156D70}"/>
          </ac:grpSpMkLst>
        </pc:grpChg>
        <pc:grpChg chg="mod ord">
          <ac:chgData name="Muchahary, Frankle" userId="0f2bf491-0617-4378-90b8-89af8fa381b9" providerId="ADAL" clId="{90877F19-00D2-4A00-8128-E78E36266C9A}" dt="2023-11-07T05:30:14.931" v="158081"/>
          <ac:grpSpMkLst>
            <pc:docMk/>
            <pc:sldMk cId="3829815887" sldId="404"/>
            <ac:grpSpMk id="47" creationId="{9C606329-985C-CB01-0886-E720A5BFB9F8}"/>
          </ac:grpSpMkLst>
        </pc:grpChg>
        <pc:grpChg chg="add mod">
          <ac:chgData name="Muchahary, Frankle" userId="0f2bf491-0617-4378-90b8-89af8fa381b9" providerId="ADAL" clId="{90877F19-00D2-4A00-8128-E78E36266C9A}" dt="2023-11-07T05:32:08.775" v="158116" actId="164"/>
          <ac:grpSpMkLst>
            <pc:docMk/>
            <pc:sldMk cId="3829815887" sldId="404"/>
            <ac:grpSpMk id="48" creationId="{B9789C95-EFC7-7981-B663-89993A143CA5}"/>
          </ac:grpSpMkLst>
        </pc:grpChg>
        <pc:graphicFrameChg chg="mod">
          <ac:chgData name="Muchahary, Frankle" userId="0f2bf491-0617-4378-90b8-89af8fa381b9" providerId="ADAL" clId="{90877F19-00D2-4A00-8128-E78E36266C9A}" dt="2023-11-07T05:30:14.939" v="158095"/>
          <ac:graphicFrameMkLst>
            <pc:docMk/>
            <pc:sldMk cId="3829815887" sldId="404"/>
            <ac:graphicFrameMk id="14" creationId="{17A90CED-A26D-EE3C-D1E0-6B7BEBBD1632}"/>
          </ac:graphicFrameMkLst>
        </pc:graphicFrameChg>
        <pc:cxnChg chg="mod">
          <ac:chgData name="Muchahary, Frankle" userId="0f2bf491-0617-4378-90b8-89af8fa381b9" providerId="ADAL" clId="{90877F19-00D2-4A00-8128-E78E36266C9A}" dt="2023-11-07T05:30:41.240" v="158104" actId="165"/>
          <ac:cxnSpMkLst>
            <pc:docMk/>
            <pc:sldMk cId="3829815887" sldId="404"/>
            <ac:cxnSpMk id="4" creationId="{2778E14E-A08E-5D02-432C-84B3429212E2}"/>
          </ac:cxnSpMkLst>
        </pc:cxnChg>
        <pc:cxnChg chg="add mod ord">
          <ac:chgData name="Muchahary, Frankle" userId="0f2bf491-0617-4378-90b8-89af8fa381b9" providerId="ADAL" clId="{90877F19-00D2-4A00-8128-E78E36266C9A}" dt="2023-11-07T05:30:14.934" v="158085"/>
          <ac:cxnSpMkLst>
            <pc:docMk/>
            <pc:sldMk cId="3829815887" sldId="404"/>
            <ac:cxnSpMk id="7" creationId="{092A07B3-9282-7B71-BC17-C6EE188B19C1}"/>
          </ac:cxnSpMkLst>
        </pc:cxnChg>
        <pc:cxnChg chg="mod">
          <ac:chgData name="Muchahary, Frankle" userId="0f2bf491-0617-4378-90b8-89af8fa381b9" providerId="ADAL" clId="{90877F19-00D2-4A00-8128-E78E36266C9A}" dt="2023-11-07T05:30:41.240" v="158104" actId="165"/>
          <ac:cxnSpMkLst>
            <pc:docMk/>
            <pc:sldMk cId="3829815887" sldId="404"/>
            <ac:cxnSpMk id="8" creationId="{BA06F952-9B4D-2BBA-1B8D-A1F9B1267EFF}"/>
          </ac:cxnSpMkLst>
        </pc:cxnChg>
        <pc:cxnChg chg="mod ord topLvl">
          <ac:chgData name="Muchahary, Frankle" userId="0f2bf491-0617-4378-90b8-89af8fa381b9" providerId="ADAL" clId="{90877F19-00D2-4A00-8128-E78E36266C9A}" dt="2023-11-07T05:30:14.929" v="158075"/>
          <ac:cxnSpMkLst>
            <pc:docMk/>
            <pc:sldMk cId="3829815887" sldId="404"/>
            <ac:cxnSpMk id="13" creationId="{1FE31480-580A-603D-9A14-1A951817E2CE}"/>
          </ac:cxnSpMkLst>
        </pc:cxnChg>
        <pc:cxnChg chg="add del mod">
          <ac:chgData name="Muchahary, Frankle" userId="0f2bf491-0617-4378-90b8-89af8fa381b9" providerId="ADAL" clId="{90877F19-00D2-4A00-8128-E78E36266C9A}" dt="2023-11-07T05:24:27.475" v="157971" actId="478"/>
          <ac:cxnSpMkLst>
            <pc:docMk/>
            <pc:sldMk cId="3829815887" sldId="404"/>
            <ac:cxnSpMk id="16" creationId="{455FC43E-A952-3C70-DA79-AEFA78D1BEC8}"/>
          </ac:cxnSpMkLst>
        </pc:cxnChg>
        <pc:cxnChg chg="add del mod ord topLvl">
          <ac:chgData name="Muchahary, Frankle" userId="0f2bf491-0617-4378-90b8-89af8fa381b9" providerId="ADAL" clId="{90877F19-00D2-4A00-8128-E78E36266C9A}" dt="2023-11-07T05:32:08.775" v="158116" actId="164"/>
          <ac:cxnSpMkLst>
            <pc:docMk/>
            <pc:sldMk cId="3829815887" sldId="404"/>
            <ac:cxnSpMk id="19" creationId="{3AB06477-1C77-A093-3852-949CDBE3671F}"/>
          </ac:cxnSpMkLst>
        </pc:cxnChg>
      </pc:sldChg>
      <pc:sldChg chg="mod modTransition modShow">
        <pc:chgData name="Muchahary, Frankle" userId="0f2bf491-0617-4378-90b8-89af8fa381b9" providerId="ADAL" clId="{90877F19-00D2-4A00-8128-E78E36266C9A}" dt="2023-11-08T07:29:11.774" v="171304"/>
        <pc:sldMkLst>
          <pc:docMk/>
          <pc:sldMk cId="2074881652" sldId="405"/>
        </pc:sldMkLst>
      </pc:sldChg>
      <pc:sldChg chg="addSp delSp modSp add 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317629947" sldId="406"/>
        </pc:sldMkLst>
        <pc:spChg chg="del topLvl">
          <ac:chgData name="Muchahary, Frankle" userId="0f2bf491-0617-4378-90b8-89af8fa381b9" providerId="ADAL" clId="{90877F19-00D2-4A00-8128-E78E36266C9A}" dt="2023-11-07T05:25:51.919" v="157989" actId="478"/>
          <ac:spMkLst>
            <pc:docMk/>
            <pc:sldMk cId="317629947" sldId="406"/>
            <ac:spMk id="5" creationId="{28653D5C-86B1-FD15-2D88-21879800C3BD}"/>
          </ac:spMkLst>
        </pc:spChg>
        <pc:spChg chg="topLvl">
          <ac:chgData name="Muchahary, Frankle" userId="0f2bf491-0617-4378-90b8-89af8fa381b9" providerId="ADAL" clId="{90877F19-00D2-4A00-8128-E78E36266C9A}" dt="2023-11-07T05:25:51.919" v="157989" actId="478"/>
          <ac:spMkLst>
            <pc:docMk/>
            <pc:sldMk cId="317629947" sldId="406"/>
            <ac:spMk id="6" creationId="{7F81E626-B0CF-1B76-27E3-F5C58BB99719}"/>
          </ac:spMkLst>
        </pc:spChg>
        <pc:spChg chg="mod">
          <ac:chgData name="Muchahary, Frankle" userId="0f2bf491-0617-4378-90b8-89af8fa381b9" providerId="ADAL" clId="{90877F19-00D2-4A00-8128-E78E36266C9A}" dt="2023-11-07T05:26:15.864" v="157997" actId="1036"/>
          <ac:spMkLst>
            <pc:docMk/>
            <pc:sldMk cId="317629947" sldId="406"/>
            <ac:spMk id="12" creationId="{929EC25C-502D-8967-AEF1-F353E03CD1F4}"/>
          </ac:spMkLst>
        </pc:spChg>
        <pc:spChg chg="mod">
          <ac:chgData name="Muchahary, Frankle" userId="0f2bf491-0617-4378-90b8-89af8fa381b9" providerId="ADAL" clId="{90877F19-00D2-4A00-8128-E78E36266C9A}" dt="2023-11-07T05:24:43.948" v="157974"/>
          <ac:spMkLst>
            <pc:docMk/>
            <pc:sldMk cId="317629947" sldId="406"/>
            <ac:spMk id="15" creationId="{FD4B50B5-3C4C-C08B-4393-B448090F3C98}"/>
          </ac:spMkLst>
        </pc:spChg>
        <pc:spChg chg="mod">
          <ac:chgData name="Muchahary, Frankle" userId="0f2bf491-0617-4378-90b8-89af8fa381b9" providerId="ADAL" clId="{90877F19-00D2-4A00-8128-E78E36266C9A}" dt="2023-11-07T05:26:26.364" v="157998" actId="207"/>
          <ac:spMkLst>
            <pc:docMk/>
            <pc:sldMk cId="317629947" sldId="406"/>
            <ac:spMk id="26" creationId="{C2DED236-4C3E-789C-A5FB-1654C9E6A42E}"/>
          </ac:spMkLst>
        </pc:spChg>
        <pc:spChg chg="mod">
          <ac:chgData name="Muchahary, Frankle" userId="0f2bf491-0617-4378-90b8-89af8fa381b9" providerId="ADAL" clId="{90877F19-00D2-4A00-8128-E78E36266C9A}" dt="2023-11-07T05:26:10.736" v="157993" actId="207"/>
          <ac:spMkLst>
            <pc:docMk/>
            <pc:sldMk cId="317629947" sldId="406"/>
            <ac:spMk id="27" creationId="{168418A5-87C1-EED5-AA5B-9AA17B6FCA11}"/>
          </ac:spMkLst>
        </pc:spChg>
        <pc:spChg chg="add del mod">
          <ac:chgData name="Muchahary, Frankle" userId="0f2bf491-0617-4378-90b8-89af8fa381b9" providerId="ADAL" clId="{90877F19-00D2-4A00-8128-E78E36266C9A}" dt="2023-11-07T05:32:52.426" v="158119"/>
          <ac:spMkLst>
            <pc:docMk/>
            <pc:sldMk cId="317629947" sldId="406"/>
            <ac:spMk id="30" creationId="{204DA684-6692-574C-091A-30EE7D27F35A}"/>
          </ac:spMkLst>
        </pc:spChg>
        <pc:spChg chg="mod">
          <ac:chgData name="Muchahary, Frankle" userId="0f2bf491-0617-4378-90b8-89af8fa381b9" providerId="ADAL" clId="{90877F19-00D2-4A00-8128-E78E36266C9A}" dt="2023-11-07T05:25:55.639" v="157991" actId="207"/>
          <ac:spMkLst>
            <pc:docMk/>
            <pc:sldMk cId="317629947" sldId="406"/>
            <ac:spMk id="31" creationId="{54BFBA12-647A-DA90-C944-53956FE80295}"/>
          </ac:spMkLst>
        </pc:spChg>
        <pc:spChg chg="mod">
          <ac:chgData name="Muchahary, Frankle" userId="0f2bf491-0617-4378-90b8-89af8fa381b9" providerId="ADAL" clId="{90877F19-00D2-4A00-8128-E78E36266C9A}" dt="2023-11-07T05:26:00.428" v="157992" actId="207"/>
          <ac:spMkLst>
            <pc:docMk/>
            <pc:sldMk cId="317629947" sldId="406"/>
            <ac:spMk id="32" creationId="{616A5068-F948-B076-56AC-7FF40C98D23B}"/>
          </ac:spMkLst>
        </pc:spChg>
        <pc:spChg chg="del">
          <ac:chgData name="Muchahary, Frankle" userId="0f2bf491-0617-4378-90b8-89af8fa381b9" providerId="ADAL" clId="{90877F19-00D2-4A00-8128-E78E36266C9A}" dt="2023-11-07T05:24:42.699" v="157973" actId="478"/>
          <ac:spMkLst>
            <pc:docMk/>
            <pc:sldMk cId="317629947" sldId="406"/>
            <ac:spMk id="49" creationId="{F1D47A37-4866-889D-071A-8073BA0335F2}"/>
          </ac:spMkLst>
        </pc:spChg>
        <pc:grpChg chg="del">
          <ac:chgData name="Muchahary, Frankle" userId="0f2bf491-0617-4378-90b8-89af8fa381b9" providerId="ADAL" clId="{90877F19-00D2-4A00-8128-E78E36266C9A}" dt="2023-11-07T05:25:51.919" v="157989" actId="478"/>
          <ac:grpSpMkLst>
            <pc:docMk/>
            <pc:sldMk cId="317629947" sldId="406"/>
            <ac:grpSpMk id="3" creationId="{A27130B2-BC55-5AD2-81CC-3C5AB91203CC}"/>
          </ac:grpSpMkLst>
        </pc:grpChg>
        <pc:grpChg chg="add mod">
          <ac:chgData name="Muchahary, Frankle" userId="0f2bf491-0617-4378-90b8-89af8fa381b9" providerId="ADAL" clId="{90877F19-00D2-4A00-8128-E78E36266C9A}" dt="2023-11-07T05:25:43.961" v="157987" actId="1076"/>
          <ac:grpSpMkLst>
            <pc:docMk/>
            <pc:sldMk cId="317629947" sldId="406"/>
            <ac:grpSpMk id="9" creationId="{96D267D8-32D8-F8F5-5CFC-A3E41CD50D62}"/>
          </ac:grpSpMkLst>
        </pc:grpChg>
        <pc:cxnChg chg="del">
          <ac:chgData name="Muchahary, Frankle" userId="0f2bf491-0617-4378-90b8-89af8fa381b9" providerId="ADAL" clId="{90877F19-00D2-4A00-8128-E78E36266C9A}" dt="2023-11-07T05:25:53.118" v="157990" actId="478"/>
          <ac:cxnSpMkLst>
            <pc:docMk/>
            <pc:sldMk cId="317629947" sldId="406"/>
            <ac:cxnSpMk id="7" creationId="{092A07B3-9282-7B71-BC17-C6EE188B19C1}"/>
          </ac:cxnSpMkLst>
        </pc:cxnChg>
        <pc:cxnChg chg="add mod">
          <ac:chgData name="Muchahary, Frankle" userId="0f2bf491-0617-4378-90b8-89af8fa381b9" providerId="ADAL" clId="{90877F19-00D2-4A00-8128-E78E36266C9A}" dt="2023-11-07T05:26:15.864" v="157997" actId="1036"/>
          <ac:cxnSpMkLst>
            <pc:docMk/>
            <pc:sldMk cId="317629947" sldId="406"/>
            <ac:cxnSpMk id="16" creationId="{5159BA16-3133-7C22-FF2B-167EA0677044}"/>
          </ac:cxnSpMkLst>
        </pc:cxnChg>
      </pc:sldChg>
      <pc:sldChg chg="mod modClrScheme chgLayout">
        <pc:chgData name="Muchahary, Frankle" userId="0f2bf491-0617-4378-90b8-89af8fa381b9" providerId="ADAL" clId="{90877F19-00D2-4A00-8128-E78E36266C9A}" dt="2023-11-08T05:54:07.220" v="163414" actId="700"/>
        <pc:sldMkLst>
          <pc:docMk/>
          <pc:sldMk cId="445720472" sldId="407"/>
        </pc:sldMkLst>
      </pc:sldChg>
      <pc:sldChg chg="delSp modSp add del mod modTransition modShow">
        <pc:chgData name="Muchahary, Frankle" userId="0f2bf491-0617-4378-90b8-89af8fa381b9" providerId="ADAL" clId="{90877F19-00D2-4A00-8128-E78E36266C9A}" dt="2023-11-07T06:57:59.160" v="158391"/>
        <pc:sldMkLst>
          <pc:docMk/>
          <pc:sldMk cId="814683666" sldId="408"/>
        </pc:sldMkLst>
        <pc:spChg chg="mod ord">
          <ac:chgData name="Muchahary, Frankle" userId="0f2bf491-0617-4378-90b8-89af8fa381b9" providerId="ADAL" clId="{90877F19-00D2-4A00-8128-E78E36266C9A}" dt="2023-11-07T06:01:02.938" v="158351"/>
          <ac:spMkLst>
            <pc:docMk/>
            <pc:sldMk cId="814683666" sldId="408"/>
            <ac:spMk id="2" creationId="{496E9A5C-AC7F-EC41-F04F-873EB24E5193}"/>
          </ac:spMkLst>
        </pc:spChg>
        <pc:spChg chg="del mod topLvl">
          <ac:chgData name="Muchahary, Frankle" userId="0f2bf491-0617-4378-90b8-89af8fa381b9" providerId="ADAL" clId="{90877F19-00D2-4A00-8128-E78E36266C9A}" dt="2023-11-07T05:58:44.120" v="158316" actId="478"/>
          <ac:spMkLst>
            <pc:docMk/>
            <pc:sldMk cId="814683666" sldId="408"/>
            <ac:spMk id="5" creationId="{28653D5C-86B1-FD15-2D88-21879800C3BD}"/>
          </ac:spMkLst>
        </pc:spChg>
        <pc:spChg chg="mod ord topLvl">
          <ac:chgData name="Muchahary, Frankle" userId="0f2bf491-0617-4378-90b8-89af8fa381b9" providerId="ADAL" clId="{90877F19-00D2-4A00-8128-E78E36266C9A}" dt="2023-11-07T06:01:02.944" v="158369"/>
          <ac:spMkLst>
            <pc:docMk/>
            <pc:sldMk cId="814683666" sldId="408"/>
            <ac:spMk id="6" creationId="{7F81E626-B0CF-1B76-27E3-F5C58BB99719}"/>
          </ac:spMkLst>
        </pc:spChg>
        <pc:spChg chg="mod ord topLvl">
          <ac:chgData name="Muchahary, Frankle" userId="0f2bf491-0617-4378-90b8-89af8fa381b9" providerId="ADAL" clId="{90877F19-00D2-4A00-8128-E78E36266C9A}" dt="2023-11-07T06:01:10.851" v="158387" actId="207"/>
          <ac:spMkLst>
            <pc:docMk/>
            <pc:sldMk cId="814683666" sldId="408"/>
            <ac:spMk id="15" creationId="{54BFBA12-647A-DA90-C944-53956FE80295}"/>
          </ac:spMkLst>
        </pc:spChg>
        <pc:spChg chg="mod ord topLvl">
          <ac:chgData name="Muchahary, Frankle" userId="0f2bf491-0617-4378-90b8-89af8fa381b9" providerId="ADAL" clId="{90877F19-00D2-4A00-8128-E78E36266C9A}" dt="2023-11-07T06:01:02.943" v="158365"/>
          <ac:spMkLst>
            <pc:docMk/>
            <pc:sldMk cId="814683666" sldId="408"/>
            <ac:spMk id="16" creationId="{616A5068-F948-B076-56AC-7FF40C98D23B}"/>
          </ac:spMkLst>
        </pc:spChg>
        <pc:spChg chg="mod">
          <ac:chgData name="Muchahary, Frankle" userId="0f2bf491-0617-4378-90b8-89af8fa381b9" providerId="ADAL" clId="{90877F19-00D2-4A00-8128-E78E36266C9A}" dt="2023-11-07T05:57:48.700" v="158298" actId="165"/>
          <ac:spMkLst>
            <pc:docMk/>
            <pc:sldMk cId="814683666" sldId="408"/>
            <ac:spMk id="20" creationId="{FFC6BC5E-2761-7813-30EA-A072FB1A5CD3}"/>
          </ac:spMkLst>
        </pc:spChg>
        <pc:spChg chg="mod">
          <ac:chgData name="Muchahary, Frankle" userId="0f2bf491-0617-4378-90b8-89af8fa381b9" providerId="ADAL" clId="{90877F19-00D2-4A00-8128-E78E36266C9A}" dt="2023-11-07T05:57:58.672" v="158302" actId="1076"/>
          <ac:spMkLst>
            <pc:docMk/>
            <pc:sldMk cId="814683666" sldId="408"/>
            <ac:spMk id="21" creationId="{0717FBFE-816D-37B4-5229-B2CF48335539}"/>
          </ac:spMkLst>
        </pc:spChg>
        <pc:spChg chg="mod topLvl">
          <ac:chgData name="Muchahary, Frankle" userId="0f2bf491-0617-4378-90b8-89af8fa381b9" providerId="ADAL" clId="{90877F19-00D2-4A00-8128-E78E36266C9A}" dt="2023-11-07T06:00:13.711" v="158332" actId="207"/>
          <ac:spMkLst>
            <pc:docMk/>
            <pc:sldMk cId="814683666" sldId="408"/>
            <ac:spMk id="26" creationId="{C2DED236-4C3E-789C-A5FB-1654C9E6A42E}"/>
          </ac:spMkLst>
        </pc:spChg>
        <pc:spChg chg="mod topLvl">
          <ac:chgData name="Muchahary, Frankle" userId="0f2bf491-0617-4378-90b8-89af8fa381b9" providerId="ADAL" clId="{90877F19-00D2-4A00-8128-E78E36266C9A}" dt="2023-11-07T05:59:38.838" v="158328" actId="165"/>
          <ac:spMkLst>
            <pc:docMk/>
            <pc:sldMk cId="814683666" sldId="408"/>
            <ac:spMk id="27" creationId="{168418A5-87C1-EED5-AA5B-9AA17B6FCA11}"/>
          </ac:spMkLst>
        </pc:spChg>
        <pc:spChg chg="mod">
          <ac:chgData name="Muchahary, Frankle" userId="0f2bf491-0617-4378-90b8-89af8fa381b9" providerId="ADAL" clId="{90877F19-00D2-4A00-8128-E78E36266C9A}" dt="2023-11-07T06:00:36.788" v="158335" actId="1076"/>
          <ac:spMkLst>
            <pc:docMk/>
            <pc:sldMk cId="814683666" sldId="408"/>
            <ac:spMk id="31" creationId="{54BFBA12-647A-DA90-C944-53956FE80295}"/>
          </ac:spMkLst>
        </pc:spChg>
        <pc:spChg chg="mod">
          <ac:chgData name="Muchahary, Frankle" userId="0f2bf491-0617-4378-90b8-89af8fa381b9" providerId="ADAL" clId="{90877F19-00D2-4A00-8128-E78E36266C9A}" dt="2023-11-07T05:58:40.010" v="158314" actId="1076"/>
          <ac:spMkLst>
            <pc:docMk/>
            <pc:sldMk cId="814683666" sldId="408"/>
            <ac:spMk id="32" creationId="{616A5068-F948-B076-56AC-7FF40C98D23B}"/>
          </ac:spMkLst>
        </pc:spChg>
        <pc:spChg chg="mod ord">
          <ac:chgData name="Muchahary, Frankle" userId="0f2bf491-0617-4378-90b8-89af8fa381b9" providerId="ADAL" clId="{90877F19-00D2-4A00-8128-E78E36266C9A}" dt="2023-11-07T06:01:02.942" v="158361"/>
          <ac:spMkLst>
            <pc:docMk/>
            <pc:sldMk cId="814683666" sldId="408"/>
            <ac:spMk id="34" creationId="{C2DED236-4C3E-789C-A5FB-1654C9E6A42E}"/>
          </ac:spMkLst>
        </pc:spChg>
        <pc:spChg chg="mod ord">
          <ac:chgData name="Muchahary, Frankle" userId="0f2bf491-0617-4378-90b8-89af8fa381b9" providerId="ADAL" clId="{90877F19-00D2-4A00-8128-E78E36266C9A}" dt="2023-11-07T06:01:02.943" v="158363"/>
          <ac:spMkLst>
            <pc:docMk/>
            <pc:sldMk cId="814683666" sldId="408"/>
            <ac:spMk id="35" creationId="{168418A5-87C1-EED5-AA5B-9AA17B6FCA11}"/>
          </ac:spMkLst>
        </pc:spChg>
        <pc:spChg chg="mod ord">
          <ac:chgData name="Muchahary, Frankle" userId="0f2bf491-0617-4378-90b8-89af8fa381b9" providerId="ADAL" clId="{90877F19-00D2-4A00-8128-E78E36266C9A}" dt="2023-11-07T06:01:02.945" v="158371"/>
          <ac:spMkLst>
            <pc:docMk/>
            <pc:sldMk cId="814683666" sldId="408"/>
            <ac:spMk id="42" creationId="{FF5405EF-0385-4531-CD03-80A937D58D50}"/>
          </ac:spMkLst>
        </pc:spChg>
        <pc:spChg chg="mod ord topLvl">
          <ac:chgData name="Muchahary, Frankle" userId="0f2bf491-0617-4378-90b8-89af8fa381b9" providerId="ADAL" clId="{90877F19-00D2-4A00-8128-E78E36266C9A}" dt="2023-11-07T06:01:02.946" v="158377"/>
          <ac:spMkLst>
            <pc:docMk/>
            <pc:sldMk cId="814683666" sldId="408"/>
            <ac:spMk id="44" creationId="{81DB3125-A394-4B4D-904A-55F29B8471D7}"/>
          </ac:spMkLst>
        </pc:spChg>
        <pc:spChg chg="mod ord">
          <ac:chgData name="Muchahary, Frankle" userId="0f2bf491-0617-4378-90b8-89af8fa381b9" providerId="ADAL" clId="{90877F19-00D2-4A00-8128-E78E36266C9A}" dt="2023-11-07T06:01:02.939" v="158353"/>
          <ac:spMkLst>
            <pc:docMk/>
            <pc:sldMk cId="814683666" sldId="408"/>
            <ac:spMk id="49" creationId="{F1D47A37-4866-889D-071A-8073BA0335F2}"/>
          </ac:spMkLst>
        </pc:spChg>
        <pc:spChg chg="mod ord">
          <ac:chgData name="Muchahary, Frankle" userId="0f2bf491-0617-4378-90b8-89af8fa381b9" providerId="ADAL" clId="{90877F19-00D2-4A00-8128-E78E36266C9A}" dt="2023-11-07T06:01:02.947" v="158381"/>
          <ac:spMkLst>
            <pc:docMk/>
            <pc:sldMk cId="814683666" sldId="408"/>
            <ac:spMk id="50" creationId="{2893B067-941A-FFFB-D73A-4942E1CA46F0}"/>
          </ac:spMkLst>
        </pc:spChg>
        <pc:spChg chg="mod">
          <ac:chgData name="Muchahary, Frankle" userId="0f2bf491-0617-4378-90b8-89af8fa381b9" providerId="ADAL" clId="{90877F19-00D2-4A00-8128-E78E36266C9A}" dt="2023-11-07T05:57:56.194" v="158301" actId="1076"/>
          <ac:spMkLst>
            <pc:docMk/>
            <pc:sldMk cId="814683666" sldId="408"/>
            <ac:spMk id="2061" creationId="{9C01B2B9-5B45-E513-C3D7-08E1A155504A}"/>
          </ac:spMkLst>
        </pc:spChg>
        <pc:spChg chg="mod">
          <ac:chgData name="Muchahary, Frankle" userId="0f2bf491-0617-4378-90b8-89af8fa381b9" providerId="ADAL" clId="{90877F19-00D2-4A00-8128-E78E36266C9A}" dt="2023-11-07T05:57:48.700" v="158298" actId="165"/>
          <ac:spMkLst>
            <pc:docMk/>
            <pc:sldMk cId="814683666" sldId="408"/>
            <ac:spMk id="2074" creationId="{0AA790BF-69C0-5516-03D3-11A89CBD879C}"/>
          </ac:spMkLst>
        </pc:spChg>
        <pc:grpChg chg="del">
          <ac:chgData name="Muchahary, Frankle" userId="0f2bf491-0617-4378-90b8-89af8fa381b9" providerId="ADAL" clId="{90877F19-00D2-4A00-8128-E78E36266C9A}" dt="2023-11-07T05:57:48.700" v="158298" actId="165"/>
          <ac:grpSpMkLst>
            <pc:docMk/>
            <pc:sldMk cId="814683666" sldId="408"/>
            <ac:grpSpMk id="3" creationId="{A27130B2-BC55-5AD2-81CC-3C5AB91203CC}"/>
          </ac:grpSpMkLst>
        </pc:grpChg>
        <pc:grpChg chg="del mod topLvl">
          <ac:chgData name="Muchahary, Frankle" userId="0f2bf491-0617-4378-90b8-89af8fa381b9" providerId="ADAL" clId="{90877F19-00D2-4A00-8128-E78E36266C9A}" dt="2023-11-07T06:00:50.274" v="158341" actId="165"/>
          <ac:grpSpMkLst>
            <pc:docMk/>
            <pc:sldMk cId="814683666" sldId="408"/>
            <ac:grpSpMk id="9" creationId="{19D4A219-DD9F-F763-2D49-B4413F3BB374}"/>
          </ac:grpSpMkLst>
        </pc:grpChg>
        <pc:grpChg chg="del">
          <ac:chgData name="Muchahary, Frankle" userId="0f2bf491-0617-4378-90b8-89af8fa381b9" providerId="ADAL" clId="{90877F19-00D2-4A00-8128-E78E36266C9A}" dt="2023-11-07T05:57:48.700" v="158298" actId="165"/>
          <ac:grpSpMkLst>
            <pc:docMk/>
            <pc:sldMk cId="814683666" sldId="408"/>
            <ac:grpSpMk id="10" creationId="{144D78C9-F120-30E8-02D8-6481EE883060}"/>
          </ac:grpSpMkLst>
        </pc:grpChg>
        <pc:grpChg chg="del mod topLvl">
          <ac:chgData name="Muchahary, Frankle" userId="0f2bf491-0617-4378-90b8-89af8fa381b9" providerId="ADAL" clId="{90877F19-00D2-4A00-8128-E78E36266C9A}" dt="2023-11-07T05:57:51.821" v="158299" actId="478"/>
          <ac:grpSpMkLst>
            <pc:docMk/>
            <pc:sldMk cId="814683666" sldId="408"/>
            <ac:grpSpMk id="11" creationId="{F282B5F0-DE1D-F2D6-7F07-77F17C730A6E}"/>
          </ac:grpSpMkLst>
        </pc:grpChg>
        <pc:grpChg chg="mod topLvl">
          <ac:chgData name="Muchahary, Frankle" userId="0f2bf491-0617-4378-90b8-89af8fa381b9" providerId="ADAL" clId="{90877F19-00D2-4A00-8128-E78E36266C9A}" dt="2023-11-07T05:58:01.356" v="158304" actId="478"/>
          <ac:grpSpMkLst>
            <pc:docMk/>
            <pc:sldMk cId="814683666" sldId="408"/>
            <ac:grpSpMk id="18" creationId="{88E367B2-4DDB-379C-AA0C-56238F21038A}"/>
          </ac:grpSpMkLst>
        </pc:grpChg>
        <pc:grpChg chg="del mod">
          <ac:chgData name="Muchahary, Frankle" userId="0f2bf491-0617-4378-90b8-89af8fa381b9" providerId="ADAL" clId="{90877F19-00D2-4A00-8128-E78E36266C9A}" dt="2023-11-07T06:00:45.170" v="158338" actId="165"/>
          <ac:grpSpMkLst>
            <pc:docMk/>
            <pc:sldMk cId="814683666" sldId="408"/>
            <ac:grpSpMk id="22" creationId="{DBA23413-2EAE-DA65-5313-2DD31D043EB1}"/>
          </ac:grpSpMkLst>
        </pc:grpChg>
        <pc:grpChg chg="del mod topLvl">
          <ac:chgData name="Muchahary, Frankle" userId="0f2bf491-0617-4378-90b8-89af8fa381b9" providerId="ADAL" clId="{90877F19-00D2-4A00-8128-E78E36266C9A}" dt="2023-11-07T05:59:38.838" v="158328" actId="165"/>
          <ac:grpSpMkLst>
            <pc:docMk/>
            <pc:sldMk cId="814683666" sldId="408"/>
            <ac:grpSpMk id="24" creationId="{C07B6C8E-173A-A0A6-8301-286AF59C0003}"/>
          </ac:grpSpMkLst>
        </pc:grpChg>
        <pc:grpChg chg="mod ord">
          <ac:chgData name="Muchahary, Frankle" userId="0f2bf491-0617-4378-90b8-89af8fa381b9" providerId="ADAL" clId="{90877F19-00D2-4A00-8128-E78E36266C9A}" dt="2023-11-07T06:01:02.941" v="158359"/>
          <ac:grpSpMkLst>
            <pc:docMk/>
            <pc:sldMk cId="814683666" sldId="408"/>
            <ac:grpSpMk id="25" creationId="{88E367B2-4DDB-379C-AA0C-56238F21038A}"/>
          </ac:grpSpMkLst>
        </pc:grpChg>
        <pc:grpChg chg="mod">
          <ac:chgData name="Muchahary, Frankle" userId="0f2bf491-0617-4378-90b8-89af8fa381b9" providerId="ADAL" clId="{90877F19-00D2-4A00-8128-E78E36266C9A}" dt="2023-11-07T05:57:48.700" v="158298" actId="165"/>
          <ac:grpSpMkLst>
            <pc:docMk/>
            <pc:sldMk cId="814683666" sldId="408"/>
            <ac:grpSpMk id="29" creationId="{19D4A219-DD9F-F763-2D49-B4413F3BB374}"/>
          </ac:grpSpMkLst>
        </pc:grpChg>
        <pc:grpChg chg="mod ord">
          <ac:chgData name="Muchahary, Frankle" userId="0f2bf491-0617-4378-90b8-89af8fa381b9" providerId="ADAL" clId="{90877F19-00D2-4A00-8128-E78E36266C9A}" dt="2023-11-07T06:01:02.941" v="158357"/>
          <ac:grpSpMkLst>
            <pc:docMk/>
            <pc:sldMk cId="814683666" sldId="408"/>
            <ac:grpSpMk id="33" creationId="{C30BF5D7-48D0-12D4-ECED-32563CB8896A}"/>
          </ac:grpSpMkLst>
        </pc:grpChg>
        <pc:grpChg chg="del mod topLvl">
          <ac:chgData name="Muchahary, Frankle" userId="0f2bf491-0617-4378-90b8-89af8fa381b9" providerId="ADAL" clId="{90877F19-00D2-4A00-8128-E78E36266C9A}" dt="2023-11-07T05:58:06.384" v="158306" actId="478"/>
          <ac:grpSpMkLst>
            <pc:docMk/>
            <pc:sldMk cId="814683666" sldId="408"/>
            <ac:grpSpMk id="38" creationId="{57FCA0B4-2C13-139D-A476-86229B32CC31}"/>
          </ac:grpSpMkLst>
        </pc:grpChg>
        <pc:grpChg chg="del mod topLvl">
          <ac:chgData name="Muchahary, Frankle" userId="0f2bf491-0617-4378-90b8-89af8fa381b9" providerId="ADAL" clId="{90877F19-00D2-4A00-8128-E78E36266C9A}" dt="2023-11-07T05:58:01.356" v="158304" actId="478"/>
          <ac:grpSpMkLst>
            <pc:docMk/>
            <pc:sldMk cId="814683666" sldId="408"/>
            <ac:grpSpMk id="39" creationId="{C4115468-B1AE-0916-1865-19D04BF4AD93}"/>
          </ac:grpSpMkLst>
        </pc:grpChg>
        <pc:grpChg chg="mod topLvl">
          <ac:chgData name="Muchahary, Frankle" userId="0f2bf491-0617-4378-90b8-89af8fa381b9" providerId="ADAL" clId="{90877F19-00D2-4A00-8128-E78E36266C9A}" dt="2023-11-07T05:57:48.700" v="158298" actId="165"/>
          <ac:grpSpMkLst>
            <pc:docMk/>
            <pc:sldMk cId="814683666" sldId="408"/>
            <ac:grpSpMk id="43" creationId="{DBA23413-2EAE-DA65-5313-2DD31D043EB1}"/>
          </ac:grpSpMkLst>
        </pc:grpChg>
        <pc:grpChg chg="del mod ord">
          <ac:chgData name="Muchahary, Frankle" userId="0f2bf491-0617-4378-90b8-89af8fa381b9" providerId="ADAL" clId="{90877F19-00D2-4A00-8128-E78E36266C9A}" dt="2023-11-07T06:01:02.940" v="158355"/>
          <ac:grpSpMkLst>
            <pc:docMk/>
            <pc:sldMk cId="814683666" sldId="408"/>
            <ac:grpSpMk id="47" creationId="{9C606329-985C-CB01-0886-E720A5BFB9F8}"/>
          </ac:grpSpMkLst>
        </pc:grpChg>
        <pc:grpChg chg="del">
          <ac:chgData name="Muchahary, Frankle" userId="0f2bf491-0617-4378-90b8-89af8fa381b9" providerId="ADAL" clId="{90877F19-00D2-4A00-8128-E78E36266C9A}" dt="2023-11-07T05:57:48.700" v="158298" actId="165"/>
          <ac:grpSpMkLst>
            <pc:docMk/>
            <pc:sldMk cId="814683666" sldId="408"/>
            <ac:grpSpMk id="48" creationId="{B9789C95-EFC7-7981-B663-89993A143CA5}"/>
          </ac:grpSpMkLst>
        </pc:grpChg>
        <pc:grpChg chg="mod topLvl">
          <ac:chgData name="Muchahary, Frankle" userId="0f2bf491-0617-4378-90b8-89af8fa381b9" providerId="ADAL" clId="{90877F19-00D2-4A00-8128-E78E36266C9A}" dt="2023-11-07T05:57:51.821" v="158299" actId="478"/>
          <ac:grpSpMkLst>
            <pc:docMk/>
            <pc:sldMk cId="814683666" sldId="408"/>
            <ac:grpSpMk id="2082" creationId="{C30BF5D7-48D0-12D4-ECED-32563CB8896A}"/>
          </ac:grpSpMkLst>
        </pc:grpChg>
        <pc:graphicFrameChg chg="mod">
          <ac:chgData name="Muchahary, Frankle" userId="0f2bf491-0617-4378-90b8-89af8fa381b9" providerId="ADAL" clId="{90877F19-00D2-4A00-8128-E78E36266C9A}" dt="2023-11-07T06:01:02.951" v="158385"/>
          <ac:graphicFrameMkLst>
            <pc:docMk/>
            <pc:sldMk cId="814683666" sldId="408"/>
            <ac:graphicFrameMk id="14" creationId="{17A90CED-A26D-EE3C-D1E0-6B7BEBBD1632}"/>
          </ac:graphicFrameMkLst>
        </pc:graphicFrameChg>
        <pc:picChg chg="mod ord topLvl">
          <ac:chgData name="Muchahary, Frankle" userId="0f2bf491-0617-4378-90b8-89af8fa381b9" providerId="ADAL" clId="{90877F19-00D2-4A00-8128-E78E36266C9A}" dt="2023-11-07T06:01:02.944" v="158367"/>
          <ac:picMkLst>
            <pc:docMk/>
            <pc:sldMk cId="814683666" sldId="408"/>
            <ac:picMk id="17" creationId="{8B3A5A47-BFF1-A5AA-4584-D2722E55041A}"/>
          </ac:picMkLst>
        </pc:picChg>
        <pc:picChg chg="del mod topLvl">
          <ac:chgData name="Muchahary, Frankle" userId="0f2bf491-0617-4378-90b8-89af8fa381b9" providerId="ADAL" clId="{90877F19-00D2-4A00-8128-E78E36266C9A}" dt="2023-11-07T05:58:06.384" v="158306" actId="478"/>
          <ac:picMkLst>
            <pc:docMk/>
            <pc:sldMk cId="814683666" sldId="408"/>
            <ac:picMk id="37" creationId="{351B6C0A-2AE1-2618-7B31-E997ADE5EC18}"/>
          </ac:picMkLst>
        </pc:picChg>
        <pc:picChg chg="mod">
          <ac:chgData name="Muchahary, Frankle" userId="0f2bf491-0617-4378-90b8-89af8fa381b9" providerId="ADAL" clId="{90877F19-00D2-4A00-8128-E78E36266C9A}" dt="2023-11-07T06:01:07.560" v="158386" actId="1076"/>
          <ac:picMkLst>
            <pc:docMk/>
            <pc:sldMk cId="814683666" sldId="408"/>
            <ac:picMk id="41" creationId="{8B3A5A47-BFF1-A5AA-4584-D2722E55041A}"/>
          </ac:picMkLst>
        </pc:picChg>
        <pc:picChg chg="del mod topLvl">
          <ac:chgData name="Muchahary, Frankle" userId="0f2bf491-0617-4378-90b8-89af8fa381b9" providerId="ADAL" clId="{90877F19-00D2-4A00-8128-E78E36266C9A}" dt="2023-11-07T05:57:51.821" v="158299" actId="478"/>
          <ac:picMkLst>
            <pc:docMk/>
            <pc:sldMk cId="814683666" sldId="408"/>
            <ac:picMk id="2091" creationId="{620B5D12-90F4-DBB4-839D-427790C55218}"/>
          </ac:picMkLst>
        </pc:picChg>
        <pc:picChg chg="del mod topLvl">
          <ac:chgData name="Muchahary, Frankle" userId="0f2bf491-0617-4378-90b8-89af8fa381b9" providerId="ADAL" clId="{90877F19-00D2-4A00-8128-E78E36266C9A}" dt="2023-11-07T06:01:19.218" v="158388" actId="1076"/>
          <ac:picMkLst>
            <pc:docMk/>
            <pc:sldMk cId="814683666" sldId="408"/>
            <ac:picMk id="2093" creationId="{964A6324-08FB-E545-975E-E0891C30456D}"/>
          </ac:picMkLst>
        </pc:picChg>
        <pc:cxnChg chg="mod ord topLvl">
          <ac:chgData name="Muchahary, Frankle" userId="0f2bf491-0617-4378-90b8-89af8fa381b9" providerId="ADAL" clId="{90877F19-00D2-4A00-8128-E78E36266C9A}" dt="2023-11-07T06:01:02.945" v="158373"/>
          <ac:cxnSpMkLst>
            <pc:docMk/>
            <pc:sldMk cId="814683666" sldId="408"/>
            <ac:cxnSpMk id="4" creationId="{2778E14E-A08E-5D02-432C-84B3429212E2}"/>
          </ac:cxnSpMkLst>
        </pc:cxnChg>
        <pc:cxnChg chg="del">
          <ac:chgData name="Muchahary, Frankle" userId="0f2bf491-0617-4378-90b8-89af8fa381b9" providerId="ADAL" clId="{90877F19-00D2-4A00-8128-E78E36266C9A}" dt="2023-11-07T05:58:42.469" v="158315" actId="478"/>
          <ac:cxnSpMkLst>
            <pc:docMk/>
            <pc:sldMk cId="814683666" sldId="408"/>
            <ac:cxnSpMk id="7" creationId="{092A07B3-9282-7B71-BC17-C6EE188B19C1}"/>
          </ac:cxnSpMkLst>
        </pc:cxnChg>
        <pc:cxnChg chg="mod ord topLvl">
          <ac:chgData name="Muchahary, Frankle" userId="0f2bf491-0617-4378-90b8-89af8fa381b9" providerId="ADAL" clId="{90877F19-00D2-4A00-8128-E78E36266C9A}" dt="2023-11-07T06:01:02.946" v="158375"/>
          <ac:cxnSpMkLst>
            <pc:docMk/>
            <pc:sldMk cId="814683666" sldId="408"/>
            <ac:cxnSpMk id="8" creationId="{BA06F952-9B4D-2BBA-1B8D-A1F9B1267EFF}"/>
          </ac:cxnSpMkLst>
        </pc:cxnChg>
        <pc:cxnChg chg="mod ord">
          <ac:chgData name="Muchahary, Frankle" userId="0f2bf491-0617-4378-90b8-89af8fa381b9" providerId="ADAL" clId="{90877F19-00D2-4A00-8128-E78E36266C9A}" dt="2023-11-07T06:01:02.938" v="158349"/>
          <ac:cxnSpMkLst>
            <pc:docMk/>
            <pc:sldMk cId="814683666" sldId="408"/>
            <ac:cxnSpMk id="13" creationId="{1FE31480-580A-603D-9A14-1A951817E2CE}"/>
          </ac:cxnSpMkLst>
        </pc:cxnChg>
        <pc:cxnChg chg="mod ord topLvl">
          <ac:chgData name="Muchahary, Frankle" userId="0f2bf491-0617-4378-90b8-89af8fa381b9" providerId="ADAL" clId="{90877F19-00D2-4A00-8128-E78E36266C9A}" dt="2023-11-07T06:01:02.947" v="158379"/>
          <ac:cxnSpMkLst>
            <pc:docMk/>
            <pc:sldMk cId="814683666" sldId="408"/>
            <ac:cxnSpMk id="19" creationId="{3AB06477-1C77-A093-3852-949CDBE3671F}"/>
          </ac:cxnSpMkLst>
        </pc:cxnChg>
      </pc:sldChg>
      <pc:sldChg chg="modSp mod">
        <pc:chgData name="Muchahary, Frankle" userId="0f2bf491-0617-4378-90b8-89af8fa381b9" providerId="ADAL" clId="{90877F19-00D2-4A00-8128-E78E36266C9A}" dt="2023-11-08T06:39:40.014" v="166839" actId="20577"/>
        <pc:sldMkLst>
          <pc:docMk/>
          <pc:sldMk cId="2733503652" sldId="409"/>
        </pc:sldMkLst>
        <pc:spChg chg="mod">
          <ac:chgData name="Muchahary, Frankle" userId="0f2bf491-0617-4378-90b8-89af8fa381b9" providerId="ADAL" clId="{90877F19-00D2-4A00-8128-E78E36266C9A}" dt="2023-11-08T06:39:40.014" v="166839" actId="20577"/>
          <ac:spMkLst>
            <pc:docMk/>
            <pc:sldMk cId="2733503652" sldId="409"/>
            <ac:spMk id="23" creationId="{085062C9-E1EF-8DA2-9825-7C696F0759C6}"/>
          </ac:spMkLst>
        </pc:spChg>
      </pc:sldChg>
      <pc:sldChg chg="modSp mod">
        <pc:chgData name="Muchahary, Frankle" userId="0f2bf491-0617-4378-90b8-89af8fa381b9" providerId="ADAL" clId="{90877F19-00D2-4A00-8128-E78E36266C9A}" dt="2023-11-08T06:51:20.141" v="167648" actId="20577"/>
        <pc:sldMkLst>
          <pc:docMk/>
          <pc:sldMk cId="2813896743" sldId="410"/>
        </pc:sldMkLst>
        <pc:spChg chg="mod">
          <ac:chgData name="Muchahary, Frankle" userId="0f2bf491-0617-4378-90b8-89af8fa381b9" providerId="ADAL" clId="{90877F19-00D2-4A00-8128-E78E36266C9A}" dt="2023-11-08T06:51:20.141" v="167648" actId="20577"/>
          <ac:spMkLst>
            <pc:docMk/>
            <pc:sldMk cId="2813896743" sldId="410"/>
            <ac:spMk id="23" creationId="{085062C9-E1EF-8DA2-9825-7C696F0759C6}"/>
          </ac:spMkLst>
        </pc:spChg>
      </pc:sldChg>
      <pc:sldChg chg="modSp mod">
        <pc:chgData name="Muchahary, Frankle" userId="0f2bf491-0617-4378-90b8-89af8fa381b9" providerId="ADAL" clId="{90877F19-00D2-4A00-8128-E78E36266C9A}" dt="2023-11-08T06:42:02.321" v="167053" actId="20577"/>
        <pc:sldMkLst>
          <pc:docMk/>
          <pc:sldMk cId="502713536" sldId="411"/>
        </pc:sldMkLst>
        <pc:spChg chg="mod">
          <ac:chgData name="Muchahary, Frankle" userId="0f2bf491-0617-4378-90b8-89af8fa381b9" providerId="ADAL" clId="{90877F19-00D2-4A00-8128-E78E36266C9A}" dt="2023-11-08T06:42:02.321" v="167053" actId="20577"/>
          <ac:spMkLst>
            <pc:docMk/>
            <pc:sldMk cId="502713536" sldId="411"/>
            <ac:spMk id="23" creationId="{085062C9-E1EF-8DA2-9825-7C696F0759C6}"/>
          </ac:spMkLst>
        </pc:spChg>
      </pc:sldChg>
      <pc:sldChg chg="modSp mod modTransition modShow modNotesTx">
        <pc:chgData name="Muchahary, Frankle" userId="0f2bf491-0617-4378-90b8-89af8fa381b9" providerId="ADAL" clId="{90877F19-00D2-4A00-8128-E78E36266C9A}" dt="2023-11-08T18:43:30.156" v="179631"/>
        <pc:sldMkLst>
          <pc:docMk/>
          <pc:sldMk cId="3220425090" sldId="412"/>
        </pc:sldMkLst>
        <pc:spChg chg="mod">
          <ac:chgData name="Muchahary, Frankle" userId="0f2bf491-0617-4378-90b8-89af8fa381b9" providerId="ADAL" clId="{90877F19-00D2-4A00-8128-E78E36266C9A}" dt="2023-11-08T06:46:02.702" v="167248" actId="20577"/>
          <ac:spMkLst>
            <pc:docMk/>
            <pc:sldMk cId="3220425090" sldId="412"/>
            <ac:spMk id="1029" creationId="{51DF0374-DAD2-E08C-5B94-609E1D945169}"/>
          </ac:spMkLst>
        </pc:spChg>
        <pc:graphicFrameChg chg="mod">
          <ac:chgData name="Muchahary, Frankle" userId="0f2bf491-0617-4378-90b8-89af8fa381b9" providerId="ADAL" clId="{90877F19-00D2-4A00-8128-E78E36266C9A}" dt="2023-11-08T18:43:30.156" v="179631"/>
          <ac:graphicFrameMkLst>
            <pc:docMk/>
            <pc:sldMk cId="3220425090" sldId="412"/>
            <ac:graphicFrameMk id="38" creationId="{0648CCD8-7309-CC0A-A621-001F5A7CAF43}"/>
          </ac:graphicFrameMkLst>
        </pc:graphicFrameChg>
      </pc:sldChg>
      <pc:sldChg chg="addSp modSp add mod modClrScheme chgLayout">
        <pc:chgData name="Muchahary, Frankle" userId="0f2bf491-0617-4378-90b8-89af8fa381b9" providerId="ADAL" clId="{90877F19-00D2-4A00-8128-E78E36266C9A}" dt="2023-11-07T07:02:49.201" v="158538" actId="20577"/>
        <pc:sldMkLst>
          <pc:docMk/>
          <pc:sldMk cId="2232728838" sldId="414"/>
        </pc:sldMkLst>
        <pc:spChg chg="add mod">
          <ac:chgData name="Muchahary, Frankle" userId="0f2bf491-0617-4378-90b8-89af8fa381b9" providerId="ADAL" clId="{90877F19-00D2-4A00-8128-E78E36266C9A}" dt="2023-11-07T07:02:49.201" v="158538" actId="20577"/>
          <ac:spMkLst>
            <pc:docMk/>
            <pc:sldMk cId="2232728838" sldId="414"/>
            <ac:spMk id="3" creationId="{4BCB11A1-42B8-165C-2B8D-F05491584768}"/>
          </ac:spMkLst>
        </pc:spChg>
      </pc:sldChg>
      <pc:sldChg chg="modSp add mod modClrScheme chgLayout">
        <pc:chgData name="Muchahary, Frankle" userId="0f2bf491-0617-4378-90b8-89af8fa381b9" providerId="ADAL" clId="{90877F19-00D2-4A00-8128-E78E36266C9A}" dt="2023-11-07T07:05:45.578" v="158542"/>
        <pc:sldMkLst>
          <pc:docMk/>
          <pc:sldMk cId="3821290079" sldId="415"/>
        </pc:sldMkLst>
        <pc:graphicFrameChg chg="mod">
          <ac:chgData name="Muchahary, Frankle" userId="0f2bf491-0617-4378-90b8-89af8fa381b9" providerId="ADAL" clId="{90877F19-00D2-4A00-8128-E78E36266C9A}" dt="2023-11-07T07:05:45.578" v="158542"/>
          <ac:graphicFrameMkLst>
            <pc:docMk/>
            <pc:sldMk cId="3821290079" sldId="415"/>
            <ac:graphicFrameMk id="14" creationId="{17A90CED-A26D-EE3C-D1E0-6B7BEBBD1632}"/>
          </ac:graphicFrameMkLst>
        </pc:graphicFrameChg>
      </pc:sldChg>
      <pc:sldChg chg="modSp add mod modClrScheme chgLayout">
        <pc:chgData name="Muchahary, Frankle" userId="0f2bf491-0617-4378-90b8-89af8fa381b9" providerId="ADAL" clId="{90877F19-00D2-4A00-8128-E78E36266C9A}" dt="2023-11-07T07:07:45.227" v="158544"/>
        <pc:sldMkLst>
          <pc:docMk/>
          <pc:sldMk cId="744705912" sldId="416"/>
        </pc:sldMkLst>
        <pc:graphicFrameChg chg="mod">
          <ac:chgData name="Muchahary, Frankle" userId="0f2bf491-0617-4378-90b8-89af8fa381b9" providerId="ADAL" clId="{90877F19-00D2-4A00-8128-E78E36266C9A}" dt="2023-11-07T07:07:45.227" v="158544"/>
          <ac:graphicFrameMkLst>
            <pc:docMk/>
            <pc:sldMk cId="744705912" sldId="416"/>
            <ac:graphicFrameMk id="14" creationId="{17A90CED-A26D-EE3C-D1E0-6B7BEBBD1632}"/>
          </ac:graphicFrameMkLst>
        </pc:graphicFrameChg>
      </pc:sldChg>
      <pc:sldChg chg="modSp add mod modClrScheme chgLayout">
        <pc:chgData name="Muchahary, Frankle" userId="0f2bf491-0617-4378-90b8-89af8fa381b9" providerId="ADAL" clId="{90877F19-00D2-4A00-8128-E78E36266C9A}" dt="2023-11-07T07:11:22.938" v="158546"/>
        <pc:sldMkLst>
          <pc:docMk/>
          <pc:sldMk cId="4036631968" sldId="417"/>
        </pc:sldMkLst>
        <pc:graphicFrameChg chg="mod">
          <ac:chgData name="Muchahary, Frankle" userId="0f2bf491-0617-4378-90b8-89af8fa381b9" providerId="ADAL" clId="{90877F19-00D2-4A00-8128-E78E36266C9A}" dt="2023-11-07T07:11:22.938" v="158546"/>
          <ac:graphicFrameMkLst>
            <pc:docMk/>
            <pc:sldMk cId="4036631968" sldId="417"/>
            <ac:graphicFrameMk id="14" creationId="{17A90CED-A26D-EE3C-D1E0-6B7BEBBD1632}"/>
          </ac:graphicFrameMkLst>
        </pc:graphicFrameChg>
      </pc:sldChg>
      <pc:sldChg chg="modSp add mod modClrScheme chgLayout">
        <pc:chgData name="Muchahary, Frankle" userId="0f2bf491-0617-4378-90b8-89af8fa381b9" providerId="ADAL" clId="{90877F19-00D2-4A00-8128-E78E36266C9A}" dt="2023-11-07T07:15:19.264" v="158548"/>
        <pc:sldMkLst>
          <pc:docMk/>
          <pc:sldMk cId="1609032400" sldId="418"/>
        </pc:sldMkLst>
        <pc:graphicFrameChg chg="mod">
          <ac:chgData name="Muchahary, Frankle" userId="0f2bf491-0617-4378-90b8-89af8fa381b9" providerId="ADAL" clId="{90877F19-00D2-4A00-8128-E78E36266C9A}" dt="2023-11-07T07:15:19.264" v="158548"/>
          <ac:graphicFrameMkLst>
            <pc:docMk/>
            <pc:sldMk cId="1609032400" sldId="418"/>
            <ac:graphicFrameMk id="14" creationId="{17A90CED-A26D-EE3C-D1E0-6B7BEBBD1632}"/>
          </ac:graphicFrameMkLst>
        </pc:graphicFrameChg>
      </pc:sldChg>
      <pc:sldChg chg="modSp mod modClrScheme chgLayout modNotesTx">
        <pc:chgData name="Muchahary, Frankle" userId="0f2bf491-0617-4378-90b8-89af8fa381b9" providerId="ADAL" clId="{90877F19-00D2-4A00-8128-E78E36266C9A}" dt="2023-11-08T22:44:02.873" v="183543" actId="20577"/>
        <pc:sldMkLst>
          <pc:docMk/>
          <pc:sldMk cId="2538916289" sldId="420"/>
        </pc:sldMkLst>
        <pc:graphicFrameChg chg="mod">
          <ac:chgData name="Muchahary, Frankle" userId="0f2bf491-0617-4378-90b8-89af8fa381b9" providerId="ADAL" clId="{90877F19-00D2-4A00-8128-E78E36266C9A}" dt="2023-11-08T08:15:58.765" v="171334"/>
          <ac:graphicFrameMkLst>
            <pc:docMk/>
            <pc:sldMk cId="2538916289" sldId="420"/>
            <ac:graphicFrameMk id="16" creationId="{B4FC88EE-B108-1D0C-322C-A0E9684DBFB6}"/>
          </ac:graphicFrameMkLst>
        </pc:graphicFrameChg>
      </pc:sldChg>
      <pc:sldChg chg="modSp mod">
        <pc:chgData name="Muchahary, Frankle" userId="0f2bf491-0617-4378-90b8-89af8fa381b9" providerId="ADAL" clId="{90877F19-00D2-4A00-8128-E78E36266C9A}" dt="2023-11-08T06:28:31.615" v="165900" actId="1076"/>
        <pc:sldMkLst>
          <pc:docMk/>
          <pc:sldMk cId="120109526" sldId="421"/>
        </pc:sldMkLst>
        <pc:spChg chg="mod">
          <ac:chgData name="Muchahary, Frankle" userId="0f2bf491-0617-4378-90b8-89af8fa381b9" providerId="ADAL" clId="{90877F19-00D2-4A00-8128-E78E36266C9A}" dt="2023-11-08T06:28:31.615" v="165900" actId="1076"/>
          <ac:spMkLst>
            <pc:docMk/>
            <pc:sldMk cId="120109526" sldId="421"/>
            <ac:spMk id="2" creationId="{496E9A5C-AC7F-EC41-F04F-873EB24E5193}"/>
          </ac:spMkLst>
        </pc:spChg>
      </pc:sldChg>
      <pc:sldChg chg="addSp modSp mod">
        <pc:chgData name="Muchahary, Frankle" userId="0f2bf491-0617-4378-90b8-89af8fa381b9" providerId="ADAL" clId="{90877F19-00D2-4A00-8128-E78E36266C9A}" dt="2023-11-08T06:35:38.973" v="166456"/>
        <pc:sldMkLst>
          <pc:docMk/>
          <pc:sldMk cId="494903265" sldId="422"/>
        </pc:sldMkLst>
        <pc:spChg chg="mod">
          <ac:chgData name="Muchahary, Frankle" userId="0f2bf491-0617-4378-90b8-89af8fa381b9" providerId="ADAL" clId="{90877F19-00D2-4A00-8128-E78E36266C9A}" dt="2023-11-08T06:30:56.803" v="166169" actId="20577"/>
          <ac:spMkLst>
            <pc:docMk/>
            <pc:sldMk cId="494903265" sldId="422"/>
            <ac:spMk id="2" creationId="{496E9A5C-AC7F-EC41-F04F-873EB24E5193}"/>
          </ac:spMkLst>
        </pc:spChg>
        <pc:spChg chg="add mod">
          <ac:chgData name="Muchahary, Frankle" userId="0f2bf491-0617-4378-90b8-89af8fa381b9" providerId="ADAL" clId="{90877F19-00D2-4A00-8128-E78E36266C9A}" dt="2023-11-08T06:35:38.973" v="166456"/>
          <ac:spMkLst>
            <pc:docMk/>
            <pc:sldMk cId="494903265" sldId="422"/>
            <ac:spMk id="11" creationId="{F188EBED-8E01-D4F3-6712-B64B2274C760}"/>
          </ac:spMkLst>
        </pc:spChg>
      </pc:sldChg>
      <pc:sldChg chg="addSp modSp mod">
        <pc:chgData name="Muchahary, Frankle" userId="0f2bf491-0617-4378-90b8-89af8fa381b9" providerId="ADAL" clId="{90877F19-00D2-4A00-8128-E78E36266C9A}" dt="2023-11-08T06:35:50.196" v="166459"/>
        <pc:sldMkLst>
          <pc:docMk/>
          <pc:sldMk cId="3501371982" sldId="423"/>
        </pc:sldMkLst>
        <pc:spChg chg="mod">
          <ac:chgData name="Muchahary, Frankle" userId="0f2bf491-0617-4378-90b8-89af8fa381b9" providerId="ADAL" clId="{90877F19-00D2-4A00-8128-E78E36266C9A}" dt="2023-11-08T06:35:25.609" v="166455" actId="20577"/>
          <ac:spMkLst>
            <pc:docMk/>
            <pc:sldMk cId="3501371982" sldId="423"/>
            <ac:spMk id="2" creationId="{496E9A5C-AC7F-EC41-F04F-873EB24E5193}"/>
          </ac:spMkLst>
        </pc:spChg>
        <pc:spChg chg="add mod">
          <ac:chgData name="Muchahary, Frankle" userId="0f2bf491-0617-4378-90b8-89af8fa381b9" providerId="ADAL" clId="{90877F19-00D2-4A00-8128-E78E36266C9A}" dt="2023-11-08T06:35:50.196" v="166459"/>
          <ac:spMkLst>
            <pc:docMk/>
            <pc:sldMk cId="3501371982" sldId="423"/>
            <ac:spMk id="9" creationId="{0C13869A-7E96-B93A-B236-E5A012CF62AB}"/>
          </ac:spMkLst>
        </pc:spChg>
      </pc:sldChg>
      <pc:sldChg chg="addSp modSp mod">
        <pc:chgData name="Muchahary, Frankle" userId="0f2bf491-0617-4378-90b8-89af8fa381b9" providerId="ADAL" clId="{90877F19-00D2-4A00-8128-E78E36266C9A}" dt="2023-11-08T06:45:12.978" v="167235"/>
        <pc:sldMkLst>
          <pc:docMk/>
          <pc:sldMk cId="3521844581" sldId="424"/>
        </pc:sldMkLst>
        <pc:spChg chg="mod">
          <ac:chgData name="Muchahary, Frankle" userId="0f2bf491-0617-4378-90b8-89af8fa381b9" providerId="ADAL" clId="{90877F19-00D2-4A00-8128-E78E36266C9A}" dt="2023-11-08T06:45:12.978" v="167235"/>
          <ac:spMkLst>
            <pc:docMk/>
            <pc:sldMk cId="3521844581" sldId="424"/>
            <ac:spMk id="2" creationId="{496E9A5C-AC7F-EC41-F04F-873EB24E5193}"/>
          </ac:spMkLst>
        </pc:spChg>
        <pc:spChg chg="add mod">
          <ac:chgData name="Muchahary, Frankle" userId="0f2bf491-0617-4378-90b8-89af8fa381b9" providerId="ADAL" clId="{90877F19-00D2-4A00-8128-E78E36266C9A}" dt="2023-11-08T06:35:40.611" v="166457"/>
          <ac:spMkLst>
            <pc:docMk/>
            <pc:sldMk cId="3521844581" sldId="424"/>
            <ac:spMk id="15" creationId="{B3E2DB33-48B1-7FBA-E3CB-49DD4A36C81C}"/>
          </ac:spMkLst>
        </pc:spChg>
      </pc:sldChg>
      <pc:sldChg chg="addSp modSp mod">
        <pc:chgData name="Muchahary, Frankle" userId="0f2bf491-0617-4378-90b8-89af8fa381b9" providerId="ADAL" clId="{90877F19-00D2-4A00-8128-E78E36266C9A}" dt="2023-11-08T06:35:42.303" v="166458"/>
        <pc:sldMkLst>
          <pc:docMk/>
          <pc:sldMk cId="658758765" sldId="425"/>
        </pc:sldMkLst>
        <pc:spChg chg="mod">
          <ac:chgData name="Muchahary, Frankle" userId="0f2bf491-0617-4378-90b8-89af8fa381b9" providerId="ADAL" clId="{90877F19-00D2-4A00-8128-E78E36266C9A}" dt="2023-11-08T06:35:08.474" v="166454" actId="20577"/>
          <ac:spMkLst>
            <pc:docMk/>
            <pc:sldMk cId="658758765" sldId="425"/>
            <ac:spMk id="2" creationId="{496E9A5C-AC7F-EC41-F04F-873EB24E5193}"/>
          </ac:spMkLst>
        </pc:spChg>
        <pc:spChg chg="add mod">
          <ac:chgData name="Muchahary, Frankle" userId="0f2bf491-0617-4378-90b8-89af8fa381b9" providerId="ADAL" clId="{90877F19-00D2-4A00-8128-E78E36266C9A}" dt="2023-11-08T06:35:42.303" v="166458"/>
          <ac:spMkLst>
            <pc:docMk/>
            <pc:sldMk cId="658758765" sldId="425"/>
            <ac:spMk id="9" creationId="{10AB57DC-656B-1EFC-D4A2-4D6D3FDC3E34}"/>
          </ac:spMkLst>
        </pc:spChg>
      </pc:sldChg>
      <pc:sldChg chg="mod modClrScheme chgLayout">
        <pc:chgData name="Muchahary, Frankle" userId="0f2bf491-0617-4378-90b8-89af8fa381b9" providerId="ADAL" clId="{90877F19-00D2-4A00-8128-E78E36266C9A}" dt="2023-11-08T05:53:43.804" v="163412" actId="700"/>
        <pc:sldMkLst>
          <pc:docMk/>
          <pc:sldMk cId="1311883960" sldId="426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2905571673" sldId="427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3290693362" sldId="428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1671997131" sldId="429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491186124" sldId="430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2498983597" sldId="431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3937141441" sldId="432"/>
        </pc:sldMkLst>
      </pc:sldChg>
      <pc:sldChg chg="mod modClrScheme chgLayout">
        <pc:chgData name="Muchahary, Frankle" userId="0f2bf491-0617-4378-90b8-89af8fa381b9" providerId="ADAL" clId="{90877F19-00D2-4A00-8128-E78E36266C9A}" dt="2023-11-08T05:53:36.258" v="163411" actId="700"/>
        <pc:sldMkLst>
          <pc:docMk/>
          <pc:sldMk cId="1221767676" sldId="433"/>
        </pc:sldMkLst>
      </pc:sldChg>
      <pc:sldChg chg="mod modClrScheme chgLayout">
        <pc:chgData name="Muchahary, Frankle" userId="0f2bf491-0617-4378-90b8-89af8fa381b9" providerId="ADAL" clId="{90877F19-00D2-4A00-8128-E78E36266C9A}" dt="2023-11-08T05:54:07.220" v="163414" actId="700"/>
        <pc:sldMkLst>
          <pc:docMk/>
          <pc:sldMk cId="2084510560" sldId="434"/>
        </pc:sldMkLst>
      </pc:sldChg>
      <pc:sldChg chg="mod modClrScheme chgLayout">
        <pc:chgData name="Muchahary, Frankle" userId="0f2bf491-0617-4378-90b8-89af8fa381b9" providerId="ADAL" clId="{90877F19-00D2-4A00-8128-E78E36266C9A}" dt="2023-11-08T05:54:07.220" v="163414" actId="700"/>
        <pc:sldMkLst>
          <pc:docMk/>
          <pc:sldMk cId="2150908605" sldId="435"/>
        </pc:sldMkLst>
      </pc:sldChg>
      <pc:sldChg chg="modSp mod">
        <pc:chgData name="Muchahary, Frankle" userId="0f2bf491-0617-4378-90b8-89af8fa381b9" providerId="ADAL" clId="{90877F19-00D2-4A00-8128-E78E36266C9A}" dt="2023-11-08T18:23:53.460" v="179627"/>
        <pc:sldMkLst>
          <pc:docMk/>
          <pc:sldMk cId="4287056248" sldId="437"/>
        </pc:sldMkLst>
        <pc:graphicFrameChg chg="mod">
          <ac:chgData name="Muchahary, Frankle" userId="0f2bf491-0617-4378-90b8-89af8fa381b9" providerId="ADAL" clId="{90877F19-00D2-4A00-8128-E78E36266C9A}" dt="2023-11-08T18:23:53.460" v="179627"/>
          <ac:graphicFrameMkLst>
            <pc:docMk/>
            <pc:sldMk cId="4287056248" sldId="437"/>
            <ac:graphicFrameMk id="7" creationId="{06E0E659-F10C-660E-8B07-57879BBE75BC}"/>
          </ac:graphicFrameMkLst>
        </pc:graphicFrameChg>
      </pc:sldChg>
      <pc:sldChg chg="add del mod modTransition modShow">
        <pc:chgData name="Muchahary, Frankle" userId="0f2bf491-0617-4378-90b8-89af8fa381b9" providerId="ADAL" clId="{90877F19-00D2-4A00-8128-E78E36266C9A}" dt="2023-11-08T05:49:29.524" v="163072" actId="47"/>
        <pc:sldMkLst>
          <pc:docMk/>
          <pc:sldMk cId="613343469" sldId="439"/>
        </pc:sldMkLst>
      </pc:sldChg>
      <pc:sldChg chg="addSp delSp modSp add mod modClrScheme delAnim modAnim chgLayout">
        <pc:chgData name="Muchahary, Frankle" userId="0f2bf491-0617-4378-90b8-89af8fa381b9" providerId="ADAL" clId="{90877F19-00D2-4A00-8128-E78E36266C9A}" dt="2023-11-08T22:32:30.184" v="181890"/>
        <pc:sldMkLst>
          <pc:docMk/>
          <pc:sldMk cId="745781653" sldId="440"/>
        </pc:sldMkLst>
        <pc:spChg chg="mod">
          <ac:chgData name="Muchahary, Frankle" userId="0f2bf491-0617-4378-90b8-89af8fa381b9" providerId="ADAL" clId="{90877F19-00D2-4A00-8128-E78E36266C9A}" dt="2023-11-07T19:17:09.614" v="158746" actId="2085"/>
          <ac:spMkLst>
            <pc:docMk/>
            <pc:sldMk cId="745781653" sldId="440"/>
            <ac:spMk id="98" creationId="{64D3A1A3-2DA6-1DD0-0C81-4103D6C38108}"/>
          </ac:spMkLst>
        </pc:spChg>
        <pc:spChg chg="mod">
          <ac:chgData name="Muchahary, Frankle" userId="0f2bf491-0617-4378-90b8-89af8fa381b9" providerId="ADAL" clId="{90877F19-00D2-4A00-8128-E78E36266C9A}" dt="2023-11-07T19:16:12.670" v="158743" actId="20577"/>
          <ac:spMkLst>
            <pc:docMk/>
            <pc:sldMk cId="745781653" sldId="440"/>
            <ac:spMk id="110" creationId="{51DC5E93-AE3F-2600-9CCF-46DEF6FA4FF2}"/>
          </ac:spMkLst>
        </pc:spChg>
        <pc:spChg chg="mod">
          <ac:chgData name="Muchahary, Frankle" userId="0f2bf491-0617-4378-90b8-89af8fa381b9" providerId="ADAL" clId="{90877F19-00D2-4A00-8128-E78E36266C9A}" dt="2023-11-07T19:13:54.648" v="158600" actId="20577"/>
          <ac:spMkLst>
            <pc:docMk/>
            <pc:sldMk cId="745781653" sldId="440"/>
            <ac:spMk id="111" creationId="{B211658C-DB71-9155-BD4E-F6CC7CCFE623}"/>
          </ac:spMkLst>
        </pc:spChg>
        <pc:spChg chg="mod">
          <ac:chgData name="Muchahary, Frankle" userId="0f2bf491-0617-4378-90b8-89af8fa381b9" providerId="ADAL" clId="{90877F19-00D2-4A00-8128-E78E36266C9A}" dt="2023-11-07T19:14:44.523" v="158663" actId="20577"/>
          <ac:spMkLst>
            <pc:docMk/>
            <pc:sldMk cId="745781653" sldId="440"/>
            <ac:spMk id="119" creationId="{6B7D46B1-3DC1-6E71-11E2-B6E1365C82FD}"/>
          </ac:spMkLst>
        </pc:spChg>
        <pc:spChg chg="mod">
          <ac:chgData name="Muchahary, Frankle" userId="0f2bf491-0617-4378-90b8-89af8fa381b9" providerId="ADAL" clId="{90877F19-00D2-4A00-8128-E78E36266C9A}" dt="2023-11-08T07:12:59.576" v="169457" actId="1035"/>
          <ac:spMkLst>
            <pc:docMk/>
            <pc:sldMk cId="745781653" sldId="440"/>
            <ac:spMk id="135" creationId="{6AEC1226-2AA4-C53D-E4AC-558C47E7DF77}"/>
          </ac:spMkLst>
        </pc:spChg>
        <pc:grpChg chg="mod">
          <ac:chgData name="Muchahary, Frankle" userId="0f2bf491-0617-4378-90b8-89af8fa381b9" providerId="ADAL" clId="{90877F19-00D2-4A00-8128-E78E36266C9A}" dt="2023-11-07T19:14:24.919" v="158603" actId="1076"/>
          <ac:grpSpMkLst>
            <pc:docMk/>
            <pc:sldMk cId="745781653" sldId="440"/>
            <ac:grpSpMk id="125" creationId="{0935608E-171B-9C69-2680-321FDE459128}"/>
          </ac:grpSpMkLst>
        </pc:grpChg>
        <pc:grpChg chg="del mod">
          <ac:chgData name="Muchahary, Frankle" userId="0f2bf491-0617-4378-90b8-89af8fa381b9" providerId="ADAL" clId="{90877F19-00D2-4A00-8128-E78E36266C9A}" dt="2023-11-07T19:18:25.412" v="158749" actId="478"/>
          <ac:grpSpMkLst>
            <pc:docMk/>
            <pc:sldMk cId="745781653" sldId="440"/>
            <ac:grpSpMk id="130" creationId="{5901F956-A6EB-0695-2137-73A5EB430CE1}"/>
          </ac:grpSpMkLst>
        </pc:grpChg>
        <pc:grpChg chg="mod">
          <ac:chgData name="Muchahary, Frankle" userId="0f2bf491-0617-4378-90b8-89af8fa381b9" providerId="ADAL" clId="{90877F19-00D2-4A00-8128-E78E36266C9A}" dt="2023-11-07T19:14:02.222" v="158602" actId="1076"/>
          <ac:grpSpMkLst>
            <pc:docMk/>
            <pc:sldMk cId="745781653" sldId="440"/>
            <ac:grpSpMk id="131" creationId="{F52FE948-865D-55E1-9E61-BEF423C6217C}"/>
          </ac:grpSpMkLst>
        </pc:grpChg>
        <pc:graphicFrameChg chg="mod">
          <ac:chgData name="Muchahary, Frankle" userId="0f2bf491-0617-4378-90b8-89af8fa381b9" providerId="ADAL" clId="{90877F19-00D2-4A00-8128-E78E36266C9A}" dt="2023-11-08T22:32:30.184" v="181890"/>
          <ac:graphicFrameMkLst>
            <pc:docMk/>
            <pc:sldMk cId="745781653" sldId="440"/>
            <ac:graphicFrameMk id="4" creationId="{FD4A65FB-339A-B2BC-4155-257FFC3BBBB9}"/>
          </ac:graphicFrameMkLst>
        </pc:graphicFrameChg>
        <pc:picChg chg="add del mod">
          <ac:chgData name="Muchahary, Frankle" userId="0f2bf491-0617-4378-90b8-89af8fa381b9" providerId="ADAL" clId="{90877F19-00D2-4A00-8128-E78E36266C9A}" dt="2023-11-07T19:18:15.106" v="158748" actId="478"/>
          <ac:picMkLst>
            <pc:docMk/>
            <pc:sldMk cId="745781653" sldId="440"/>
            <ac:picMk id="2" creationId="{83D969DE-87D8-029E-2676-32839E1B3148}"/>
          </ac:picMkLst>
        </pc:picChg>
        <pc:picChg chg="mod">
          <ac:chgData name="Muchahary, Frankle" userId="0f2bf491-0617-4378-90b8-89af8fa381b9" providerId="ADAL" clId="{90877F19-00D2-4A00-8128-E78E36266C9A}" dt="2023-11-07T19:15:22.335" v="158708" actId="14826"/>
          <ac:picMkLst>
            <pc:docMk/>
            <pc:sldMk cId="745781653" sldId="440"/>
            <ac:picMk id="127" creationId="{2E24D698-9598-8D35-ACD5-56838C04E67A}"/>
          </ac:picMkLst>
        </pc:picChg>
      </pc:sldChg>
      <pc:sldChg chg="add del">
        <pc:chgData name="Muchahary, Frankle" userId="0f2bf491-0617-4378-90b8-89af8fa381b9" providerId="ADAL" clId="{90877F19-00D2-4A00-8128-E78E36266C9A}" dt="2023-11-07T19:21:52.819" v="158770" actId="47"/>
        <pc:sldMkLst>
          <pc:docMk/>
          <pc:sldMk cId="447192084" sldId="441"/>
        </pc:sldMkLst>
      </pc:sldChg>
      <pc:sldChg chg="addSp delSp modSp add mod modClrScheme addAnim delAnim modAnim chgLayout">
        <pc:chgData name="Muchahary, Frankle" userId="0f2bf491-0617-4378-90b8-89af8fa381b9" providerId="ADAL" clId="{90877F19-00D2-4A00-8128-E78E36266C9A}" dt="2023-11-09T03:43:56.957" v="183556"/>
        <pc:sldMkLst>
          <pc:docMk/>
          <pc:sldMk cId="333158483" sldId="442"/>
        </pc:sldMkLst>
        <pc:spChg chg="add del mod">
          <ac:chgData name="Muchahary, Frankle" userId="0f2bf491-0617-4378-90b8-89af8fa381b9" providerId="ADAL" clId="{90877F19-00D2-4A00-8128-E78E36266C9A}" dt="2023-11-08T07:13:22.884" v="169458" actId="478"/>
          <ac:spMkLst>
            <pc:docMk/>
            <pc:sldMk cId="333158483" sldId="442"/>
            <ac:spMk id="9" creationId="{7A1B9775-E5CE-52B9-26B5-D71282741C80}"/>
          </ac:spMkLst>
        </pc:spChg>
        <pc:spChg chg="add mod">
          <ac:chgData name="Muchahary, Frankle" userId="0f2bf491-0617-4378-90b8-89af8fa381b9" providerId="ADAL" clId="{90877F19-00D2-4A00-8128-E78E36266C9A}" dt="2023-11-08T07:13:23.812" v="169459"/>
          <ac:spMkLst>
            <pc:docMk/>
            <pc:sldMk cId="333158483" sldId="442"/>
            <ac:spMk id="10" creationId="{4B0A9A20-7824-D4BD-0D42-07DBBA2D4A66}"/>
          </ac:spMkLst>
        </pc:spChg>
        <pc:spChg chg="del">
          <ac:chgData name="Muchahary, Frankle" userId="0f2bf491-0617-4378-90b8-89af8fa381b9" providerId="ADAL" clId="{90877F19-00D2-4A00-8128-E78E36266C9A}" dt="2023-11-08T07:07:15.446" v="168451" actId="478"/>
          <ac:spMkLst>
            <pc:docMk/>
            <pc:sldMk cId="333158483" sldId="442"/>
            <ac:spMk id="135" creationId="{6AEC1226-2AA4-C53D-E4AC-558C47E7DF77}"/>
          </ac:spMkLst>
        </pc:spChg>
        <pc:grpChg chg="add del">
          <ac:chgData name="Muchahary, Frankle" userId="0f2bf491-0617-4378-90b8-89af8fa381b9" providerId="ADAL" clId="{90877F19-00D2-4A00-8128-E78E36266C9A}" dt="2023-11-07T19:21:42.268" v="158767" actId="478"/>
          <ac:grpSpMkLst>
            <pc:docMk/>
            <pc:sldMk cId="333158483" sldId="442"/>
            <ac:grpSpMk id="130" creationId="{5901F956-A6EB-0695-2137-73A5EB430CE1}"/>
          </ac:grpSpMkLst>
        </pc:grpChg>
        <pc:graphicFrameChg chg="mod">
          <ac:chgData name="Muchahary, Frankle" userId="0f2bf491-0617-4378-90b8-89af8fa381b9" providerId="ADAL" clId="{90877F19-00D2-4A00-8128-E78E36266C9A}" dt="2023-11-09T03:43:56.957" v="183556"/>
          <ac:graphicFrameMkLst>
            <pc:docMk/>
            <pc:sldMk cId="333158483" sldId="442"/>
            <ac:graphicFrameMk id="4" creationId="{FD4A65FB-339A-B2BC-4155-257FFC3BBBB9}"/>
          </ac:graphicFrameMkLst>
        </pc:graphicFrameChg>
        <pc:picChg chg="mod">
          <ac:chgData name="Muchahary, Frankle" userId="0f2bf491-0617-4378-90b8-89af8fa381b9" providerId="ADAL" clId="{90877F19-00D2-4A00-8128-E78E36266C9A}" dt="2023-11-07T19:20:20.180" v="158761" actId="1036"/>
          <ac:picMkLst>
            <pc:docMk/>
            <pc:sldMk cId="333158483" sldId="442"/>
            <ac:picMk id="2" creationId="{83D969DE-87D8-029E-2676-32839E1B3148}"/>
          </ac:picMkLst>
        </pc:picChg>
        <pc:picChg chg="add del mod">
          <ac:chgData name="Muchahary, Frankle" userId="0f2bf491-0617-4378-90b8-89af8fa381b9" providerId="ADAL" clId="{90877F19-00D2-4A00-8128-E78E36266C9A}" dt="2023-11-07T19:23:28.639" v="158778" actId="21"/>
          <ac:picMkLst>
            <pc:docMk/>
            <pc:sldMk cId="333158483" sldId="442"/>
            <ac:picMk id="3" creationId="{298E8642-3FED-B24F-0FF9-FE295F4CB68B}"/>
          </ac:picMkLst>
        </pc:picChg>
        <pc:picChg chg="add del mod">
          <ac:chgData name="Muchahary, Frankle" userId="0f2bf491-0617-4378-90b8-89af8fa381b9" providerId="ADAL" clId="{90877F19-00D2-4A00-8128-E78E36266C9A}" dt="2023-11-08T08:28:10.316" v="171763" actId="21"/>
          <ac:picMkLst>
            <pc:docMk/>
            <pc:sldMk cId="333158483" sldId="442"/>
            <ac:picMk id="12" creationId="{73421737-A127-24E5-76FF-2377875191EB}"/>
          </ac:picMkLst>
        </pc:picChg>
      </pc:sldChg>
      <pc:sldChg chg="add del">
        <pc:chgData name="Muchahary, Frankle" userId="0f2bf491-0617-4378-90b8-89af8fa381b9" providerId="ADAL" clId="{90877F19-00D2-4A00-8128-E78E36266C9A}" dt="2023-11-07T19:21:29.007" v="158763"/>
        <pc:sldMkLst>
          <pc:docMk/>
          <pc:sldMk cId="2398262767" sldId="443"/>
        </pc:sldMkLst>
      </pc:sldChg>
      <pc:sldChg chg="addSp delSp add del mod ord modTransition modClrScheme addAnim delAnim modAnim modShow chgLayout">
        <pc:chgData name="Muchahary, Frankle" userId="0f2bf491-0617-4378-90b8-89af8fa381b9" providerId="ADAL" clId="{90877F19-00D2-4A00-8128-E78E36266C9A}" dt="2023-11-08T05:49:27.750" v="163071" actId="47"/>
        <pc:sldMkLst>
          <pc:docMk/>
          <pc:sldMk cId="2736926226" sldId="443"/>
        </pc:sldMkLst>
        <pc:grpChg chg="add del">
          <ac:chgData name="Muchahary, Frankle" userId="0f2bf491-0617-4378-90b8-89af8fa381b9" providerId="ADAL" clId="{90877F19-00D2-4A00-8128-E78E36266C9A}" dt="2023-11-07T19:21:39.588" v="158766" actId="478"/>
          <ac:grpSpMkLst>
            <pc:docMk/>
            <pc:sldMk cId="2736926226" sldId="443"/>
            <ac:grpSpMk id="130" creationId="{5901F956-A6EB-0695-2137-73A5EB430CE1}"/>
          </ac:grpSpMkLst>
        </pc:grpChg>
        <pc:picChg chg="del">
          <ac:chgData name="Muchahary, Frankle" userId="0f2bf491-0617-4378-90b8-89af8fa381b9" providerId="ADAL" clId="{90877F19-00D2-4A00-8128-E78E36266C9A}" dt="2023-11-07T19:21:48.181" v="158768" actId="478"/>
          <ac:picMkLst>
            <pc:docMk/>
            <pc:sldMk cId="2736926226" sldId="443"/>
            <ac:picMk id="2" creationId="{83D969DE-87D8-029E-2676-32839E1B3148}"/>
          </ac:picMkLst>
        </pc:picChg>
      </pc:sldChg>
      <pc:sldChg chg="addSp delSp modSp add mod modClrScheme delAnim modAnim chgLayout">
        <pc:chgData name="Muchahary, Frankle" userId="0f2bf491-0617-4378-90b8-89af8fa381b9" providerId="ADAL" clId="{90877F19-00D2-4A00-8128-E78E36266C9A}" dt="2023-11-08T08:28:21.845" v="171765" actId="14861"/>
        <pc:sldMkLst>
          <pc:docMk/>
          <pc:sldMk cId="1824581935" sldId="444"/>
        </pc:sldMkLst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5" creationId="{E51E62D5-FF34-B9F8-4F20-25666F18878D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7" creationId="{3DAA9069-F5CE-5CF9-0582-7F1442F747B1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9" creationId="{2EE9F3E8-E08A-F366-1427-0CA2651D347F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10" creationId="{397B1B19-CA7A-7D71-9194-00DB73FAA06B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13" creationId="{4B6F8754-740C-A00C-EDF4-ACCB41D1DBBA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14" creationId="{BC607E01-3B2B-9F11-5DA4-7102E45D957F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17" creationId="{A99B7102-4F46-BA68-6A00-863BC5C9817B}"/>
          </ac:spMkLst>
        </pc:spChg>
        <pc:spChg chg="mod">
          <ac:chgData name="Muchahary, Frankle" userId="0f2bf491-0617-4378-90b8-89af8fa381b9" providerId="ADAL" clId="{90877F19-00D2-4A00-8128-E78E36266C9A}" dt="2023-11-07T19:30:14.248" v="158802" actId="571"/>
          <ac:spMkLst>
            <pc:docMk/>
            <pc:sldMk cId="1824581935" sldId="444"/>
            <ac:spMk id="18" creationId="{3EEF30D7-19E6-55D0-BBDE-B7A6CCA82489}"/>
          </ac:spMkLst>
        </pc:spChg>
        <pc:spChg chg="add del mod">
          <ac:chgData name="Muchahary, Frankle" userId="0f2bf491-0617-4378-90b8-89af8fa381b9" providerId="ADAL" clId="{90877F19-00D2-4A00-8128-E78E36266C9A}" dt="2023-11-08T07:13:27.912" v="169460" actId="478"/>
          <ac:spMkLst>
            <pc:docMk/>
            <pc:sldMk cId="1824581935" sldId="444"/>
            <ac:spMk id="20" creationId="{056AB1E2-1E75-AA0E-C1D2-109F62D53DC8}"/>
          </ac:spMkLst>
        </pc:spChg>
        <pc:spChg chg="add mod">
          <ac:chgData name="Muchahary, Frankle" userId="0f2bf491-0617-4378-90b8-89af8fa381b9" providerId="ADAL" clId="{90877F19-00D2-4A00-8128-E78E36266C9A}" dt="2023-11-08T07:13:28.380" v="169461"/>
          <ac:spMkLst>
            <pc:docMk/>
            <pc:sldMk cId="1824581935" sldId="444"/>
            <ac:spMk id="21" creationId="{D539969B-A3E2-729B-09B1-A293C3273E9B}"/>
          </ac:spMkLst>
        </pc:spChg>
        <pc:spChg chg="del">
          <ac:chgData name="Muchahary, Frankle" userId="0f2bf491-0617-4378-90b8-89af8fa381b9" providerId="ADAL" clId="{90877F19-00D2-4A00-8128-E78E36266C9A}" dt="2023-11-08T07:07:20.419" v="168453" actId="478"/>
          <ac:spMkLst>
            <pc:docMk/>
            <pc:sldMk cId="1824581935" sldId="444"/>
            <ac:spMk id="135" creationId="{6AEC1226-2AA4-C53D-E4AC-558C47E7DF77}"/>
          </ac:spMkLst>
        </pc:spChg>
        <pc:grpChg chg="add mod">
          <ac:chgData name="Muchahary, Frankle" userId="0f2bf491-0617-4378-90b8-89af8fa381b9" providerId="ADAL" clId="{90877F19-00D2-4A00-8128-E78E36266C9A}" dt="2023-11-07T19:30:14.248" v="158802" actId="571"/>
          <ac:grpSpMkLst>
            <pc:docMk/>
            <pc:sldMk cId="1824581935" sldId="444"/>
            <ac:grpSpMk id="3" creationId="{A593A275-81E2-3FE7-D17C-4E44A65DE929}"/>
          </ac:grpSpMkLst>
        </pc:grpChg>
        <pc:grpChg chg="add mod">
          <ac:chgData name="Muchahary, Frankle" userId="0f2bf491-0617-4378-90b8-89af8fa381b9" providerId="ADAL" clId="{90877F19-00D2-4A00-8128-E78E36266C9A}" dt="2023-11-07T19:30:14.248" v="158802" actId="571"/>
          <ac:grpSpMkLst>
            <pc:docMk/>
            <pc:sldMk cId="1824581935" sldId="444"/>
            <ac:grpSpMk id="8" creationId="{885FAA12-6AC6-2911-B4FE-A87F9FCDCD45}"/>
          </ac:grpSpMkLst>
        </pc:grpChg>
        <pc:grpChg chg="add mod">
          <ac:chgData name="Muchahary, Frankle" userId="0f2bf491-0617-4378-90b8-89af8fa381b9" providerId="ADAL" clId="{90877F19-00D2-4A00-8128-E78E36266C9A}" dt="2023-11-07T19:30:14.248" v="158802" actId="571"/>
          <ac:grpSpMkLst>
            <pc:docMk/>
            <pc:sldMk cId="1824581935" sldId="444"/>
            <ac:grpSpMk id="12" creationId="{E5024EB9-4B11-124E-B0F2-BBC3484E5B72}"/>
          </ac:grpSpMkLst>
        </pc:grpChg>
        <pc:grpChg chg="add mod">
          <ac:chgData name="Muchahary, Frankle" userId="0f2bf491-0617-4378-90b8-89af8fa381b9" providerId="ADAL" clId="{90877F19-00D2-4A00-8128-E78E36266C9A}" dt="2023-11-07T19:30:14.248" v="158802" actId="571"/>
          <ac:grpSpMkLst>
            <pc:docMk/>
            <pc:sldMk cId="1824581935" sldId="444"/>
            <ac:grpSpMk id="16" creationId="{C27EF15D-01D9-954B-58E4-9A98111A872E}"/>
          </ac:grpSpMkLst>
        </pc:grpChg>
        <pc:grpChg chg="mod">
          <ac:chgData name="Muchahary, Frankle" userId="0f2bf491-0617-4378-90b8-89af8fa381b9" providerId="ADAL" clId="{90877F19-00D2-4A00-8128-E78E36266C9A}" dt="2023-11-07T19:30:57.238" v="158804" actId="465"/>
          <ac:grpSpMkLst>
            <pc:docMk/>
            <pc:sldMk cId="1824581935" sldId="444"/>
            <ac:grpSpMk id="124" creationId="{E7D2C619-61B2-B23C-73AC-3D13368B5EB2}"/>
          </ac:grpSpMkLst>
        </pc:grpChg>
        <pc:grpChg chg="mod">
          <ac:chgData name="Muchahary, Frankle" userId="0f2bf491-0617-4378-90b8-89af8fa381b9" providerId="ADAL" clId="{90877F19-00D2-4A00-8128-E78E36266C9A}" dt="2023-11-07T19:30:57.238" v="158804" actId="465"/>
          <ac:grpSpMkLst>
            <pc:docMk/>
            <pc:sldMk cId="1824581935" sldId="444"/>
            <ac:grpSpMk id="125" creationId="{0935608E-171B-9C69-2680-321FDE459128}"/>
          </ac:grpSpMkLst>
        </pc:grpChg>
        <pc:grpChg chg="mod">
          <ac:chgData name="Muchahary, Frankle" userId="0f2bf491-0617-4378-90b8-89af8fa381b9" providerId="ADAL" clId="{90877F19-00D2-4A00-8128-E78E36266C9A}" dt="2023-11-07T19:30:57.238" v="158804" actId="465"/>
          <ac:grpSpMkLst>
            <pc:docMk/>
            <pc:sldMk cId="1824581935" sldId="444"/>
            <ac:grpSpMk id="131" creationId="{F52FE948-865D-55E1-9E61-BEF423C6217C}"/>
          </ac:grpSpMkLst>
        </pc:grpChg>
        <pc:grpChg chg="mod">
          <ac:chgData name="Muchahary, Frankle" userId="0f2bf491-0617-4378-90b8-89af8fa381b9" providerId="ADAL" clId="{90877F19-00D2-4A00-8128-E78E36266C9A}" dt="2023-11-07T19:30:57.238" v="158804" actId="465"/>
          <ac:grpSpMkLst>
            <pc:docMk/>
            <pc:sldMk cId="1824581935" sldId="444"/>
            <ac:grpSpMk id="133" creationId="{C861B0B2-E791-3013-64DB-D5AA67A78B3A}"/>
          </ac:grpSpMkLst>
        </pc:grpChg>
        <pc:picChg chg="add del mod">
          <ac:chgData name="Muchahary, Frankle" userId="0f2bf491-0617-4378-90b8-89af8fa381b9" providerId="ADAL" clId="{90877F19-00D2-4A00-8128-E78E36266C9A}" dt="2023-11-08T08:27:43.080" v="171749" actId="478"/>
          <ac:picMkLst>
            <pc:docMk/>
            <pc:sldMk cId="1824581935" sldId="444"/>
            <ac:picMk id="2" creationId="{95F79080-469C-90BB-F130-B8981FD0D8B7}"/>
          </ac:picMkLst>
        </pc:picChg>
        <pc:picChg chg="mod">
          <ac:chgData name="Muchahary, Frankle" userId="0f2bf491-0617-4378-90b8-89af8fa381b9" providerId="ADAL" clId="{90877F19-00D2-4A00-8128-E78E36266C9A}" dt="2023-11-07T19:30:14.248" v="158802" actId="571"/>
          <ac:picMkLst>
            <pc:docMk/>
            <pc:sldMk cId="1824581935" sldId="444"/>
            <ac:picMk id="6" creationId="{97594DE4-2986-DBFD-9A33-C2EB10D1B630}"/>
          </ac:picMkLst>
        </pc:picChg>
        <pc:picChg chg="mod">
          <ac:chgData name="Muchahary, Frankle" userId="0f2bf491-0617-4378-90b8-89af8fa381b9" providerId="ADAL" clId="{90877F19-00D2-4A00-8128-E78E36266C9A}" dt="2023-11-07T19:30:14.248" v="158802" actId="571"/>
          <ac:picMkLst>
            <pc:docMk/>
            <pc:sldMk cId="1824581935" sldId="444"/>
            <ac:picMk id="11" creationId="{4BDD6EA8-5902-7D9E-0440-6F8F48684622}"/>
          </ac:picMkLst>
        </pc:picChg>
        <pc:picChg chg="mod">
          <ac:chgData name="Muchahary, Frankle" userId="0f2bf491-0617-4378-90b8-89af8fa381b9" providerId="ADAL" clId="{90877F19-00D2-4A00-8128-E78E36266C9A}" dt="2023-11-07T19:30:14.248" v="158802" actId="571"/>
          <ac:picMkLst>
            <pc:docMk/>
            <pc:sldMk cId="1824581935" sldId="444"/>
            <ac:picMk id="15" creationId="{87E38ECF-6711-15D1-CF14-0C2C8DB97C0E}"/>
          </ac:picMkLst>
        </pc:picChg>
        <pc:picChg chg="mod">
          <ac:chgData name="Muchahary, Frankle" userId="0f2bf491-0617-4378-90b8-89af8fa381b9" providerId="ADAL" clId="{90877F19-00D2-4A00-8128-E78E36266C9A}" dt="2023-11-07T19:30:14.248" v="158802" actId="571"/>
          <ac:picMkLst>
            <pc:docMk/>
            <pc:sldMk cId="1824581935" sldId="444"/>
            <ac:picMk id="19" creationId="{48E5274F-CE8B-99A2-FB7D-A8ED63BB8F53}"/>
          </ac:picMkLst>
        </pc:picChg>
        <pc:picChg chg="add del">
          <ac:chgData name="Muchahary, Frankle" userId="0f2bf491-0617-4378-90b8-89af8fa381b9" providerId="ADAL" clId="{90877F19-00D2-4A00-8128-E78E36266C9A}" dt="2023-11-08T08:27:45.528" v="171752" actId="22"/>
          <ac:picMkLst>
            <pc:docMk/>
            <pc:sldMk cId="1824581935" sldId="444"/>
            <ac:picMk id="24" creationId="{D3F5DE58-94EC-2D60-72D2-960FFDA429BE}"/>
          </ac:picMkLst>
        </pc:picChg>
        <pc:picChg chg="add del">
          <ac:chgData name="Muchahary, Frankle" userId="0f2bf491-0617-4378-90b8-89af8fa381b9" providerId="ADAL" clId="{90877F19-00D2-4A00-8128-E78E36266C9A}" dt="2023-11-08T08:27:51.107" v="171755" actId="21"/>
          <ac:picMkLst>
            <pc:docMk/>
            <pc:sldMk cId="1824581935" sldId="444"/>
            <ac:picMk id="26" creationId="{5A9B36BD-7D2A-EA34-CB6E-EAC7606869C7}"/>
          </ac:picMkLst>
        </pc:picChg>
        <pc:picChg chg="add mod">
          <ac:chgData name="Muchahary, Frankle" userId="0f2bf491-0617-4378-90b8-89af8fa381b9" providerId="ADAL" clId="{90877F19-00D2-4A00-8128-E78E36266C9A}" dt="2023-11-08T08:28:21.845" v="171765" actId="14861"/>
          <ac:picMkLst>
            <pc:docMk/>
            <pc:sldMk cId="1824581935" sldId="444"/>
            <ac:picMk id="27" creationId="{84838C93-86CD-E15D-9F35-491181866C91}"/>
          </ac:picMkLst>
        </pc:picChg>
      </pc:sldChg>
      <pc:sldChg chg="addSp delSp modSp add mod ord modTransition modClrScheme addAnim delAnim modAnim modShow chgLayout">
        <pc:chgData name="Muchahary, Frankle" userId="0f2bf491-0617-4378-90b8-89af8fa381b9" providerId="ADAL" clId="{90877F19-00D2-4A00-8128-E78E36266C9A}" dt="2023-11-09T03:43:09.658" v="183554"/>
        <pc:sldMkLst>
          <pc:docMk/>
          <pc:sldMk cId="3583304053" sldId="445"/>
        </pc:sldMkLst>
        <pc:spChg chg="del mod">
          <ac:chgData name="Muchahary, Frankle" userId="0f2bf491-0617-4378-90b8-89af8fa381b9" providerId="ADAL" clId="{90877F19-00D2-4A00-8128-E78E36266C9A}" dt="2023-11-08T07:13:46.012" v="169462" actId="478"/>
          <ac:spMkLst>
            <pc:docMk/>
            <pc:sldMk cId="3583304053" sldId="445"/>
            <ac:spMk id="2" creationId="{A3EC0B47-2A72-916D-F9F5-9EAF93370B05}"/>
          </ac:spMkLst>
        </pc:spChg>
        <pc:spChg chg="add mod">
          <ac:chgData name="Muchahary, Frankle" userId="0f2bf491-0617-4378-90b8-89af8fa381b9" providerId="ADAL" clId="{90877F19-00D2-4A00-8128-E78E36266C9A}" dt="2023-11-08T07:13:46.409" v="169463"/>
          <ac:spMkLst>
            <pc:docMk/>
            <pc:sldMk cId="3583304053" sldId="445"/>
            <ac:spMk id="5" creationId="{2390CF7B-C72E-2024-340D-751A191C1024}"/>
          </ac:spMkLst>
        </pc:spChg>
        <pc:grpChg chg="add del">
          <ac:chgData name="Muchahary, Frankle" userId="0f2bf491-0617-4378-90b8-89af8fa381b9" providerId="ADAL" clId="{90877F19-00D2-4A00-8128-E78E36266C9A}" dt="2023-11-07T19:31:26.470" v="158813" actId="478"/>
          <ac:grpSpMkLst>
            <pc:docMk/>
            <pc:sldMk cId="3583304053" sldId="445"/>
            <ac:grpSpMk id="130" creationId="{5901F956-A6EB-0695-2137-73A5EB430CE1}"/>
          </ac:grpSpMkLst>
        </pc:grpChg>
        <pc:graphicFrameChg chg="mod">
          <ac:chgData name="Muchahary, Frankle" userId="0f2bf491-0617-4378-90b8-89af8fa381b9" providerId="ADAL" clId="{90877F19-00D2-4A00-8128-E78E36266C9A}" dt="2023-11-09T03:43:09.658" v="183554"/>
          <ac:graphicFrameMkLst>
            <pc:docMk/>
            <pc:sldMk cId="3583304053" sldId="445"/>
            <ac:graphicFrameMk id="4" creationId="{FD4A65FB-339A-B2BC-4155-257FFC3BBBB9}"/>
          </ac:graphicFrameMkLst>
        </pc:graphicFrameChg>
        <pc:picChg chg="add del mod">
          <ac:chgData name="Muchahary, Frankle" userId="0f2bf491-0617-4378-90b8-89af8fa381b9" providerId="ADAL" clId="{90877F19-00D2-4A00-8128-E78E36266C9A}" dt="2023-11-08T08:46:04.529" v="171950" actId="478"/>
          <ac:picMkLst>
            <pc:docMk/>
            <pc:sldMk cId="3583304053" sldId="445"/>
            <ac:picMk id="3" creationId="{6AD96568-70F4-D748-B549-D3D483E7859F}"/>
          </ac:picMkLst>
        </pc:picChg>
        <pc:picChg chg="del">
          <ac:chgData name="Muchahary, Frankle" userId="0f2bf491-0617-4378-90b8-89af8fa381b9" providerId="ADAL" clId="{90877F19-00D2-4A00-8128-E78E36266C9A}" dt="2023-11-07T19:31:38.234" v="158817" actId="478"/>
          <ac:picMkLst>
            <pc:docMk/>
            <pc:sldMk cId="3583304053" sldId="445"/>
            <ac:picMk id="7" creationId="{FCF76D4C-EAE4-5DEE-B7A4-3654BBC68209}"/>
          </ac:picMkLst>
        </pc:picChg>
        <pc:picChg chg="add mod">
          <ac:chgData name="Muchahary, Frankle" userId="0f2bf491-0617-4378-90b8-89af8fa381b9" providerId="ADAL" clId="{90877F19-00D2-4A00-8128-E78E36266C9A}" dt="2023-11-08T08:46:39.038" v="171960" actId="14861"/>
          <ac:picMkLst>
            <pc:docMk/>
            <pc:sldMk cId="3583304053" sldId="445"/>
            <ac:picMk id="8" creationId="{2977465B-29D7-7F4F-AE37-4CE2CE5D760B}"/>
          </ac:picMkLst>
        </pc:picChg>
      </pc:sldChg>
      <pc:sldChg chg="delSp modSp add mod modClrScheme delAnim chgLayout">
        <pc:chgData name="Muchahary, Frankle" userId="0f2bf491-0617-4378-90b8-89af8fa381b9" providerId="ADAL" clId="{90877F19-00D2-4A00-8128-E78E36266C9A}" dt="2023-11-08T07:11:49.755" v="169357" actId="14100"/>
        <pc:sldMkLst>
          <pc:docMk/>
          <pc:sldMk cId="3012727066" sldId="446"/>
        </pc:sldMkLst>
        <pc:spChg chg="mod">
          <ac:chgData name="Muchahary, Frankle" userId="0f2bf491-0617-4378-90b8-89af8fa381b9" providerId="ADAL" clId="{90877F19-00D2-4A00-8128-E78E36266C9A}" dt="2023-11-08T07:11:49.755" v="169357" actId="14100"/>
          <ac:spMkLst>
            <pc:docMk/>
            <pc:sldMk cId="3012727066" sldId="446"/>
            <ac:spMk id="2" creationId="{A3EC0B47-2A72-916D-F9F5-9EAF93370B05}"/>
          </ac:spMkLst>
        </pc:spChg>
        <pc:grpChg chg="del">
          <ac:chgData name="Muchahary, Frankle" userId="0f2bf491-0617-4378-90b8-89af8fa381b9" providerId="ADAL" clId="{90877F19-00D2-4A00-8128-E78E36266C9A}" dt="2023-11-07T19:31:31.100" v="158815" actId="478"/>
          <ac:grpSpMkLst>
            <pc:docMk/>
            <pc:sldMk cId="3012727066" sldId="446"/>
            <ac:grpSpMk id="130" creationId="{5901F956-A6EB-0695-2137-73A5EB430CE1}"/>
          </ac:grpSpMkLst>
        </pc:grpChg>
        <pc:grpChg chg="del">
          <ac:chgData name="Muchahary, Frankle" userId="0f2bf491-0617-4378-90b8-89af8fa381b9" providerId="ADAL" clId="{90877F19-00D2-4A00-8128-E78E36266C9A}" dt="2023-11-07T19:31:32.376" v="158816" actId="478"/>
          <ac:grpSpMkLst>
            <pc:docMk/>
            <pc:sldMk cId="3012727066" sldId="446"/>
            <ac:grpSpMk id="131" creationId="{F52FE948-865D-55E1-9E61-BEF423C6217C}"/>
          </ac:grpSpMkLst>
        </pc:grpChg>
        <pc:picChg chg="del">
          <ac:chgData name="Muchahary, Frankle" userId="0f2bf491-0617-4378-90b8-89af8fa381b9" providerId="ADAL" clId="{90877F19-00D2-4A00-8128-E78E36266C9A}" dt="2023-11-07T19:31:40.001" v="158818" actId="478"/>
          <ac:picMkLst>
            <pc:docMk/>
            <pc:sldMk cId="3012727066" sldId="446"/>
            <ac:picMk id="7" creationId="{FCF76D4C-EAE4-5DEE-B7A4-3654BBC68209}"/>
          </ac:picMkLst>
        </pc:picChg>
      </pc:sldChg>
      <pc:sldChg chg="addSp modSp add del mod modTransition modShow">
        <pc:chgData name="Muchahary, Frankle" userId="0f2bf491-0617-4378-90b8-89af8fa381b9" providerId="ADAL" clId="{90877F19-00D2-4A00-8128-E78E36266C9A}" dt="2023-11-08T05:49:41.205" v="163073" actId="47"/>
        <pc:sldMkLst>
          <pc:docMk/>
          <pc:sldMk cId="572351119" sldId="447"/>
        </pc:sldMkLst>
        <pc:spChg chg="add mod">
          <ac:chgData name="Muchahary, Frankle" userId="0f2bf491-0617-4378-90b8-89af8fa381b9" providerId="ADAL" clId="{90877F19-00D2-4A00-8128-E78E36266C9A}" dt="2023-11-07T20:10:34.103" v="162555" actId="20577"/>
          <ac:spMkLst>
            <pc:docMk/>
            <pc:sldMk cId="572351119" sldId="447"/>
            <ac:spMk id="2" creationId="{280DBD70-EF42-7D89-3E51-0C4D906CA6BC}"/>
          </ac:spMkLst>
        </pc:spChg>
        <pc:spChg chg="mod">
          <ac:chgData name="Muchahary, Frankle" userId="0f2bf491-0617-4378-90b8-89af8fa381b9" providerId="ADAL" clId="{90877F19-00D2-4A00-8128-E78E36266C9A}" dt="2023-11-07T20:10:25.634" v="162542" actId="20577"/>
          <ac:spMkLst>
            <pc:docMk/>
            <pc:sldMk cId="572351119" sldId="447"/>
            <ac:spMk id="395" creationId="{00000000-0000-0000-0000-000000000000}"/>
          </ac:spMkLst>
        </pc:spChg>
        <pc:graphicFrameChg chg="mod">
          <ac:chgData name="Muchahary, Frankle" userId="0f2bf491-0617-4378-90b8-89af8fa381b9" providerId="ADAL" clId="{90877F19-00D2-4A00-8128-E78E36266C9A}" dt="2023-11-07T20:10:26.142" v="162546"/>
          <ac:graphicFrameMkLst>
            <pc:docMk/>
            <pc:sldMk cId="572351119" sldId="447"/>
            <ac:graphicFrameMk id="4" creationId="{7C9901FB-2A89-2D85-159B-1FB9E077CF79}"/>
          </ac:graphicFrameMkLst>
        </pc:graphicFrameChg>
      </pc:sldChg>
      <pc:sldChg chg="modSp mod">
        <pc:chgData name="Muchahary, Frankle" userId="0f2bf491-0617-4378-90b8-89af8fa381b9" providerId="ADAL" clId="{90877F19-00D2-4A00-8128-E78E36266C9A}" dt="2023-11-08T07:35:43.468" v="171326" actId="14100"/>
        <pc:sldMkLst>
          <pc:docMk/>
          <pc:sldMk cId="4235022131" sldId="448"/>
        </pc:sldMkLst>
        <pc:spChg chg="mod">
          <ac:chgData name="Muchahary, Frankle" userId="0f2bf491-0617-4378-90b8-89af8fa381b9" providerId="ADAL" clId="{90877F19-00D2-4A00-8128-E78E36266C9A}" dt="2023-11-08T07:05:38.640" v="168264" actId="20577"/>
          <ac:spMkLst>
            <pc:docMk/>
            <pc:sldMk cId="4235022131" sldId="448"/>
            <ac:spMk id="422" creationId="{4AECBF77-60C8-FE2F-20BE-9C888A509250}"/>
          </ac:spMkLst>
        </pc:spChg>
        <pc:spChg chg="mod">
          <ac:chgData name="Muchahary, Frankle" userId="0f2bf491-0617-4378-90b8-89af8fa381b9" providerId="ADAL" clId="{90877F19-00D2-4A00-8128-E78E36266C9A}" dt="2023-11-08T07:35:40.169" v="171325" actId="14100"/>
          <ac:spMkLst>
            <pc:docMk/>
            <pc:sldMk cId="4235022131" sldId="448"/>
            <ac:spMk id="423" creationId="{149440DB-2FD6-9E9B-226F-91E10854C85D}"/>
          </ac:spMkLst>
        </pc:spChg>
        <pc:spChg chg="mod">
          <ac:chgData name="Muchahary, Frankle" userId="0f2bf491-0617-4378-90b8-89af8fa381b9" providerId="ADAL" clId="{90877F19-00D2-4A00-8128-E78E36266C9A}" dt="2023-11-08T07:35:30.340" v="171317" actId="20577"/>
          <ac:spMkLst>
            <pc:docMk/>
            <pc:sldMk cId="4235022131" sldId="448"/>
            <ac:spMk id="427" creationId="{ACCBAE4B-6158-2FA7-A096-91B6E9728965}"/>
          </ac:spMkLst>
        </pc:spChg>
        <pc:spChg chg="mod">
          <ac:chgData name="Muchahary, Frankle" userId="0f2bf491-0617-4378-90b8-89af8fa381b9" providerId="ADAL" clId="{90877F19-00D2-4A00-8128-E78E36266C9A}" dt="2023-11-08T07:35:43.468" v="171326" actId="14100"/>
          <ac:spMkLst>
            <pc:docMk/>
            <pc:sldMk cId="4235022131" sldId="448"/>
            <ac:spMk id="478" creationId="{CB8F8AB1-D22B-76E6-B122-0AE820DDEE58}"/>
          </ac:spMkLst>
        </pc:spChg>
      </pc:sldChg>
      <pc:sldChg chg="addSp delSp modSp add del mod modClrScheme chgLayout">
        <pc:chgData name="Muchahary, Frankle" userId="0f2bf491-0617-4378-90b8-89af8fa381b9" providerId="ADAL" clId="{90877F19-00D2-4A00-8128-E78E36266C9A}" dt="2023-11-08T05:54:51.842" v="163431"/>
        <pc:sldMkLst>
          <pc:docMk/>
          <pc:sldMk cId="3461975783" sldId="449"/>
        </pc:sldMkLst>
        <pc:spChg chg="del">
          <ac:chgData name="Muchahary, Frankle" userId="0f2bf491-0617-4378-90b8-89af8fa381b9" providerId="ADAL" clId="{90877F19-00D2-4A00-8128-E78E36266C9A}" dt="2023-11-08T05:49:57.617" v="163080" actId="478"/>
          <ac:spMkLst>
            <pc:docMk/>
            <pc:sldMk cId="3461975783" sldId="449"/>
            <ac:spMk id="2" creationId="{E5E6451F-0228-1CFD-46F6-E3726943F346}"/>
          </ac:spMkLst>
        </pc:spChg>
        <pc:spChg chg="mod ord">
          <ac:chgData name="Muchahary, Frankle" userId="0f2bf491-0617-4378-90b8-89af8fa381b9" providerId="ADAL" clId="{90877F19-00D2-4A00-8128-E78E36266C9A}" dt="2023-11-08T05:54:51.836" v="163427" actId="948"/>
          <ac:spMkLst>
            <pc:docMk/>
            <pc:sldMk cId="3461975783" sldId="449"/>
            <ac:spMk id="3" creationId="{72E3E6EA-111F-56AA-553A-86DC36436039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8T05:54:51.842" v="163431"/>
          <ac:graphicFrameMkLst>
            <pc:docMk/>
            <pc:sldMk cId="3461975783" sldId="449"/>
            <ac:graphicFrameMk id="4" creationId="{ECE92B82-86F3-9DAE-CCB0-A8B46E3F36BF}"/>
          </ac:graphicFrameMkLst>
        </pc:graphicFrameChg>
        <pc:cxnChg chg="add mod">
          <ac:chgData name="Muchahary, Frankle" userId="0f2bf491-0617-4378-90b8-89af8fa381b9" providerId="ADAL" clId="{90877F19-00D2-4A00-8128-E78E36266C9A}" dt="2023-11-08T05:54:51.255" v="163426" actId="1076"/>
          <ac:cxnSpMkLst>
            <pc:docMk/>
            <pc:sldMk cId="3461975783" sldId="449"/>
            <ac:cxnSpMk id="6" creationId="{0720BBE8-E596-B9A7-45B8-8DA2E0F1DD2F}"/>
          </ac:cxnSpMkLst>
        </pc:cxnChg>
      </pc:sldChg>
      <pc:sldChg chg="delSp modSp mod modClrScheme chgLayout">
        <pc:chgData name="Muchahary, Frankle" userId="0f2bf491-0617-4378-90b8-89af8fa381b9" providerId="ADAL" clId="{90877F19-00D2-4A00-8128-E78E36266C9A}" dt="2023-11-08T06:07:56.504" v="163597" actId="465"/>
        <pc:sldMkLst>
          <pc:docMk/>
          <pc:sldMk cId="3130399512" sldId="450"/>
        </pc:sldMkLst>
        <pc:spChg chg="mod">
          <ac:chgData name="Muchahary, Frankle" userId="0f2bf491-0617-4378-90b8-89af8fa381b9" providerId="ADAL" clId="{90877F19-00D2-4A00-8128-E78E36266C9A}" dt="2023-11-08T06:07:38.791" v="163593" actId="1076"/>
          <ac:spMkLst>
            <pc:docMk/>
            <pc:sldMk cId="3130399512" sldId="450"/>
            <ac:spMk id="37" creationId="{439FC097-85EB-CA53-776E-44365FB5FB91}"/>
          </ac:spMkLst>
        </pc:spChg>
        <pc:spChg chg="mod">
          <ac:chgData name="Muchahary, Frankle" userId="0f2bf491-0617-4378-90b8-89af8fa381b9" providerId="ADAL" clId="{90877F19-00D2-4A00-8128-E78E36266C9A}" dt="2023-11-08T06:07:41.304" v="163595" actId="1076"/>
          <ac:spMkLst>
            <pc:docMk/>
            <pc:sldMk cId="3130399512" sldId="450"/>
            <ac:spMk id="39" creationId="{E155505F-2FA3-E458-A59F-70D11671E789}"/>
          </ac:spMkLst>
        </pc:spChg>
        <pc:spChg chg="mod">
          <ac:chgData name="Muchahary, Frankle" userId="0f2bf491-0617-4378-90b8-89af8fa381b9" providerId="ADAL" clId="{90877F19-00D2-4A00-8128-E78E36266C9A}" dt="2023-11-08T06:05:40.237" v="163583" actId="1076"/>
          <ac:spMkLst>
            <pc:docMk/>
            <pc:sldMk cId="3130399512" sldId="450"/>
            <ac:spMk id="63" creationId="{39E0A385-1312-7D08-484E-0AD96EC2E227}"/>
          </ac:spMkLst>
        </pc:spChg>
        <pc:spChg chg="mod ord">
          <ac:chgData name="Muchahary, Frankle" userId="0f2bf491-0617-4378-90b8-89af8fa381b9" providerId="ADAL" clId="{90877F19-00D2-4A00-8128-E78E36266C9A}" dt="2023-11-08T06:07:16.433" v="163584" actId="1076"/>
          <ac:spMkLst>
            <pc:docMk/>
            <pc:sldMk cId="3130399512" sldId="450"/>
            <ac:spMk id="407" creationId="{00000000-0000-0000-0000-000000000000}"/>
          </ac:spMkLst>
        </pc:spChg>
        <pc:grpChg chg="mod">
          <ac:chgData name="Muchahary, Frankle" userId="0f2bf491-0617-4378-90b8-89af8fa381b9" providerId="ADAL" clId="{90877F19-00D2-4A00-8128-E78E36266C9A}" dt="2023-11-08T06:07:56.504" v="163597" actId="465"/>
          <ac:grpSpMkLst>
            <pc:docMk/>
            <pc:sldMk cId="3130399512" sldId="450"/>
            <ac:grpSpMk id="3" creationId="{93B3E554-BABF-B432-F988-AF0ADA4D4D78}"/>
          </ac:grpSpMkLst>
        </pc:grpChg>
        <pc:grpChg chg="del">
          <ac:chgData name="Muchahary, Frankle" userId="0f2bf491-0617-4378-90b8-89af8fa381b9" providerId="ADAL" clId="{90877F19-00D2-4A00-8128-E78E36266C9A}" dt="2023-11-08T06:07:23.337" v="163589" actId="478"/>
          <ac:grpSpMkLst>
            <pc:docMk/>
            <pc:sldMk cId="3130399512" sldId="450"/>
            <ac:grpSpMk id="8" creationId="{7521B56D-7056-206F-BE82-87C9C552BB8D}"/>
          </ac:grpSpMkLst>
        </pc:grpChg>
        <pc:grpChg chg="mod">
          <ac:chgData name="Muchahary, Frankle" userId="0f2bf491-0617-4378-90b8-89af8fa381b9" providerId="ADAL" clId="{90877F19-00D2-4A00-8128-E78E36266C9A}" dt="2023-11-08T06:07:36.311" v="163591" actId="1076"/>
          <ac:grpSpMkLst>
            <pc:docMk/>
            <pc:sldMk cId="3130399512" sldId="450"/>
            <ac:grpSpMk id="9" creationId="{5F92DC02-5138-5406-814F-6CC5B3F1CBFD}"/>
          </ac:grpSpMkLst>
        </pc:grpChg>
        <pc:graphicFrameChg chg="mod">
          <ac:chgData name="Muchahary, Frankle" userId="0f2bf491-0617-4378-90b8-89af8fa381b9" providerId="ADAL" clId="{90877F19-00D2-4A00-8128-E78E36266C9A}" dt="2023-11-08T06:07:16.972" v="163588"/>
          <ac:graphicFrameMkLst>
            <pc:docMk/>
            <pc:sldMk cId="3130399512" sldId="450"/>
            <ac:graphicFrameMk id="2" creationId="{AD821E07-0C78-9EAC-03E8-B886F21594F7}"/>
          </ac:graphicFrameMkLst>
        </pc:graphicFrameChg>
      </pc:sldChg>
      <pc:sldChg chg="delSp modSp mod ord">
        <pc:chgData name="Muchahary, Frankle" userId="0f2bf491-0617-4378-90b8-89af8fa381b9" providerId="ADAL" clId="{90877F19-00D2-4A00-8128-E78E36266C9A}" dt="2023-11-08T05:55:48.678" v="163521" actId="403"/>
        <pc:sldMkLst>
          <pc:docMk/>
          <pc:sldMk cId="3061916073" sldId="451"/>
        </pc:sldMkLst>
        <pc:spChg chg="del">
          <ac:chgData name="Muchahary, Frankle" userId="0f2bf491-0617-4378-90b8-89af8fa381b9" providerId="ADAL" clId="{90877F19-00D2-4A00-8128-E78E36266C9A}" dt="2023-11-08T05:45:19.935" v="163033" actId="478"/>
          <ac:spMkLst>
            <pc:docMk/>
            <pc:sldMk cId="3061916073" sldId="451"/>
            <ac:spMk id="2" creationId="{280DBD70-EF42-7D89-3E51-0C4D906CA6BC}"/>
          </ac:spMkLst>
        </pc:spChg>
        <pc:spChg chg="mod">
          <ac:chgData name="Muchahary, Frankle" userId="0f2bf491-0617-4378-90b8-89af8fa381b9" providerId="ADAL" clId="{90877F19-00D2-4A00-8128-E78E36266C9A}" dt="2023-11-08T05:55:48.678" v="163521" actId="403"/>
          <ac:spMkLst>
            <pc:docMk/>
            <pc:sldMk cId="3061916073" sldId="451"/>
            <ac:spMk id="7" creationId="{FC62CB40-7539-6249-CFEF-D4283301FC83}"/>
          </ac:spMkLst>
        </pc:spChg>
      </pc:sldChg>
      <pc:sldChg chg="modSp mod">
        <pc:chgData name="Muchahary, Frankle" userId="0f2bf491-0617-4378-90b8-89af8fa381b9" providerId="ADAL" clId="{90877F19-00D2-4A00-8128-E78E36266C9A}" dt="2023-11-08T05:52:36.750" v="163157" actId="20577"/>
        <pc:sldMkLst>
          <pc:docMk/>
          <pc:sldMk cId="637327513" sldId="452"/>
        </pc:sldMkLst>
        <pc:spChg chg="mod">
          <ac:chgData name="Muchahary, Frankle" userId="0f2bf491-0617-4378-90b8-89af8fa381b9" providerId="ADAL" clId="{90877F19-00D2-4A00-8128-E78E36266C9A}" dt="2023-11-08T05:52:36.750" v="163157" actId="20577"/>
          <ac:spMkLst>
            <pc:docMk/>
            <pc:sldMk cId="637327513" sldId="452"/>
            <ac:spMk id="4" creationId="{81D2832F-70CB-55FD-FEDF-22EA36D5525D}"/>
          </ac:spMkLst>
        </pc:spChg>
      </pc:sldChg>
      <pc:sldChg chg="addSp delSp modSp add mod">
        <pc:chgData name="Muchahary, Frankle" userId="0f2bf491-0617-4378-90b8-89af8fa381b9" providerId="ADAL" clId="{90877F19-00D2-4A00-8128-E78E36266C9A}" dt="2023-11-08T21:53:52.382" v="181017" actId="478"/>
        <pc:sldMkLst>
          <pc:docMk/>
          <pc:sldMk cId="1971886041" sldId="453"/>
        </pc:sldMkLst>
        <pc:spChg chg="add del mod">
          <ac:chgData name="Muchahary, Frankle" userId="0f2bf491-0617-4378-90b8-89af8fa381b9" providerId="ADAL" clId="{90877F19-00D2-4A00-8128-E78E36266C9A}" dt="2023-11-08T21:53:52.382" v="181017" actId="478"/>
          <ac:spMkLst>
            <pc:docMk/>
            <pc:sldMk cId="1971886041" sldId="453"/>
            <ac:spMk id="4" creationId="{E097F0D3-8A52-EE1E-275F-675AF491A702}"/>
          </ac:spMkLst>
        </pc:spChg>
      </pc:sldChg>
      <pc:sldChg chg="addSp delSp modSp add del mod chgLayout">
        <pc:chgData name="Muchahary, Frankle" userId="0f2bf491-0617-4378-90b8-89af8fa381b9" providerId="ADAL" clId="{90877F19-00D2-4A00-8128-E78E36266C9A}" dt="2023-11-08T08:56:26.315" v="172064" actId="2696"/>
        <pc:sldMkLst>
          <pc:docMk/>
          <pc:sldMk cId="2084503525" sldId="453"/>
        </pc:sldMkLst>
        <pc:spChg chg="mod ord">
          <ac:chgData name="Muchahary, Frankle" userId="0f2bf491-0617-4378-90b8-89af8fa381b9" providerId="ADAL" clId="{90877F19-00D2-4A00-8128-E78E36266C9A}" dt="2023-11-08T05:53:03.605" v="163407" actId="403"/>
          <ac:spMkLst>
            <pc:docMk/>
            <pc:sldMk cId="2084503525" sldId="453"/>
            <ac:spMk id="2" creationId="{D38E5C8C-3841-BCDE-2788-4F1BD656772E}"/>
          </ac:spMkLst>
        </pc:spChg>
        <pc:spChg chg="add del mod modVis">
          <ac:chgData name="Muchahary, Frankle" userId="0f2bf491-0617-4378-90b8-89af8fa381b9" providerId="ADAL" clId="{90877F19-00D2-4A00-8128-E78E36266C9A}" dt="2023-11-08T05:52:58.814" v="163377"/>
          <ac:spMkLst>
            <pc:docMk/>
            <pc:sldMk cId="2084503525" sldId="453"/>
            <ac:spMk id="3" creationId="{D99D4FFD-06FE-3939-BEA4-83EA2C7B8A23}"/>
          </ac:spMkLst>
        </pc:spChg>
        <pc:spChg chg="del mod">
          <ac:chgData name="Muchahary, Frankle" userId="0f2bf491-0617-4378-90b8-89af8fa381b9" providerId="ADAL" clId="{90877F19-00D2-4A00-8128-E78E36266C9A}" dt="2023-11-08T05:52:59.616" v="163383"/>
          <ac:spMkLst>
            <pc:docMk/>
            <pc:sldMk cId="2084503525" sldId="453"/>
            <ac:spMk id="13" creationId="{EC99361F-542D-58A2-8885-BE41C5CB3848}"/>
          </ac:spMkLst>
        </pc:spChg>
        <pc:spChg chg="del mod">
          <ac:chgData name="Muchahary, Frankle" userId="0f2bf491-0617-4378-90b8-89af8fa381b9" providerId="ADAL" clId="{90877F19-00D2-4A00-8128-E78E36266C9A}" dt="2023-11-08T05:52:59.615" v="163381"/>
          <ac:spMkLst>
            <pc:docMk/>
            <pc:sldMk cId="2084503525" sldId="453"/>
            <ac:spMk id="15" creationId="{985059B3-79E3-4CCC-3270-A1E578D007F6}"/>
          </ac:spMkLst>
        </pc:spChg>
        <pc:spChg chg="del mod">
          <ac:chgData name="Muchahary, Frankle" userId="0f2bf491-0617-4378-90b8-89af8fa381b9" providerId="ADAL" clId="{90877F19-00D2-4A00-8128-E78E36266C9A}" dt="2023-11-08T05:52:59.626" v="163397"/>
          <ac:spMkLst>
            <pc:docMk/>
            <pc:sldMk cId="2084503525" sldId="453"/>
            <ac:spMk id="18" creationId="{3163B661-8C09-BC7E-82C6-7D3AE909F677}"/>
          </ac:spMkLst>
        </pc:spChg>
        <pc:spChg chg="del mod">
          <ac:chgData name="Muchahary, Frankle" userId="0f2bf491-0617-4378-90b8-89af8fa381b9" providerId="ADAL" clId="{90877F19-00D2-4A00-8128-E78E36266C9A}" dt="2023-11-08T05:52:59.616" v="163382"/>
          <ac:spMkLst>
            <pc:docMk/>
            <pc:sldMk cId="2084503525" sldId="453"/>
            <ac:spMk id="25" creationId="{620B242F-FB96-1114-4235-7FB0BD74A9F2}"/>
          </ac:spMkLst>
        </pc:spChg>
        <pc:spChg chg="del mod">
          <ac:chgData name="Muchahary, Frankle" userId="0f2bf491-0617-4378-90b8-89af8fa381b9" providerId="ADAL" clId="{90877F19-00D2-4A00-8128-E78E36266C9A}" dt="2023-11-08T05:52:59.613" v="163380"/>
          <ac:spMkLst>
            <pc:docMk/>
            <pc:sldMk cId="2084503525" sldId="453"/>
            <ac:spMk id="27" creationId="{A7DC921B-D373-06F3-836A-FF0FB048FA4A}"/>
          </ac:spMkLst>
        </pc:spChg>
        <pc:spChg chg="del mod">
          <ac:chgData name="Muchahary, Frankle" userId="0f2bf491-0617-4378-90b8-89af8fa381b9" providerId="ADAL" clId="{90877F19-00D2-4A00-8128-E78E36266C9A}" dt="2023-11-08T05:52:59.624" v="163394"/>
          <ac:spMkLst>
            <pc:docMk/>
            <pc:sldMk cId="2084503525" sldId="453"/>
            <ac:spMk id="38" creationId="{BBD3CB43-F04F-B920-A34B-98BA719DDBF5}"/>
          </ac:spMkLst>
        </pc:spChg>
        <pc:spChg chg="del mod">
          <ac:chgData name="Muchahary, Frankle" userId="0f2bf491-0617-4378-90b8-89af8fa381b9" providerId="ADAL" clId="{90877F19-00D2-4A00-8128-E78E36266C9A}" dt="2023-11-08T05:52:59.627" v="163398"/>
          <ac:spMkLst>
            <pc:docMk/>
            <pc:sldMk cId="2084503525" sldId="453"/>
            <ac:spMk id="126" creationId="{29814101-6D09-583A-C86A-E2C672185F8A}"/>
          </ac:spMkLst>
        </pc:spChg>
        <pc:spChg chg="del mod">
          <ac:chgData name="Muchahary, Frankle" userId="0f2bf491-0617-4378-90b8-89af8fa381b9" providerId="ADAL" clId="{90877F19-00D2-4A00-8128-E78E36266C9A}" dt="2023-11-08T05:52:59.625" v="163396"/>
          <ac:spMkLst>
            <pc:docMk/>
            <pc:sldMk cId="2084503525" sldId="453"/>
            <ac:spMk id="246" creationId="{B6F3AD08-8222-9D3F-BF30-71A422D62E2E}"/>
          </ac:spMkLst>
        </pc:spChg>
        <pc:spChg chg="del mod">
          <ac:chgData name="Muchahary, Frankle" userId="0f2bf491-0617-4378-90b8-89af8fa381b9" providerId="ADAL" clId="{90877F19-00D2-4A00-8128-E78E36266C9A}" dt="2023-11-08T05:52:59.625" v="163395"/>
          <ac:spMkLst>
            <pc:docMk/>
            <pc:sldMk cId="2084503525" sldId="453"/>
            <ac:spMk id="277" creationId="{26A3177C-D9DF-3170-34D6-5485A2E39F08}"/>
          </ac:spMkLst>
        </pc:spChg>
        <pc:spChg chg="del mod">
          <ac:chgData name="Muchahary, Frankle" userId="0f2bf491-0617-4378-90b8-89af8fa381b9" providerId="ADAL" clId="{90877F19-00D2-4A00-8128-E78E36266C9A}" dt="2023-11-08T05:52:59.623" v="163393"/>
          <ac:spMkLst>
            <pc:docMk/>
            <pc:sldMk cId="2084503525" sldId="453"/>
            <ac:spMk id="284" creationId="{C0C84B8F-AD0C-65D8-3708-8C0D1F8BD05A}"/>
          </ac:spMkLst>
        </pc:spChg>
        <pc:spChg chg="del mod">
          <ac:chgData name="Muchahary, Frankle" userId="0f2bf491-0617-4378-90b8-89af8fa381b9" providerId="ADAL" clId="{90877F19-00D2-4A00-8128-E78E36266C9A}" dt="2023-11-08T05:52:59.621" v="163392"/>
          <ac:spMkLst>
            <pc:docMk/>
            <pc:sldMk cId="2084503525" sldId="453"/>
            <ac:spMk id="291" creationId="{EF660BAC-E244-C0FB-2323-C3613018DFFF}"/>
          </ac:spMkLst>
        </pc:spChg>
        <pc:spChg chg="del mod ord">
          <ac:chgData name="Muchahary, Frankle" userId="0f2bf491-0617-4378-90b8-89af8fa381b9" providerId="ADAL" clId="{90877F19-00D2-4A00-8128-E78E36266C9A}" dt="2023-11-08T05:52:59.621" v="163391"/>
          <ac:spMkLst>
            <pc:docMk/>
            <pc:sldMk cId="2084503525" sldId="453"/>
            <ac:spMk id="316" creationId="{69D6838A-4C57-A8BF-E356-BE6A10F24FA3}"/>
          </ac:spMkLst>
        </pc:spChg>
        <pc:graphicFrameChg chg="add del mod ord replST">
          <ac:chgData name="Muchahary, Frankle" userId="0f2bf491-0617-4378-90b8-89af8fa381b9" providerId="ADAL" clId="{90877F19-00D2-4A00-8128-E78E36266C9A}" dt="2023-11-08T05:52:59.628" v="163400"/>
          <ac:graphicFrameMkLst>
            <pc:docMk/>
            <pc:sldMk cId="2084503525" sldId="453"/>
            <ac:graphicFrameMk id="4" creationId="{C412752A-6954-C322-9D4A-03B240CBC13C}"/>
          </ac:graphicFrameMkLst>
        </pc:graphicFrameChg>
        <pc:graphicFrameChg chg="mod">
          <ac:chgData name="Muchahary, Frankle" userId="0f2bf491-0617-4378-90b8-89af8fa381b9" providerId="ADAL" clId="{90877F19-00D2-4A00-8128-E78E36266C9A}" dt="2023-11-08T05:52:59.641" v="163404"/>
          <ac:graphicFrameMkLst>
            <pc:docMk/>
            <pc:sldMk cId="2084503525" sldId="453"/>
            <ac:graphicFrameMk id="8" creationId="{7C2468B8-94B3-1E45-C5D3-2E4C64205350}"/>
          </ac:graphicFrameMkLst>
        </pc:graphicFrameChg>
        <pc:graphicFrameChg chg="del">
          <ac:chgData name="Muchahary, Frankle" userId="0f2bf491-0617-4378-90b8-89af8fa381b9" providerId="ADAL" clId="{90877F19-00D2-4A00-8128-E78E36266C9A}" dt="2023-11-08T05:52:58.752" v="163335"/>
          <ac:graphicFrameMkLst>
            <pc:docMk/>
            <pc:sldMk cId="2084503525" sldId="453"/>
            <ac:graphicFrameMk id="29" creationId="{1FC3BD75-3CCB-9CAE-2806-8D651B95AE9D}"/>
          </ac:graphicFrameMkLst>
        </pc:graphicFrameChg>
        <pc:cxnChg chg="del mod ord">
          <ac:chgData name="Muchahary, Frankle" userId="0f2bf491-0617-4378-90b8-89af8fa381b9" providerId="ADAL" clId="{90877F19-00D2-4A00-8128-E78E36266C9A}" dt="2023-11-08T05:52:59.620" v="163389"/>
          <ac:cxnSpMkLst>
            <pc:docMk/>
            <pc:sldMk cId="2084503525" sldId="453"/>
            <ac:cxnSpMk id="317" creationId="{DCB1B3C4-CC64-2162-F944-5A76AB63A3A7}"/>
          </ac:cxnSpMkLst>
        </pc:cxnChg>
        <pc:cxnChg chg="del mod ord">
          <ac:chgData name="Muchahary, Frankle" userId="0f2bf491-0617-4378-90b8-89af8fa381b9" providerId="ADAL" clId="{90877F19-00D2-4A00-8128-E78E36266C9A}" dt="2023-11-08T05:52:59.619" v="163387"/>
          <ac:cxnSpMkLst>
            <pc:docMk/>
            <pc:sldMk cId="2084503525" sldId="453"/>
            <ac:cxnSpMk id="318" creationId="{A5E84D42-72C2-7043-938A-84A3D663BFC2}"/>
          </ac:cxnSpMkLst>
        </pc:cxnChg>
        <pc:cxnChg chg="del mod ord">
          <ac:chgData name="Muchahary, Frankle" userId="0f2bf491-0617-4378-90b8-89af8fa381b9" providerId="ADAL" clId="{90877F19-00D2-4A00-8128-E78E36266C9A}" dt="2023-11-08T05:52:59.617" v="163385"/>
          <ac:cxnSpMkLst>
            <pc:docMk/>
            <pc:sldMk cId="2084503525" sldId="453"/>
            <ac:cxnSpMk id="319" creationId="{D70F67A2-F7DD-DA98-FD5F-D9BD5B016A4D}"/>
          </ac:cxnSpMkLst>
        </pc:cxnChg>
      </pc:sldChg>
      <pc:sldChg chg="addSp delSp modSp add mod">
        <pc:chgData name="Muchahary, Frankle" userId="0f2bf491-0617-4378-90b8-89af8fa381b9" providerId="ADAL" clId="{90877F19-00D2-4A00-8128-E78E36266C9A}" dt="2023-11-08T06:03:38.471" v="163568" actId="403"/>
        <pc:sldMkLst>
          <pc:docMk/>
          <pc:sldMk cId="1877260670" sldId="454"/>
        </pc:sldMkLst>
        <pc:spChg chg="add del mod modVis">
          <ac:chgData name="Muchahary, Frankle" userId="0f2bf491-0617-4378-90b8-89af8fa381b9" providerId="ADAL" clId="{90877F19-00D2-4A00-8128-E78E36266C9A}" dt="2023-11-08T05:55:12.882" v="163464"/>
          <ac:spMkLst>
            <pc:docMk/>
            <pc:sldMk cId="1877260670" sldId="454"/>
            <ac:spMk id="2" creationId="{B397E61D-2509-7359-C9C4-3466479F453B}"/>
          </ac:spMkLst>
        </pc:spChg>
        <pc:spChg chg="mod">
          <ac:chgData name="Muchahary, Frankle" userId="0f2bf491-0617-4378-90b8-89af8fa381b9" providerId="ADAL" clId="{90877F19-00D2-4A00-8128-E78E36266C9A}" dt="2023-11-08T06:03:28.465" v="163537" actId="948"/>
          <ac:spMkLst>
            <pc:docMk/>
            <pc:sldMk cId="1877260670" sldId="454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5:55:19.428" v="163517"/>
          <ac:spMkLst>
            <pc:docMk/>
            <pc:sldMk cId="1877260670" sldId="454"/>
            <ac:spMk id="5" creationId="{810626C0-A20E-7829-F350-2DD583D83381}"/>
          </ac:spMkLst>
        </pc:spChg>
        <pc:spChg chg="add mod">
          <ac:chgData name="Muchahary, Frankle" userId="0f2bf491-0617-4378-90b8-89af8fa381b9" providerId="ADAL" clId="{90877F19-00D2-4A00-8128-E78E36266C9A}" dt="2023-11-08T06:03:38.471" v="163568" actId="403"/>
          <ac:spMkLst>
            <pc:docMk/>
            <pc:sldMk cId="1877260670" sldId="454"/>
            <ac:spMk id="7" creationId="{3E9BAB54-1122-74F9-ABAC-9F2E172B1FE5}"/>
          </ac:spMkLst>
        </pc:spChg>
        <pc:spChg chg="add del mod modVis">
          <ac:chgData name="Muchahary, Frankle" userId="0f2bf491-0617-4378-90b8-89af8fa381b9" providerId="ADAL" clId="{90877F19-00D2-4A00-8128-E78E36266C9A}" dt="2023-11-08T06:03:28.499" v="163560"/>
          <ac:spMkLst>
            <pc:docMk/>
            <pc:sldMk cId="1877260670" sldId="454"/>
            <ac:spMk id="8" creationId="{A7D70B7C-EE69-EABE-3179-42050524E97D}"/>
          </ac:spMkLst>
        </pc:spChg>
        <pc:graphicFrameChg chg="mod">
          <ac:chgData name="Muchahary, Frankle" userId="0f2bf491-0617-4378-90b8-89af8fa381b9" providerId="ADAL" clId="{90877F19-00D2-4A00-8128-E78E36266C9A}" dt="2023-11-08T06:03:28.503" v="163562"/>
          <ac:graphicFrameMkLst>
            <pc:docMk/>
            <pc:sldMk cId="1877260670" sldId="454"/>
            <ac:graphicFrameMk id="4" creationId="{ECE92B82-86F3-9DAE-CCB0-A8B46E3F36BF}"/>
          </ac:graphicFrameMkLst>
        </pc:graphicFrameChg>
        <pc:cxnChg chg="mod">
          <ac:chgData name="Muchahary, Frankle" userId="0f2bf491-0617-4378-90b8-89af8fa381b9" providerId="ADAL" clId="{90877F19-00D2-4A00-8128-E78E36266C9A}" dt="2023-11-08T06:03:27.889" v="163536" actId="1076"/>
          <ac:cxnSpMkLst>
            <pc:docMk/>
            <pc:sldMk cId="1877260670" sldId="454"/>
            <ac:cxnSpMk id="6" creationId="{0720BBE8-E596-B9A7-45B8-8DA2E0F1DD2F}"/>
          </ac:cxnSpMkLst>
        </pc:cxnChg>
      </pc:sldChg>
      <pc:sldChg chg="addSp delSp modSp add mod">
        <pc:chgData name="Muchahary, Frankle" userId="0f2bf491-0617-4378-90b8-89af8fa381b9" providerId="ADAL" clId="{90877F19-00D2-4A00-8128-E78E36266C9A}" dt="2023-11-08T06:12:49.193" v="163942"/>
        <pc:sldMkLst>
          <pc:docMk/>
          <pc:sldMk cId="3742642329" sldId="455"/>
        </pc:sldMkLst>
        <pc:spChg chg="add del mod modVis">
          <ac:chgData name="Muchahary, Frankle" userId="0f2bf491-0617-4378-90b8-89af8fa381b9" providerId="ADAL" clId="{90877F19-00D2-4A00-8128-E78E36266C9A}" dt="2023-11-08T06:12:12.855" v="163867"/>
          <ac:spMkLst>
            <pc:docMk/>
            <pc:sldMk cId="3742642329" sldId="455"/>
            <ac:spMk id="2" creationId="{561353E9-99F8-B1C8-2F8D-188024322F0D}"/>
          </ac:spMkLst>
        </pc:spChg>
        <pc:spChg chg="mod">
          <ac:chgData name="Muchahary, Frankle" userId="0f2bf491-0617-4378-90b8-89af8fa381b9" providerId="ADAL" clId="{90877F19-00D2-4A00-8128-E78E36266C9A}" dt="2023-11-08T06:12:49.160" v="163917" actId="948"/>
          <ac:spMkLst>
            <pc:docMk/>
            <pc:sldMk cId="3742642329" sldId="455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6:12:42.453" v="163913"/>
          <ac:spMkLst>
            <pc:docMk/>
            <pc:sldMk cId="3742642329" sldId="455"/>
            <ac:spMk id="5" creationId="{8429AD96-B171-EDA6-47A6-D4E2FAAD9CE2}"/>
          </ac:spMkLst>
        </pc:spChg>
        <pc:spChg chg="add del mod modVis">
          <ac:chgData name="Muchahary, Frankle" userId="0f2bf491-0617-4378-90b8-89af8fa381b9" providerId="ADAL" clId="{90877F19-00D2-4A00-8128-E78E36266C9A}" dt="2023-11-08T06:12:49.191" v="163940"/>
          <ac:spMkLst>
            <pc:docMk/>
            <pc:sldMk cId="3742642329" sldId="455"/>
            <ac:spMk id="7" creationId="{0091E89B-3FB9-697F-A27D-59023071AD95}"/>
          </ac:spMkLst>
        </pc:spChg>
        <pc:graphicFrameChg chg="mod">
          <ac:chgData name="Muchahary, Frankle" userId="0f2bf491-0617-4378-90b8-89af8fa381b9" providerId="ADAL" clId="{90877F19-00D2-4A00-8128-E78E36266C9A}" dt="2023-11-08T06:12:49.193" v="163942"/>
          <ac:graphicFrameMkLst>
            <pc:docMk/>
            <pc:sldMk cId="3742642329" sldId="455"/>
            <ac:graphicFrameMk id="4" creationId="{ECE92B82-86F3-9DAE-CCB0-A8B46E3F36BF}"/>
          </ac:graphicFrameMkLst>
        </pc:graphicFrameChg>
      </pc:sldChg>
      <pc:sldChg chg="addSp delSp modSp add mod">
        <pc:chgData name="Muchahary, Frankle" userId="0f2bf491-0617-4378-90b8-89af8fa381b9" providerId="ADAL" clId="{90877F19-00D2-4A00-8128-E78E36266C9A}" dt="2023-11-08T06:14:11.029" v="164216" actId="571"/>
        <pc:sldMkLst>
          <pc:docMk/>
          <pc:sldMk cId="800981628" sldId="456"/>
        </pc:sldMkLst>
        <pc:spChg chg="add del mod modVis">
          <ac:chgData name="Muchahary, Frankle" userId="0f2bf491-0617-4378-90b8-89af8fa381b9" providerId="ADAL" clId="{90877F19-00D2-4A00-8128-E78E36266C9A}" dt="2023-11-08T06:13:26.299" v="164009"/>
          <ac:spMkLst>
            <pc:docMk/>
            <pc:sldMk cId="800981628" sldId="456"/>
            <ac:spMk id="2" creationId="{687C02B3-5769-BCAB-88C5-520CA1F9D635}"/>
          </ac:spMkLst>
        </pc:spChg>
        <pc:spChg chg="mod">
          <ac:chgData name="Muchahary, Frankle" userId="0f2bf491-0617-4378-90b8-89af8fa381b9" providerId="ADAL" clId="{90877F19-00D2-4A00-8128-E78E36266C9A}" dt="2023-11-08T06:14:01.970" v="164189" actId="948"/>
          <ac:spMkLst>
            <pc:docMk/>
            <pc:sldMk cId="800981628" sldId="456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6:13:32.861" v="164036"/>
          <ac:spMkLst>
            <pc:docMk/>
            <pc:sldMk cId="800981628" sldId="456"/>
            <ac:spMk id="5" creationId="{C9A81245-08DC-5CCF-01AA-E16ED90D3DD3}"/>
          </ac:spMkLst>
        </pc:spChg>
        <pc:spChg chg="add del mod modVis">
          <ac:chgData name="Muchahary, Frankle" userId="0f2bf491-0617-4378-90b8-89af8fa381b9" providerId="ADAL" clId="{90877F19-00D2-4A00-8128-E78E36266C9A}" dt="2023-11-08T06:13:38.643" v="164085"/>
          <ac:spMkLst>
            <pc:docMk/>
            <pc:sldMk cId="800981628" sldId="456"/>
            <ac:spMk id="7" creationId="{99855938-38F1-8784-3CC5-F8217A59C72F}"/>
          </ac:spMkLst>
        </pc:spChg>
        <pc:spChg chg="add del mod modVis">
          <ac:chgData name="Muchahary, Frankle" userId="0f2bf491-0617-4378-90b8-89af8fa381b9" providerId="ADAL" clId="{90877F19-00D2-4A00-8128-E78E36266C9A}" dt="2023-11-08T06:13:43.410" v="164119"/>
          <ac:spMkLst>
            <pc:docMk/>
            <pc:sldMk cId="800981628" sldId="456"/>
            <ac:spMk id="8" creationId="{EFA098ED-30CD-9829-A332-7A5F5697DC7F}"/>
          </ac:spMkLst>
        </pc:spChg>
        <pc:spChg chg="add del mod modVis">
          <ac:chgData name="Muchahary, Frankle" userId="0f2bf491-0617-4378-90b8-89af8fa381b9" providerId="ADAL" clId="{90877F19-00D2-4A00-8128-E78E36266C9A}" dt="2023-11-08T06:13:45.547" v="164146"/>
          <ac:spMkLst>
            <pc:docMk/>
            <pc:sldMk cId="800981628" sldId="456"/>
            <ac:spMk id="9" creationId="{D09D0486-00D9-C391-0F42-DAC5E6F7116E}"/>
          </ac:spMkLst>
        </pc:spChg>
        <pc:spChg chg="add del mod modVis">
          <ac:chgData name="Muchahary, Frankle" userId="0f2bf491-0617-4378-90b8-89af8fa381b9" providerId="ADAL" clId="{90877F19-00D2-4A00-8128-E78E36266C9A}" dt="2023-11-08T06:13:57.872" v="164185"/>
          <ac:spMkLst>
            <pc:docMk/>
            <pc:sldMk cId="800981628" sldId="456"/>
            <ac:spMk id="10" creationId="{04969AB9-86E6-A60E-1372-D599B25ACABC}"/>
          </ac:spMkLst>
        </pc:spChg>
        <pc:spChg chg="add del mod modVis">
          <ac:chgData name="Muchahary, Frankle" userId="0f2bf491-0617-4378-90b8-89af8fa381b9" providerId="ADAL" clId="{90877F19-00D2-4A00-8128-E78E36266C9A}" dt="2023-11-08T06:14:02.002" v="164212"/>
          <ac:spMkLst>
            <pc:docMk/>
            <pc:sldMk cId="800981628" sldId="456"/>
            <ac:spMk id="11" creationId="{F0D832D7-F3A6-0866-F6B6-5BD952126C18}"/>
          </ac:spMkLst>
        </pc:spChg>
        <pc:spChg chg="add mod">
          <ac:chgData name="Muchahary, Frankle" userId="0f2bf491-0617-4378-90b8-89af8fa381b9" providerId="ADAL" clId="{90877F19-00D2-4A00-8128-E78E36266C9A}" dt="2023-11-08T06:14:11.029" v="164216" actId="571"/>
          <ac:spMkLst>
            <pc:docMk/>
            <pc:sldMk cId="800981628" sldId="456"/>
            <ac:spMk id="12" creationId="{F14A45CA-94C5-7B55-ECEF-A675C3793821}"/>
          </ac:spMkLst>
        </pc:spChg>
        <pc:graphicFrameChg chg="mod">
          <ac:chgData name="Muchahary, Frankle" userId="0f2bf491-0617-4378-90b8-89af8fa381b9" providerId="ADAL" clId="{90877F19-00D2-4A00-8128-E78E36266C9A}" dt="2023-11-08T06:14:02.005" v="164214"/>
          <ac:graphicFrameMkLst>
            <pc:docMk/>
            <pc:sldMk cId="800981628" sldId="456"/>
            <ac:graphicFrameMk id="4" creationId="{ECE92B82-86F3-9DAE-CCB0-A8B46E3F36BF}"/>
          </ac:graphicFrameMkLst>
        </pc:graphicFrameChg>
        <pc:cxnChg chg="mod">
          <ac:chgData name="Muchahary, Frankle" userId="0f2bf491-0617-4378-90b8-89af8fa381b9" providerId="ADAL" clId="{90877F19-00D2-4A00-8128-E78E36266C9A}" dt="2023-11-08T06:14:01.342" v="164188" actId="1076"/>
          <ac:cxnSpMkLst>
            <pc:docMk/>
            <pc:sldMk cId="800981628" sldId="456"/>
            <ac:cxnSpMk id="6" creationId="{0720BBE8-E596-B9A7-45B8-8DA2E0F1DD2F}"/>
          </ac:cxnSpMkLst>
        </pc:cxnChg>
        <pc:cxnChg chg="add mod">
          <ac:chgData name="Muchahary, Frankle" userId="0f2bf491-0617-4378-90b8-89af8fa381b9" providerId="ADAL" clId="{90877F19-00D2-4A00-8128-E78E36266C9A}" dt="2023-11-08T06:14:11.029" v="164216" actId="571"/>
          <ac:cxnSpMkLst>
            <pc:docMk/>
            <pc:sldMk cId="800981628" sldId="456"/>
            <ac:cxnSpMk id="13" creationId="{6AA37F81-CC03-6D77-0F6E-CCCF992D7467}"/>
          </ac:cxnSpMkLst>
        </pc:cxnChg>
      </pc:sldChg>
      <pc:sldChg chg="modSp mod">
        <pc:chgData name="Muchahary, Frankle" userId="0f2bf491-0617-4378-90b8-89af8fa381b9" providerId="ADAL" clId="{90877F19-00D2-4A00-8128-E78E36266C9A}" dt="2023-11-08T08:28:31.120" v="171767"/>
        <pc:sldMkLst>
          <pc:docMk/>
          <pc:sldMk cId="1422633457" sldId="457"/>
        </pc:sldMkLst>
        <pc:graphicFrameChg chg="mod">
          <ac:chgData name="Muchahary, Frankle" userId="0f2bf491-0617-4378-90b8-89af8fa381b9" providerId="ADAL" clId="{90877F19-00D2-4A00-8128-E78E36266C9A}" dt="2023-11-08T08:28:31.120" v="171767"/>
          <ac:graphicFrameMkLst>
            <pc:docMk/>
            <pc:sldMk cId="1422633457" sldId="457"/>
            <ac:graphicFrameMk id="2" creationId="{6DFFB782-796B-7F40-EEAB-5FB33E92F1A5}"/>
          </ac:graphicFrameMkLst>
        </pc:graphicFrameChg>
        <pc:graphicFrameChg chg="mod">
          <ac:chgData name="Muchahary, Frankle" userId="0f2bf491-0617-4378-90b8-89af8fa381b9" providerId="ADAL" clId="{90877F19-00D2-4A00-8128-E78E36266C9A}" dt="2023-11-08T06:18:29.939" v="164625"/>
          <ac:graphicFrameMkLst>
            <pc:docMk/>
            <pc:sldMk cId="1422633457" sldId="457"/>
            <ac:graphicFrameMk id="4" creationId="{6DFFB782-796B-7F40-EEAB-5FB33E92F1A5}"/>
          </ac:graphicFrameMkLst>
        </pc:graphicFrameChg>
      </pc:sldChg>
      <pc:sldChg chg="add del">
        <pc:chgData name="Muchahary, Frankle" userId="0f2bf491-0617-4378-90b8-89af8fa381b9" providerId="ADAL" clId="{90877F19-00D2-4A00-8128-E78E36266C9A}" dt="2023-11-08T06:14:43.860" v="164218"/>
        <pc:sldMkLst>
          <pc:docMk/>
          <pc:sldMk cId="2615910954" sldId="457"/>
        </pc:sldMkLst>
      </pc:sldChg>
      <pc:sldChg chg="addSp delSp modSp add mod">
        <pc:chgData name="Muchahary, Frankle" userId="0f2bf491-0617-4378-90b8-89af8fa381b9" providerId="ADAL" clId="{90877F19-00D2-4A00-8128-E78E36266C9A}" dt="2023-11-08T06:15:03.254" v="164324"/>
        <pc:sldMkLst>
          <pc:docMk/>
          <pc:sldMk cId="2758127380" sldId="458"/>
        </pc:sldMkLst>
        <pc:spChg chg="add del mod modVis">
          <ac:chgData name="Muchahary, Frankle" userId="0f2bf491-0617-4378-90b8-89af8fa381b9" providerId="ADAL" clId="{90877F19-00D2-4A00-8128-E78E36266C9A}" dt="2023-11-08T06:14:56.797" v="164256"/>
          <ac:spMkLst>
            <pc:docMk/>
            <pc:sldMk cId="2758127380" sldId="458"/>
            <ac:spMk id="2" creationId="{401B61BD-3A61-B470-15BD-BE42474FB083}"/>
          </ac:spMkLst>
        </pc:spChg>
        <pc:spChg chg="mod">
          <ac:chgData name="Muchahary, Frankle" userId="0f2bf491-0617-4378-90b8-89af8fa381b9" providerId="ADAL" clId="{90877F19-00D2-4A00-8128-E78E36266C9A}" dt="2023-11-08T06:15:03.210" v="164299" actId="948"/>
          <ac:spMkLst>
            <pc:docMk/>
            <pc:sldMk cId="2758127380" sldId="458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6:15:01.408" v="164288"/>
          <ac:spMkLst>
            <pc:docMk/>
            <pc:sldMk cId="2758127380" sldId="458"/>
            <ac:spMk id="5" creationId="{371DB201-C518-DEDE-E72C-52368CEB20E7}"/>
          </ac:spMkLst>
        </pc:spChg>
        <pc:spChg chg="add del mod modVis">
          <ac:chgData name="Muchahary, Frankle" userId="0f2bf491-0617-4378-90b8-89af8fa381b9" providerId="ADAL" clId="{90877F19-00D2-4A00-8128-E78E36266C9A}" dt="2023-11-08T06:15:03.250" v="164322"/>
          <ac:spMkLst>
            <pc:docMk/>
            <pc:sldMk cId="2758127380" sldId="458"/>
            <ac:spMk id="7" creationId="{F657A124-7804-C0C4-28AB-12A158D7BC43}"/>
          </ac:spMkLst>
        </pc:spChg>
        <pc:graphicFrameChg chg="mod">
          <ac:chgData name="Muchahary, Frankle" userId="0f2bf491-0617-4378-90b8-89af8fa381b9" providerId="ADAL" clId="{90877F19-00D2-4A00-8128-E78E36266C9A}" dt="2023-11-08T06:15:03.254" v="164324"/>
          <ac:graphicFrameMkLst>
            <pc:docMk/>
            <pc:sldMk cId="2758127380" sldId="458"/>
            <ac:graphicFrameMk id="4" creationId="{ECE92B82-86F3-9DAE-CCB0-A8B46E3F36BF}"/>
          </ac:graphicFrameMkLst>
        </pc:graphicFrameChg>
      </pc:sldChg>
      <pc:sldChg chg="addSp delSp modSp add mod">
        <pc:chgData name="Muchahary, Frankle" userId="0f2bf491-0617-4378-90b8-89af8fa381b9" providerId="ADAL" clId="{90877F19-00D2-4A00-8128-E78E36266C9A}" dt="2023-11-08T08:16:51.182" v="171748"/>
        <pc:sldMkLst>
          <pc:docMk/>
          <pc:sldMk cId="3217192309" sldId="459"/>
        </pc:sldMkLst>
        <pc:spChg chg="mod">
          <ac:chgData name="Muchahary, Frankle" userId="0f2bf491-0617-4378-90b8-89af8fa381b9" providerId="ADAL" clId="{90877F19-00D2-4A00-8128-E78E36266C9A}" dt="2023-11-08T08:16:51.151" v="171723" actId="948"/>
          <ac:spMkLst>
            <pc:docMk/>
            <pc:sldMk cId="3217192309" sldId="459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8:16:02.085" v="171382" actId="962"/>
          <ac:spMkLst>
            <pc:docMk/>
            <pc:sldMk cId="3217192309" sldId="459"/>
            <ac:spMk id="5" creationId="{48D4A6C8-77BA-8F26-05D1-BF9A51AAD853}"/>
          </ac:spMkLst>
        </pc:spChg>
        <pc:spChg chg="add del mod modVis">
          <ac:chgData name="Muchahary, Frankle" userId="0f2bf491-0617-4378-90b8-89af8fa381b9" providerId="ADAL" clId="{90877F19-00D2-4A00-8128-E78E36266C9A}" dt="2023-11-08T08:16:07.042" v="171429"/>
          <ac:spMkLst>
            <pc:docMk/>
            <pc:sldMk cId="3217192309" sldId="459"/>
            <ac:spMk id="7" creationId="{BA73011C-3E34-A73A-B6DC-8010CD2FA95B}"/>
          </ac:spMkLst>
        </pc:spChg>
        <pc:spChg chg="add del mod modVis">
          <ac:chgData name="Muchahary, Frankle" userId="0f2bf491-0617-4378-90b8-89af8fa381b9" providerId="ADAL" clId="{90877F19-00D2-4A00-8128-E78E36266C9A}" dt="2023-11-08T08:16:09.378" v="171456"/>
          <ac:spMkLst>
            <pc:docMk/>
            <pc:sldMk cId="3217192309" sldId="459"/>
            <ac:spMk id="8" creationId="{40777DD0-E92C-9D2B-8D12-C961DBE91E9A}"/>
          </ac:spMkLst>
        </pc:spChg>
        <pc:spChg chg="add del mod modVis">
          <ac:chgData name="Muchahary, Frankle" userId="0f2bf491-0617-4378-90b8-89af8fa381b9" providerId="ADAL" clId="{90877F19-00D2-4A00-8128-E78E36266C9A}" dt="2023-11-08T08:16:11.940" v="171492"/>
          <ac:spMkLst>
            <pc:docMk/>
            <pc:sldMk cId="3217192309" sldId="459"/>
            <ac:spMk id="9" creationId="{7E792479-7127-4E2B-14FC-DAA27C27B47B}"/>
          </ac:spMkLst>
        </pc:spChg>
        <pc:spChg chg="add del mod modVis">
          <ac:chgData name="Muchahary, Frankle" userId="0f2bf491-0617-4378-90b8-89af8fa381b9" providerId="ADAL" clId="{90877F19-00D2-4A00-8128-E78E36266C9A}" dt="2023-11-08T08:16:15.362" v="171519"/>
          <ac:spMkLst>
            <pc:docMk/>
            <pc:sldMk cId="3217192309" sldId="459"/>
            <ac:spMk id="10" creationId="{FF5D2BBC-48BF-76A5-293B-C723B08CD29D}"/>
          </ac:spMkLst>
        </pc:spChg>
        <pc:spChg chg="add del mod modVis">
          <ac:chgData name="Muchahary, Frankle" userId="0f2bf491-0617-4378-90b8-89af8fa381b9" providerId="ADAL" clId="{90877F19-00D2-4A00-8128-E78E36266C9A}" dt="2023-11-08T08:16:17.075" v="171551"/>
          <ac:spMkLst>
            <pc:docMk/>
            <pc:sldMk cId="3217192309" sldId="459"/>
            <ac:spMk id="11" creationId="{D230F0EE-3549-D783-1143-6B368C8C7FE9}"/>
          </ac:spMkLst>
        </pc:spChg>
        <pc:spChg chg="add del mod modVis">
          <ac:chgData name="Muchahary, Frankle" userId="0f2bf491-0617-4378-90b8-89af8fa381b9" providerId="ADAL" clId="{90877F19-00D2-4A00-8128-E78E36266C9A}" dt="2023-11-08T08:16:18.168" v="171578"/>
          <ac:spMkLst>
            <pc:docMk/>
            <pc:sldMk cId="3217192309" sldId="459"/>
            <ac:spMk id="12" creationId="{F1E9CE60-C159-FC1F-14D5-778D638EEFDF}"/>
          </ac:spMkLst>
        </pc:spChg>
        <pc:spChg chg="add del mod modVis">
          <ac:chgData name="Muchahary, Frankle" userId="0f2bf491-0617-4378-90b8-89af8fa381b9" providerId="ADAL" clId="{90877F19-00D2-4A00-8128-E78E36266C9A}" dt="2023-11-08T08:16:24.301" v="171605"/>
          <ac:spMkLst>
            <pc:docMk/>
            <pc:sldMk cId="3217192309" sldId="459"/>
            <ac:spMk id="13" creationId="{35C6411A-A60E-7046-3426-0844B5EC30FE}"/>
          </ac:spMkLst>
        </pc:spChg>
        <pc:spChg chg="add del mod modVis">
          <ac:chgData name="Muchahary, Frankle" userId="0f2bf491-0617-4378-90b8-89af8fa381b9" providerId="ADAL" clId="{90877F19-00D2-4A00-8128-E78E36266C9A}" dt="2023-11-08T08:16:27.771" v="171632"/>
          <ac:spMkLst>
            <pc:docMk/>
            <pc:sldMk cId="3217192309" sldId="459"/>
            <ac:spMk id="14" creationId="{938FA0CA-5731-DA36-2612-6A2C0CB6ABC2}"/>
          </ac:spMkLst>
        </pc:spChg>
        <pc:spChg chg="add del mod modVis">
          <ac:chgData name="Muchahary, Frankle" userId="0f2bf491-0617-4378-90b8-89af8fa381b9" providerId="ADAL" clId="{90877F19-00D2-4A00-8128-E78E36266C9A}" dt="2023-11-08T08:16:40.443" v="171659"/>
          <ac:spMkLst>
            <pc:docMk/>
            <pc:sldMk cId="3217192309" sldId="459"/>
            <ac:spMk id="15" creationId="{C0B051C1-F60E-EE5A-E9AC-D82C507FE5AE}"/>
          </ac:spMkLst>
        </pc:spChg>
        <pc:spChg chg="add del mod modVis">
          <ac:chgData name="Muchahary, Frankle" userId="0f2bf491-0617-4378-90b8-89af8fa381b9" providerId="ADAL" clId="{90877F19-00D2-4A00-8128-E78E36266C9A}" dt="2023-11-08T08:16:42.424" v="171692"/>
          <ac:spMkLst>
            <pc:docMk/>
            <pc:sldMk cId="3217192309" sldId="459"/>
            <ac:spMk id="16" creationId="{7C1A2634-D6B5-71B9-B850-22AE6A44053E}"/>
          </ac:spMkLst>
        </pc:spChg>
        <pc:spChg chg="add del mod modVis">
          <ac:chgData name="Muchahary, Frankle" userId="0f2bf491-0617-4378-90b8-89af8fa381b9" providerId="ADAL" clId="{90877F19-00D2-4A00-8128-E78E36266C9A}" dt="2023-11-08T08:16:46.842" v="171719"/>
          <ac:spMkLst>
            <pc:docMk/>
            <pc:sldMk cId="3217192309" sldId="459"/>
            <ac:spMk id="17" creationId="{18D77AEC-02E8-F1CB-CCE2-6BA8FFF75545}"/>
          </ac:spMkLst>
        </pc:spChg>
        <pc:spChg chg="add del mod modVis">
          <ac:chgData name="Muchahary, Frankle" userId="0f2bf491-0617-4378-90b8-89af8fa381b9" providerId="ADAL" clId="{90877F19-00D2-4A00-8128-E78E36266C9A}" dt="2023-11-08T08:16:51.179" v="171746"/>
          <ac:spMkLst>
            <pc:docMk/>
            <pc:sldMk cId="3217192309" sldId="459"/>
            <ac:spMk id="18" creationId="{AFBF8DF1-53C6-A124-46B8-FE10B9EE7BD2}"/>
          </ac:spMkLst>
        </pc:spChg>
        <pc:graphicFrameChg chg="mod">
          <ac:chgData name="Muchahary, Frankle" userId="0f2bf491-0617-4378-90b8-89af8fa381b9" providerId="ADAL" clId="{90877F19-00D2-4A00-8128-E78E36266C9A}" dt="2023-11-08T08:16:51.182" v="171748"/>
          <ac:graphicFrameMkLst>
            <pc:docMk/>
            <pc:sldMk cId="3217192309" sldId="459"/>
            <ac:graphicFrameMk id="4" creationId="{ECE92B82-86F3-9DAE-CCB0-A8B46E3F36BF}"/>
          </ac:graphicFrameMkLst>
        </pc:graphicFrameChg>
      </pc:sldChg>
      <pc:sldChg chg="addSp delSp modSp add mod">
        <pc:chgData name="Muchahary, Frankle" userId="0f2bf491-0617-4378-90b8-89af8fa381b9" providerId="ADAL" clId="{90877F19-00D2-4A00-8128-E78E36266C9A}" dt="2023-11-08T06:16:43.385" v="164592"/>
        <pc:sldMkLst>
          <pc:docMk/>
          <pc:sldMk cId="1086956704" sldId="460"/>
        </pc:sldMkLst>
        <pc:spChg chg="add del mod modVis">
          <ac:chgData name="Muchahary, Frankle" userId="0f2bf491-0617-4378-90b8-89af8fa381b9" providerId="ADAL" clId="{90877F19-00D2-4A00-8128-E78E36266C9A}" dt="2023-11-08T06:16:25.740" v="164443"/>
          <ac:spMkLst>
            <pc:docMk/>
            <pc:sldMk cId="1086956704" sldId="460"/>
            <ac:spMk id="2" creationId="{2BA78A47-85E7-4202-C419-723888133D03}"/>
          </ac:spMkLst>
        </pc:spChg>
        <pc:spChg chg="mod">
          <ac:chgData name="Muchahary, Frankle" userId="0f2bf491-0617-4378-90b8-89af8fa381b9" providerId="ADAL" clId="{90877F19-00D2-4A00-8128-E78E36266C9A}" dt="2023-11-08T06:16:43.355" v="164567" actId="948"/>
          <ac:spMkLst>
            <pc:docMk/>
            <pc:sldMk cId="1086956704" sldId="460"/>
            <ac:spMk id="3" creationId="{72E3E6EA-111F-56AA-553A-86DC36436039}"/>
          </ac:spMkLst>
        </pc:spChg>
        <pc:spChg chg="add del mod modVis">
          <ac:chgData name="Muchahary, Frankle" userId="0f2bf491-0617-4378-90b8-89af8fa381b9" providerId="ADAL" clId="{90877F19-00D2-4A00-8128-E78E36266C9A}" dt="2023-11-08T06:16:28.372" v="164470"/>
          <ac:spMkLst>
            <pc:docMk/>
            <pc:sldMk cId="1086956704" sldId="460"/>
            <ac:spMk id="5" creationId="{8F799933-3F2F-C865-B583-F2C0EA5A182B}"/>
          </ac:spMkLst>
        </pc:spChg>
        <pc:spChg chg="add del mod modVis">
          <ac:chgData name="Muchahary, Frankle" userId="0f2bf491-0617-4378-90b8-89af8fa381b9" providerId="ADAL" clId="{90877F19-00D2-4A00-8128-E78E36266C9A}" dt="2023-11-08T06:16:33.772" v="164532"/>
          <ac:spMkLst>
            <pc:docMk/>
            <pc:sldMk cId="1086956704" sldId="460"/>
            <ac:spMk id="7" creationId="{8CFD1554-F31D-DC9C-CBFE-B07D361F95AA}"/>
          </ac:spMkLst>
        </pc:spChg>
        <pc:spChg chg="add del mod modVis">
          <ac:chgData name="Muchahary, Frankle" userId="0f2bf491-0617-4378-90b8-89af8fa381b9" providerId="ADAL" clId="{90877F19-00D2-4A00-8128-E78E36266C9A}" dt="2023-11-08T06:16:43.383" v="164590"/>
          <ac:spMkLst>
            <pc:docMk/>
            <pc:sldMk cId="1086956704" sldId="460"/>
            <ac:spMk id="8" creationId="{9FB65E18-5702-2800-9F3A-3A554FC00E8F}"/>
          </ac:spMkLst>
        </pc:spChg>
        <pc:graphicFrameChg chg="mod">
          <ac:chgData name="Muchahary, Frankle" userId="0f2bf491-0617-4378-90b8-89af8fa381b9" providerId="ADAL" clId="{90877F19-00D2-4A00-8128-E78E36266C9A}" dt="2023-11-08T06:16:43.385" v="164592"/>
          <ac:graphicFrameMkLst>
            <pc:docMk/>
            <pc:sldMk cId="1086956704" sldId="460"/>
            <ac:graphicFrameMk id="4" creationId="{ECE92B82-86F3-9DAE-CCB0-A8B46E3F36BF}"/>
          </ac:graphicFrameMkLst>
        </pc:graphicFrameChg>
      </pc:sldChg>
      <pc:sldChg chg="addSp delSp modSp add mod modAnim">
        <pc:chgData name="Muchahary, Frankle" userId="0f2bf491-0617-4378-90b8-89af8fa381b9" providerId="ADAL" clId="{90877F19-00D2-4A00-8128-E78E36266C9A}" dt="2023-11-08T08:36:19.977" v="171943" actId="20577"/>
        <pc:sldMkLst>
          <pc:docMk/>
          <pc:sldMk cId="3654279583" sldId="461"/>
        </pc:sldMkLst>
        <pc:spChg chg="add mod">
          <ac:chgData name="Muchahary, Frankle" userId="0f2bf491-0617-4378-90b8-89af8fa381b9" providerId="ADAL" clId="{90877F19-00D2-4A00-8128-E78E36266C9A}" dt="2023-11-08T08:33:54.575" v="171846" actId="113"/>
          <ac:spMkLst>
            <pc:docMk/>
            <pc:sldMk cId="3654279583" sldId="461"/>
            <ac:spMk id="5" creationId="{248A2A1F-5E6F-E66F-E09B-77C177DC415C}"/>
          </ac:spMkLst>
        </pc:spChg>
        <pc:spChg chg="add mod">
          <ac:chgData name="Muchahary, Frankle" userId="0f2bf491-0617-4378-90b8-89af8fa381b9" providerId="ADAL" clId="{90877F19-00D2-4A00-8128-E78E36266C9A}" dt="2023-11-08T08:34:05.295" v="171866" actId="20577"/>
          <ac:spMkLst>
            <pc:docMk/>
            <pc:sldMk cId="3654279583" sldId="461"/>
            <ac:spMk id="6" creationId="{8EDAED64-70D1-BCDC-39D1-9709A8A377B5}"/>
          </ac:spMkLst>
        </pc:spChg>
        <pc:spChg chg="mod">
          <ac:chgData name="Muchahary, Frankle" userId="0f2bf491-0617-4378-90b8-89af8fa381b9" providerId="ADAL" clId="{90877F19-00D2-4A00-8128-E78E36266C9A}" dt="2023-11-08T08:36:19.977" v="171943" actId="20577"/>
          <ac:spMkLst>
            <pc:docMk/>
            <pc:sldMk cId="3654279583" sldId="461"/>
            <ac:spMk id="21" creationId="{D539969B-A3E2-729B-09B1-A293C3273E9B}"/>
          </ac:spMkLst>
        </pc:spChg>
        <pc:grpChg chg="del">
          <ac:chgData name="Muchahary, Frankle" userId="0f2bf491-0617-4378-90b8-89af8fa381b9" providerId="ADAL" clId="{90877F19-00D2-4A00-8128-E78E36266C9A}" dt="2023-11-08T08:30:54.933" v="171771" actId="478"/>
          <ac:grpSpMkLst>
            <pc:docMk/>
            <pc:sldMk cId="3654279583" sldId="461"/>
            <ac:grpSpMk id="8" creationId="{D7EBC2FB-793B-8177-456F-BF913D3E6015}"/>
          </ac:grpSpMkLst>
        </pc:grpChg>
        <pc:grpChg chg="del mod">
          <ac:chgData name="Muchahary, Frankle" userId="0f2bf491-0617-4378-90b8-89af8fa381b9" providerId="ADAL" clId="{90877F19-00D2-4A00-8128-E78E36266C9A}" dt="2023-11-08T08:30:57.580" v="171773" actId="478"/>
          <ac:grpSpMkLst>
            <pc:docMk/>
            <pc:sldMk cId="3654279583" sldId="461"/>
            <ac:grpSpMk id="124" creationId="{E7D2C619-61B2-B23C-73AC-3D13368B5EB2}"/>
          </ac:grpSpMkLst>
        </pc:grpChg>
        <pc:grpChg chg="del">
          <ac:chgData name="Muchahary, Frankle" userId="0f2bf491-0617-4378-90b8-89af8fa381b9" providerId="ADAL" clId="{90877F19-00D2-4A00-8128-E78E36266C9A}" dt="2023-11-08T08:30:54.933" v="171771" actId="478"/>
          <ac:grpSpMkLst>
            <pc:docMk/>
            <pc:sldMk cId="3654279583" sldId="461"/>
            <ac:grpSpMk id="125" creationId="{0935608E-171B-9C69-2680-321FDE459128}"/>
          </ac:grpSpMkLst>
        </pc:grpChg>
        <pc:grpChg chg="del">
          <ac:chgData name="Muchahary, Frankle" userId="0f2bf491-0617-4378-90b8-89af8fa381b9" providerId="ADAL" clId="{90877F19-00D2-4A00-8128-E78E36266C9A}" dt="2023-11-08T08:30:59.326" v="171774" actId="478"/>
          <ac:grpSpMkLst>
            <pc:docMk/>
            <pc:sldMk cId="3654279583" sldId="461"/>
            <ac:grpSpMk id="130" creationId="{5901F956-A6EB-0695-2137-73A5EB430CE1}"/>
          </ac:grpSpMkLst>
        </pc:grpChg>
        <pc:grpChg chg="del">
          <ac:chgData name="Muchahary, Frankle" userId="0f2bf491-0617-4378-90b8-89af8fa381b9" providerId="ADAL" clId="{90877F19-00D2-4A00-8128-E78E36266C9A}" dt="2023-11-08T08:30:54.933" v="171771" actId="478"/>
          <ac:grpSpMkLst>
            <pc:docMk/>
            <pc:sldMk cId="3654279583" sldId="461"/>
            <ac:grpSpMk id="131" creationId="{F52FE948-865D-55E1-9E61-BEF423C6217C}"/>
          </ac:grpSpMkLst>
        </pc:grpChg>
        <pc:grpChg chg="del">
          <ac:chgData name="Muchahary, Frankle" userId="0f2bf491-0617-4378-90b8-89af8fa381b9" providerId="ADAL" clId="{90877F19-00D2-4A00-8128-E78E36266C9A}" dt="2023-11-08T08:30:49.148" v="171770" actId="478"/>
          <ac:grpSpMkLst>
            <pc:docMk/>
            <pc:sldMk cId="3654279583" sldId="461"/>
            <ac:grpSpMk id="133" creationId="{C861B0B2-E791-3013-64DB-D5AA67A78B3A}"/>
          </ac:grpSpMkLst>
        </pc:grpChg>
        <pc:picChg chg="add mod">
          <ac:chgData name="Muchahary, Frankle" userId="0f2bf491-0617-4378-90b8-89af8fa381b9" providerId="ADAL" clId="{90877F19-00D2-4A00-8128-E78E36266C9A}" dt="2023-11-08T08:32:55.446" v="171823" actId="1076"/>
          <ac:picMkLst>
            <pc:docMk/>
            <pc:sldMk cId="3654279583" sldId="461"/>
            <ac:picMk id="2" creationId="{D491F7AE-2DA9-FE7B-2C00-B4205DCE0478}"/>
          </ac:picMkLst>
        </pc:picChg>
        <pc:picChg chg="add mod">
          <ac:chgData name="Muchahary, Frankle" userId="0f2bf491-0617-4378-90b8-89af8fa381b9" providerId="ADAL" clId="{90877F19-00D2-4A00-8128-E78E36266C9A}" dt="2023-11-08T08:32:57.085" v="171824" actId="1076"/>
          <ac:picMkLst>
            <pc:docMk/>
            <pc:sldMk cId="3654279583" sldId="461"/>
            <ac:picMk id="3" creationId="{83D60F90-4C5E-F855-94BD-846DAE2BD0A6}"/>
          </ac:picMkLst>
        </pc:picChg>
        <pc:picChg chg="del">
          <ac:chgData name="Muchahary, Frankle" userId="0f2bf491-0617-4378-90b8-89af8fa381b9" providerId="ADAL" clId="{90877F19-00D2-4A00-8128-E78E36266C9A}" dt="2023-11-08T08:30:13.956" v="171769" actId="478"/>
          <ac:picMkLst>
            <pc:docMk/>
            <pc:sldMk cId="3654279583" sldId="461"/>
            <ac:picMk id="27" creationId="{84838C93-86CD-E15D-9F35-491181866C91}"/>
          </ac:picMkLst>
        </pc:picChg>
      </pc:sldChg>
      <pc:sldChg chg="addSp delSp modSp add mod ord delAnim">
        <pc:chgData name="Muchahary, Frankle" userId="0f2bf491-0617-4378-90b8-89af8fa381b9" providerId="ADAL" clId="{90877F19-00D2-4A00-8128-E78E36266C9A}" dt="2023-11-08T22:17:49.962" v="181412"/>
        <pc:sldMkLst>
          <pc:docMk/>
          <pc:sldMk cId="1487745011" sldId="466"/>
        </pc:sldMkLst>
        <pc:spChg chg="del">
          <ac:chgData name="Muchahary, Frankle" userId="0f2bf491-0617-4378-90b8-89af8fa381b9" providerId="ADAL" clId="{90877F19-00D2-4A00-8128-E78E36266C9A}" dt="2023-11-08T08:34:25.186" v="171871" actId="478"/>
          <ac:spMkLst>
            <pc:docMk/>
            <pc:sldMk cId="1487745011" sldId="466"/>
            <ac:spMk id="5" creationId="{248A2A1F-5E6F-E66F-E09B-77C177DC415C}"/>
          </ac:spMkLst>
        </pc:spChg>
        <pc:spChg chg="del">
          <ac:chgData name="Muchahary, Frankle" userId="0f2bf491-0617-4378-90b8-89af8fa381b9" providerId="ADAL" clId="{90877F19-00D2-4A00-8128-E78E36266C9A}" dt="2023-11-08T08:34:25.186" v="171871" actId="478"/>
          <ac:spMkLst>
            <pc:docMk/>
            <pc:sldMk cId="1487745011" sldId="466"/>
            <ac:spMk id="6" creationId="{8EDAED64-70D1-BCDC-39D1-9709A8A377B5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13" creationId="{479048FA-CE5D-1E3D-E5AF-0BFD3E179EFF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14" creationId="{B0DB08EE-97D0-5C76-088B-BA0C38940A7B}"/>
          </ac:spMkLst>
        </pc:spChg>
        <pc:spChg chg="mod">
          <ac:chgData name="Muchahary, Frankle" userId="0f2bf491-0617-4378-90b8-89af8fa381b9" providerId="ADAL" clId="{90877F19-00D2-4A00-8128-E78E36266C9A}" dt="2023-11-08T21:11:45.691" v="180148" actId="20577"/>
          <ac:spMkLst>
            <pc:docMk/>
            <pc:sldMk cId="1487745011" sldId="466"/>
            <ac:spMk id="21" creationId="{D539969B-A3E2-729B-09B1-A293C3273E9B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26" creationId="{A91A37CA-D23E-DCE0-4F38-3FA5B076A6C9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35" creationId="{590DFBD9-1226-8BE7-5A37-7E424E3E2035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36" creationId="{A2D61ECE-987D-ED97-5F59-1CEBFBD5149F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41" creationId="{1740A8BA-9429-4B5B-21ED-B8BC1A5B545D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52" creationId="{C37A23D8-9BEE-9925-F676-502E4DB0F331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58" creationId="{92AB64D7-57DE-56E1-3576-CBA8336BC60C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59" creationId="{A929FBA0-2E66-BD1C-F49C-D1ABD503781E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60" creationId="{6C38486F-BC3B-ADD6-0290-CC25FB12F3CD}"/>
          </ac:spMkLst>
        </pc:spChg>
        <pc:spChg chg="add mod">
          <ac:chgData name="Muchahary, Frankle" userId="0f2bf491-0617-4378-90b8-89af8fa381b9" providerId="ADAL" clId="{90877F19-00D2-4A00-8128-E78E36266C9A}" dt="2023-11-08T21:21:33.222" v="180505" actId="164"/>
          <ac:spMkLst>
            <pc:docMk/>
            <pc:sldMk cId="1487745011" sldId="466"/>
            <ac:spMk id="61" creationId="{2433EECD-132C-7FD2-2304-772793D497DC}"/>
          </ac:spMkLst>
        </pc:spChg>
        <pc:spChg chg="del mod">
          <ac:chgData name="Muchahary, Frankle" userId="0f2bf491-0617-4378-90b8-89af8fa381b9" providerId="ADAL" clId="{90877F19-00D2-4A00-8128-E78E36266C9A}" dt="2023-11-08T21:21:38.145" v="180507" actId="478"/>
          <ac:spMkLst>
            <pc:docMk/>
            <pc:sldMk cId="1487745011" sldId="466"/>
            <ac:spMk id="134" creationId="{F2767D1E-3B45-C15D-2353-D39EFD8AC6D3}"/>
          </ac:spMkLst>
        </pc:spChg>
        <pc:grpChg chg="add mod">
          <ac:chgData name="Muchahary, Frankle" userId="0f2bf491-0617-4378-90b8-89af8fa381b9" providerId="ADAL" clId="{90877F19-00D2-4A00-8128-E78E36266C9A}" dt="2023-11-08T21:07:43.301" v="179940" actId="164"/>
          <ac:grpSpMkLst>
            <pc:docMk/>
            <pc:sldMk cId="1487745011" sldId="466"/>
            <ac:grpSpMk id="56" creationId="{C80AA42C-FE53-97ED-EFAC-0BE3756122A4}"/>
          </ac:grpSpMkLst>
        </pc:grpChg>
        <pc:grpChg chg="add mod">
          <ac:chgData name="Muchahary, Frankle" userId="0f2bf491-0617-4378-90b8-89af8fa381b9" providerId="ADAL" clId="{90877F19-00D2-4A00-8128-E78E36266C9A}" dt="2023-11-08T21:21:44.225" v="180508" actId="1076"/>
          <ac:grpSpMkLst>
            <pc:docMk/>
            <pc:sldMk cId="1487745011" sldId="466"/>
            <ac:grpSpMk id="62" creationId="{1733EE3D-719D-262C-24CD-A937F99B1F54}"/>
          </ac:grpSpMkLst>
        </pc:grpChg>
        <pc:graphicFrameChg chg="mod">
          <ac:chgData name="Muchahary, Frankle" userId="0f2bf491-0617-4378-90b8-89af8fa381b9" providerId="ADAL" clId="{90877F19-00D2-4A00-8128-E78E36266C9A}" dt="2023-11-08T22:17:49.962" v="181412"/>
          <ac:graphicFrameMkLst>
            <pc:docMk/>
            <pc:sldMk cId="1487745011" sldId="466"/>
            <ac:graphicFrameMk id="4" creationId="{FD4A65FB-339A-B2BC-4155-257FFC3BBBB9}"/>
          </ac:graphicFrameMkLst>
        </pc:graphicFrameChg>
        <pc:picChg chg="del">
          <ac:chgData name="Muchahary, Frankle" userId="0f2bf491-0617-4378-90b8-89af8fa381b9" providerId="ADAL" clId="{90877F19-00D2-4A00-8128-E78E36266C9A}" dt="2023-11-08T08:34:19.515" v="171870" actId="478"/>
          <ac:picMkLst>
            <pc:docMk/>
            <pc:sldMk cId="1487745011" sldId="466"/>
            <ac:picMk id="2" creationId="{D491F7AE-2DA9-FE7B-2C00-B4205DCE0478}"/>
          </ac:picMkLst>
        </pc:picChg>
        <pc:picChg chg="del">
          <ac:chgData name="Muchahary, Frankle" userId="0f2bf491-0617-4378-90b8-89af8fa381b9" providerId="ADAL" clId="{90877F19-00D2-4A00-8128-E78E36266C9A}" dt="2023-11-08T08:34:19.515" v="171870" actId="478"/>
          <ac:picMkLst>
            <pc:docMk/>
            <pc:sldMk cId="1487745011" sldId="466"/>
            <ac:picMk id="3" creationId="{83D60F90-4C5E-F855-94BD-846DAE2BD0A6}"/>
          </ac:picMkLst>
        </pc:picChg>
        <pc:picChg chg="add mod">
          <ac:chgData name="Muchahary, Frankle" userId="0f2bf491-0617-4378-90b8-89af8fa381b9" providerId="ADAL" clId="{90877F19-00D2-4A00-8128-E78E36266C9A}" dt="2023-11-08T21:21:33.222" v="180505" actId="164"/>
          <ac:picMkLst>
            <pc:docMk/>
            <pc:sldMk cId="1487745011" sldId="466"/>
            <ac:picMk id="8" creationId="{4C0EAECD-0F7C-E54C-66FC-D7D306E96875}"/>
          </ac:picMkLst>
        </pc:picChg>
        <pc:picChg chg="add del mod">
          <ac:chgData name="Muchahary, Frankle" userId="0f2bf491-0617-4378-90b8-89af8fa381b9" providerId="ADAL" clId="{90877F19-00D2-4A00-8128-E78E36266C9A}" dt="2023-11-08T21:00:03.549" v="179732" actId="478"/>
          <ac:picMkLst>
            <pc:docMk/>
            <pc:sldMk cId="1487745011" sldId="466"/>
            <ac:picMk id="10" creationId="{1EEFD64A-0E05-FA9A-49C7-31DEDE9DA1CD}"/>
          </ac:picMkLst>
        </pc:picChg>
        <pc:picChg chg="add mod">
          <ac:chgData name="Muchahary, Frankle" userId="0f2bf491-0617-4378-90b8-89af8fa381b9" providerId="ADAL" clId="{90877F19-00D2-4A00-8128-E78E36266C9A}" dt="2023-11-08T21:21:33.222" v="180505" actId="164"/>
          <ac:picMkLst>
            <pc:docMk/>
            <pc:sldMk cId="1487745011" sldId="466"/>
            <ac:picMk id="12" creationId="{A060D6D0-9868-BAF0-477C-FBD6C88A3CFA}"/>
          </ac:picMkLst>
        </pc:picChg>
        <pc:picChg chg="add mod">
          <ac:chgData name="Muchahary, Frankle" userId="0f2bf491-0617-4378-90b8-89af8fa381b9" providerId="ADAL" clId="{90877F19-00D2-4A00-8128-E78E36266C9A}" dt="2023-11-08T21:21:33.222" v="180505" actId="164"/>
          <ac:picMkLst>
            <pc:docMk/>
            <pc:sldMk cId="1487745011" sldId="466"/>
            <ac:picMk id="18" creationId="{9617CC74-9ACA-DC80-D6D4-65DF6887E410}"/>
          </ac:picMkLst>
        </pc:pic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16" creationId="{B3CB6CA7-6AC6-2F72-4CBE-2A0B3F73E2DD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20" creationId="{BFE80FCB-39C6-BEEB-7950-854D5E345F77}"/>
          </ac:cxnSpMkLst>
        </pc:cxnChg>
        <pc:cxnChg chg="add del mod">
          <ac:chgData name="Muchahary, Frankle" userId="0f2bf491-0617-4378-90b8-89af8fa381b9" providerId="ADAL" clId="{90877F19-00D2-4A00-8128-E78E36266C9A}" dt="2023-11-08T21:05:01.091" v="179813" actId="478"/>
          <ac:cxnSpMkLst>
            <pc:docMk/>
            <pc:sldMk cId="1487745011" sldId="466"/>
            <ac:cxnSpMk id="24" creationId="{93F8E1C2-4487-D8FF-E759-BDB265856955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28" creationId="{E6A110A0-9F7C-0972-3970-DCECE96A045B}"/>
          </ac:cxnSpMkLst>
        </pc:cxnChg>
        <pc:cxnChg chg="add del mod">
          <ac:chgData name="Muchahary, Frankle" userId="0f2bf491-0617-4378-90b8-89af8fa381b9" providerId="ADAL" clId="{90877F19-00D2-4A00-8128-E78E36266C9A}" dt="2023-11-08T21:03:53.285" v="179803" actId="478"/>
          <ac:cxnSpMkLst>
            <pc:docMk/>
            <pc:sldMk cId="1487745011" sldId="466"/>
            <ac:cxnSpMk id="30" creationId="{9A1CC6D3-308F-5CBF-AB33-9DA4295B1C31}"/>
          </ac:cxnSpMkLst>
        </pc:cxnChg>
        <pc:cxnChg chg="add del mod">
          <ac:chgData name="Muchahary, Frankle" userId="0f2bf491-0617-4378-90b8-89af8fa381b9" providerId="ADAL" clId="{90877F19-00D2-4A00-8128-E78E36266C9A}" dt="2023-11-08T21:04:14.202" v="179807" actId="478"/>
          <ac:cxnSpMkLst>
            <pc:docMk/>
            <pc:sldMk cId="1487745011" sldId="466"/>
            <ac:cxnSpMk id="32" creationId="{A27AB462-7E68-489D-8F9E-8AAF9CD7AAF9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34" creationId="{989E4FCB-1684-653F-2A3E-0B5E97F6BEC2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38" creationId="{C5E62FB5-EEAA-FDE3-7A3C-65E4500C15BD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40" creationId="{CAA5ACCE-B3D9-7725-89B5-5F2DCEB4DACA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45" creationId="{A06D670C-AA7C-287D-86A2-766ABAA42A2D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47" creationId="{53907D06-133C-0F7E-BEF0-B6B1A6E275AC}"/>
          </ac:cxnSpMkLst>
        </pc:cxnChg>
        <pc:cxnChg chg="add mod">
          <ac:chgData name="Muchahary, Frankle" userId="0f2bf491-0617-4378-90b8-89af8fa381b9" providerId="ADAL" clId="{90877F19-00D2-4A00-8128-E78E36266C9A}" dt="2023-11-08T21:21:33.222" v="180505" actId="164"/>
          <ac:cxnSpMkLst>
            <pc:docMk/>
            <pc:sldMk cId="1487745011" sldId="466"/>
            <ac:cxnSpMk id="54" creationId="{9311CAA1-A630-66B6-907F-E0CEC9480753}"/>
          </ac:cxnSpMkLst>
        </pc:cxnChg>
      </pc:sldChg>
      <pc:sldChg chg="addSp delSp modSp add mod delAnim modAnim">
        <pc:chgData name="Muchahary, Frankle" userId="0f2bf491-0617-4378-90b8-89af8fa381b9" providerId="ADAL" clId="{90877F19-00D2-4A00-8128-E78E36266C9A}" dt="2023-11-08T08:36:24.548" v="171949" actId="20577"/>
        <pc:sldMkLst>
          <pc:docMk/>
          <pc:sldMk cId="3887858075" sldId="467"/>
        </pc:sldMkLst>
        <pc:spChg chg="del">
          <ac:chgData name="Muchahary, Frankle" userId="0f2bf491-0617-4378-90b8-89af8fa381b9" providerId="ADAL" clId="{90877F19-00D2-4A00-8128-E78E36266C9A}" dt="2023-11-08T08:34:57.415" v="171926" actId="478"/>
          <ac:spMkLst>
            <pc:docMk/>
            <pc:sldMk cId="3887858075" sldId="467"/>
            <ac:spMk id="5" creationId="{248A2A1F-5E6F-E66F-E09B-77C177DC415C}"/>
          </ac:spMkLst>
        </pc:spChg>
        <pc:spChg chg="del">
          <ac:chgData name="Muchahary, Frankle" userId="0f2bf491-0617-4378-90b8-89af8fa381b9" providerId="ADAL" clId="{90877F19-00D2-4A00-8128-E78E36266C9A}" dt="2023-11-08T08:34:57.415" v="171926" actId="478"/>
          <ac:spMkLst>
            <pc:docMk/>
            <pc:sldMk cId="3887858075" sldId="467"/>
            <ac:spMk id="6" creationId="{8EDAED64-70D1-BCDC-39D1-9709A8A377B5}"/>
          </ac:spMkLst>
        </pc:spChg>
        <pc:spChg chg="mod">
          <ac:chgData name="Muchahary, Frankle" userId="0f2bf491-0617-4378-90b8-89af8fa381b9" providerId="ADAL" clId="{90877F19-00D2-4A00-8128-E78E36266C9A}" dt="2023-11-08T08:36:24.548" v="171949" actId="20577"/>
          <ac:spMkLst>
            <pc:docMk/>
            <pc:sldMk cId="3887858075" sldId="467"/>
            <ac:spMk id="21" creationId="{D539969B-A3E2-729B-09B1-A293C3273E9B}"/>
          </ac:spMkLst>
        </pc:spChg>
        <pc:picChg chg="del">
          <ac:chgData name="Muchahary, Frankle" userId="0f2bf491-0617-4378-90b8-89af8fa381b9" providerId="ADAL" clId="{90877F19-00D2-4A00-8128-E78E36266C9A}" dt="2023-11-08T08:34:57.415" v="171926" actId="478"/>
          <ac:picMkLst>
            <pc:docMk/>
            <pc:sldMk cId="3887858075" sldId="467"/>
            <ac:picMk id="2" creationId="{D491F7AE-2DA9-FE7B-2C00-B4205DCE0478}"/>
          </ac:picMkLst>
        </pc:picChg>
        <pc:picChg chg="del">
          <ac:chgData name="Muchahary, Frankle" userId="0f2bf491-0617-4378-90b8-89af8fa381b9" providerId="ADAL" clId="{90877F19-00D2-4A00-8128-E78E36266C9A}" dt="2023-11-08T08:34:57.415" v="171926" actId="478"/>
          <ac:picMkLst>
            <pc:docMk/>
            <pc:sldMk cId="3887858075" sldId="467"/>
            <ac:picMk id="3" creationId="{83D60F90-4C5E-F855-94BD-846DAE2BD0A6}"/>
          </ac:picMkLst>
        </pc:picChg>
        <pc:picChg chg="add mod">
          <ac:chgData name="Muchahary, Frankle" userId="0f2bf491-0617-4378-90b8-89af8fa381b9" providerId="ADAL" clId="{90877F19-00D2-4A00-8128-E78E36266C9A}" dt="2023-11-08T08:35:26.356" v="171929" actId="1076"/>
          <ac:picMkLst>
            <pc:docMk/>
            <pc:sldMk cId="3887858075" sldId="467"/>
            <ac:picMk id="7" creationId="{57DF879F-1359-F155-F76C-C45E9C832B66}"/>
          </ac:picMkLst>
        </pc:picChg>
      </pc:sldChg>
      <pc:sldChg chg="addSp delSp modSp add mod ord">
        <pc:chgData name="Muchahary, Frankle" userId="0f2bf491-0617-4378-90b8-89af8fa381b9" providerId="ADAL" clId="{90877F19-00D2-4A00-8128-E78E36266C9A}" dt="2023-11-08T22:19:50.579" v="181429" actId="14100"/>
        <pc:sldMkLst>
          <pc:docMk/>
          <pc:sldMk cId="1476599744" sldId="468"/>
        </pc:sldMkLst>
        <pc:spChg chg="add mod">
          <ac:chgData name="Muchahary, Frankle" userId="0f2bf491-0617-4378-90b8-89af8fa381b9" providerId="ADAL" clId="{90877F19-00D2-4A00-8128-E78E36266C9A}" dt="2023-11-08T22:19:23.784" v="181425" actId="2711"/>
          <ac:spMkLst>
            <pc:docMk/>
            <pc:sldMk cId="1476599744" sldId="468"/>
            <ac:spMk id="6" creationId="{75F15BD1-C1FE-9368-E1B0-94FADA7BE2F8}"/>
          </ac:spMkLst>
        </pc:spChg>
        <pc:spChg chg="add mod">
          <ac:chgData name="Muchahary, Frankle" userId="0f2bf491-0617-4378-90b8-89af8fa381b9" providerId="ADAL" clId="{90877F19-00D2-4A00-8128-E78E36266C9A}" dt="2023-11-08T22:19:47.104" v="181428" actId="1076"/>
          <ac:spMkLst>
            <pc:docMk/>
            <pc:sldMk cId="1476599744" sldId="468"/>
            <ac:spMk id="7" creationId="{EFC5CEAB-E7F5-2CB8-7013-B437324F4C47}"/>
          </ac:spMkLst>
        </pc:spChg>
        <pc:spChg chg="add del mod">
          <ac:chgData name="Muchahary, Frankle" userId="0f2bf491-0617-4378-90b8-89af8fa381b9" providerId="ADAL" clId="{90877F19-00D2-4A00-8128-E78E36266C9A}" dt="2023-11-08T21:59:12.816" v="181237"/>
          <ac:spMkLst>
            <pc:docMk/>
            <pc:sldMk cId="1476599744" sldId="468"/>
            <ac:spMk id="8" creationId="{FC92594A-1938-9094-F27B-6E5DC65461F8}"/>
          </ac:spMkLst>
        </pc:spChg>
        <pc:spChg chg="add mod">
          <ac:chgData name="Muchahary, Frankle" userId="0f2bf491-0617-4378-90b8-89af8fa381b9" providerId="ADAL" clId="{90877F19-00D2-4A00-8128-E78E36266C9A}" dt="2023-11-08T22:19:06.661" v="181421" actId="2711"/>
          <ac:spMkLst>
            <pc:docMk/>
            <pc:sldMk cId="1476599744" sldId="468"/>
            <ac:spMk id="9" creationId="{0C79BD6C-EDCA-1C1D-5744-D450AE764FA4}"/>
          </ac:spMkLst>
        </pc:spChg>
        <pc:spChg chg="mod">
          <ac:chgData name="Muchahary, Frankle" userId="0f2bf491-0617-4378-90b8-89af8fa381b9" providerId="ADAL" clId="{90877F19-00D2-4A00-8128-E78E36266C9A}" dt="2023-11-08T21:35:14.003" v="180975" actId="14100"/>
          <ac:spMkLst>
            <pc:docMk/>
            <pc:sldMk cId="1476599744" sldId="468"/>
            <ac:spMk id="21" creationId="{D539969B-A3E2-729B-09B1-A293C3273E9B}"/>
          </ac:spMkLst>
        </pc:spChg>
        <pc:graphicFrameChg chg="add del mod">
          <ac:chgData name="Muchahary, Frankle" userId="0f2bf491-0617-4378-90b8-89af8fa381b9" providerId="ADAL" clId="{90877F19-00D2-4A00-8128-E78E36266C9A}" dt="2023-11-08T21:38:51.609" v="180980" actId="3680"/>
          <ac:graphicFrameMkLst>
            <pc:docMk/>
            <pc:sldMk cId="1476599744" sldId="468"/>
            <ac:graphicFrameMk id="2" creationId="{F76EDB20-4B3C-A57E-4EEA-C9F0717063C1}"/>
          </ac:graphicFrameMkLst>
        </pc:graphicFrameChg>
        <pc:graphicFrameChg chg="add mod modGraphic">
          <ac:chgData name="Muchahary, Frankle" userId="0f2bf491-0617-4378-90b8-89af8fa381b9" providerId="ADAL" clId="{90877F19-00D2-4A00-8128-E78E36266C9A}" dt="2023-11-08T22:19:14.156" v="181424" actId="404"/>
          <ac:graphicFrameMkLst>
            <pc:docMk/>
            <pc:sldMk cId="1476599744" sldId="468"/>
            <ac:graphicFrameMk id="3" creationId="{5AB006E0-F49C-46BE-24B6-5790E701755F}"/>
          </ac:graphicFrameMkLst>
        </pc:graphicFrameChg>
        <pc:graphicFrameChg chg="add mod modGraphic">
          <ac:chgData name="Muchahary, Frankle" userId="0f2bf491-0617-4378-90b8-89af8fa381b9" providerId="ADAL" clId="{90877F19-00D2-4A00-8128-E78E36266C9A}" dt="2023-11-08T22:19:50.579" v="181429" actId="14100"/>
          <ac:graphicFrameMkLst>
            <pc:docMk/>
            <pc:sldMk cId="1476599744" sldId="468"/>
            <ac:graphicFrameMk id="5" creationId="{2739B388-94F5-6A4A-3369-A2AC86FE0376}"/>
          </ac:graphicFrameMkLst>
        </pc:graphicFrameChg>
      </pc:sldChg>
      <pc:sldChg chg="addSp modSp add mod ord">
        <pc:chgData name="Muchahary, Frankle" userId="0f2bf491-0617-4378-90b8-89af8fa381b9" providerId="ADAL" clId="{90877F19-00D2-4A00-8128-E78E36266C9A}" dt="2023-11-08T21:33:19.180" v="180964"/>
        <pc:sldMkLst>
          <pc:docMk/>
          <pc:sldMk cId="503182321" sldId="469"/>
        </pc:sldMkLst>
        <pc:spChg chg="add mod">
          <ac:chgData name="Muchahary, Frankle" userId="0f2bf491-0617-4378-90b8-89af8fa381b9" providerId="ADAL" clId="{90877F19-00D2-4A00-8128-E78E36266C9A}" dt="2023-11-08T21:33:08.633" v="180961" actId="20577"/>
          <ac:spMkLst>
            <pc:docMk/>
            <pc:sldMk cId="503182321" sldId="469"/>
            <ac:spMk id="8" creationId="{37C16811-2AF8-30D7-7B17-65771D0BF1E9}"/>
          </ac:spMkLst>
        </pc:spChg>
        <pc:spChg chg="mod">
          <ac:chgData name="Muchahary, Frankle" userId="0f2bf491-0617-4378-90b8-89af8fa381b9" providerId="ADAL" clId="{90877F19-00D2-4A00-8128-E78E36266C9A}" dt="2023-11-08T21:33:19.180" v="180964"/>
          <ac:spMkLst>
            <pc:docMk/>
            <pc:sldMk cId="503182321" sldId="469"/>
            <ac:spMk id="21" creationId="{D539969B-A3E2-729B-09B1-A293C3273E9B}"/>
          </ac:spMkLst>
        </pc:spChg>
        <pc:picChg chg="add mod">
          <ac:chgData name="Muchahary, Frankle" userId="0f2bf491-0617-4378-90b8-89af8fa381b9" providerId="ADAL" clId="{90877F19-00D2-4A00-8128-E78E36266C9A}" dt="2023-11-08T21:29:41.031" v="180895" actId="1076"/>
          <ac:picMkLst>
            <pc:docMk/>
            <pc:sldMk cId="503182321" sldId="469"/>
            <ac:picMk id="3" creationId="{8C41E30B-A1C8-9097-95A3-FBE1CE7B40E0}"/>
          </ac:picMkLst>
        </pc:picChg>
        <pc:picChg chg="add mod">
          <ac:chgData name="Muchahary, Frankle" userId="0f2bf491-0617-4378-90b8-89af8fa381b9" providerId="ADAL" clId="{90877F19-00D2-4A00-8128-E78E36266C9A}" dt="2023-11-08T21:30:27.092" v="180904" actId="14861"/>
          <ac:picMkLst>
            <pc:docMk/>
            <pc:sldMk cId="503182321" sldId="469"/>
            <ac:picMk id="6" creationId="{2AA69850-5E83-3A46-5506-C9178DBE2338}"/>
          </ac:picMkLst>
        </pc:picChg>
      </pc:sldChg>
      <pc:sldChg chg="delSp modSp add mod modAnim">
        <pc:chgData name="Muchahary, Frankle" userId="0f2bf491-0617-4378-90b8-89af8fa381b9" providerId="ADAL" clId="{90877F19-00D2-4A00-8128-E78E36266C9A}" dt="2023-11-08T18:54:44.729" v="179633"/>
        <pc:sldMkLst>
          <pc:docMk/>
          <pc:sldMk cId="3153307447" sldId="470"/>
        </pc:sldMkLst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2" creationId="{80E4A9E3-A578-9E3C-FC94-422DBFB40D60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32" creationId="{5DA42475-A751-3257-AA10-ABC60ABB173C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37" creationId="{1F3EAED7-5AC9-A332-EC5A-2765929DE309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43" creationId="{9F8E6ED9-9433-071F-4D2A-3227D22329CB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48" creationId="{7FD0CFF3-1718-8D2C-2C74-2CFA306A074C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49" creationId="{1AA16E9E-824B-3C25-A9B0-2BF57B20E0A3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0" creationId="{B7366DD7-AD09-31A3-E285-6B302AD62194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1" creationId="{52A92FAB-8B03-ECAF-8DDB-B27AA1FF2618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2" creationId="{E50B018F-5FFD-C7DC-B193-1FFF02F6D018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3" creationId="{5CA4193F-8F9B-9110-59B1-610B5BEE581A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4" creationId="{86D9FDFB-DD50-4954-3879-9A0C692575E9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5" creationId="{4A11776A-0362-841C-BDE7-8F43C70166D7}"/>
          </ac:spMkLst>
        </pc:spChg>
        <pc:spChg chg="del">
          <ac:chgData name="Muchahary, Frankle" userId="0f2bf491-0617-4378-90b8-89af8fa381b9" providerId="ADAL" clId="{90877F19-00D2-4A00-8128-E78E36266C9A}" dt="2023-11-08T08:58:07.418" v="172140" actId="478"/>
          <ac:spMkLst>
            <pc:docMk/>
            <pc:sldMk cId="3153307447" sldId="470"/>
            <ac:spMk id="56" creationId="{31E05DA3-24AF-D3AD-B8CC-3500575826A0}"/>
          </ac:spMkLst>
        </pc:spChg>
        <pc:spChg chg="mod">
          <ac:chgData name="Muchahary, Frankle" userId="0f2bf491-0617-4378-90b8-89af8fa381b9" providerId="ADAL" clId="{90877F19-00D2-4A00-8128-E78E36266C9A}" dt="2023-11-08T08:59:11.736" v="172262" actId="20577"/>
          <ac:spMkLst>
            <pc:docMk/>
            <pc:sldMk cId="3153307447" sldId="470"/>
            <ac:spMk id="1029" creationId="{51DF0374-DAD2-E08C-5B94-609E1D945169}"/>
          </ac:spMkLst>
        </pc:spChg>
        <pc:grpChg chg="del">
          <ac:chgData name="Muchahary, Frankle" userId="0f2bf491-0617-4378-90b8-89af8fa381b9" providerId="ADAL" clId="{90877F19-00D2-4A00-8128-E78E36266C9A}" dt="2023-11-08T08:58:07.418" v="172140" actId="478"/>
          <ac:grpSpMkLst>
            <pc:docMk/>
            <pc:sldMk cId="3153307447" sldId="470"/>
            <ac:grpSpMk id="11" creationId="{3808BD87-2993-9134-02B5-8414C7DA1E18}"/>
          </ac:grpSpMkLst>
        </pc:grpChg>
        <pc:graphicFrameChg chg="mod">
          <ac:chgData name="Muchahary, Frankle" userId="0f2bf491-0617-4378-90b8-89af8fa381b9" providerId="ADAL" clId="{90877F19-00D2-4A00-8128-E78E36266C9A}" dt="2023-11-08T18:54:44.729" v="179633"/>
          <ac:graphicFrameMkLst>
            <pc:docMk/>
            <pc:sldMk cId="3153307447" sldId="470"/>
            <ac:graphicFrameMk id="38" creationId="{0648CCD8-7309-CC0A-A621-001F5A7CAF43}"/>
          </ac:graphicFrameMkLst>
        </pc:graphicFrame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3" creationId="{09709C38-FF6B-D494-D6D8-55C9C6D8EC57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7" creationId="{1D9BEEEC-842B-72D6-AB8D-6B6A77CE418B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35" creationId="{987384FC-301F-27A2-418A-8BA3627D5AFF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60" creationId="{AB464E68-7C35-4C5C-C548-9185903DAEC3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62" creationId="{F15B137D-8BD5-EE1D-F1FA-8CE9DA8F17AC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1024" creationId="{DCC957A0-1862-448F-F82B-378F3551E472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1027" creationId="{1EFA3324-B2E2-5D7D-8D17-D2FA34D426A1}"/>
          </ac:picMkLst>
        </pc:picChg>
        <pc:picChg chg="del">
          <ac:chgData name="Muchahary, Frankle" userId="0f2bf491-0617-4378-90b8-89af8fa381b9" providerId="ADAL" clId="{90877F19-00D2-4A00-8128-E78E36266C9A}" dt="2023-11-08T08:58:07.418" v="172140" actId="478"/>
          <ac:picMkLst>
            <pc:docMk/>
            <pc:sldMk cId="3153307447" sldId="470"/>
            <ac:picMk id="1034" creationId="{19648EBC-B438-BE87-35CD-6046ED2A2866}"/>
          </ac:picMkLst>
        </pc:picChg>
      </pc:sldChg>
      <pc:sldChg chg="modNotesTx">
        <pc:chgData name="Muchahary, Frankle" userId="0f2bf491-0617-4378-90b8-89af8fa381b9" providerId="ADAL" clId="{90877F19-00D2-4A00-8128-E78E36266C9A}" dt="2023-11-08T22:44:25.760" v="183547" actId="20577"/>
        <pc:sldMkLst>
          <pc:docMk/>
          <pc:sldMk cId="3899210753" sldId="470"/>
        </pc:sldMkLst>
      </pc:sldChg>
      <pc:sldChg chg="modSp add mod">
        <pc:chgData name="Muchahary, Frankle" userId="0f2bf491-0617-4378-90b8-89af8fa381b9" providerId="ADAL" clId="{90877F19-00D2-4A00-8128-E78E36266C9A}" dt="2023-11-08T08:57:41.849" v="172139" actId="20577"/>
        <pc:sldMkLst>
          <pc:docMk/>
          <pc:sldMk cId="1425815505" sldId="471"/>
        </pc:sldMkLst>
        <pc:spChg chg="mod">
          <ac:chgData name="Muchahary, Frankle" userId="0f2bf491-0617-4378-90b8-89af8fa381b9" providerId="ADAL" clId="{90877F19-00D2-4A00-8128-E78E36266C9A}" dt="2023-11-08T08:57:41.849" v="172139" actId="20577"/>
          <ac:spMkLst>
            <pc:docMk/>
            <pc:sldMk cId="1425815505" sldId="471"/>
            <ac:spMk id="21" creationId="{D539969B-A3E2-729B-09B1-A293C3273E9B}"/>
          </ac:spMkLst>
        </pc:spChg>
      </pc:sldChg>
      <pc:sldChg chg="addSp delSp modSp add mod">
        <pc:chgData name="Muchahary, Frankle" userId="0f2bf491-0617-4378-90b8-89af8fa381b9" providerId="ADAL" clId="{90877F19-00D2-4A00-8128-E78E36266C9A}" dt="2023-11-08T09:04:20.928" v="172337" actId="20577"/>
        <pc:sldMkLst>
          <pc:docMk/>
          <pc:sldMk cId="1884393572" sldId="472"/>
        </pc:sldMkLst>
        <pc:spChg chg="mod">
          <ac:chgData name="Muchahary, Frankle" userId="0f2bf491-0617-4378-90b8-89af8fa381b9" providerId="ADAL" clId="{90877F19-00D2-4A00-8128-E78E36266C9A}" dt="2023-11-08T09:04:20.928" v="172337" actId="20577"/>
          <ac:spMkLst>
            <pc:docMk/>
            <pc:sldMk cId="1884393572" sldId="472"/>
            <ac:spMk id="93" creationId="{C19FBD3A-9BCC-3DDD-8395-CE1EB3AE2C98}"/>
          </ac:spMkLst>
        </pc:spChg>
        <pc:graphicFrameChg chg="add mod">
          <ac:chgData name="Muchahary, Frankle" userId="0f2bf491-0617-4378-90b8-89af8fa381b9" providerId="ADAL" clId="{90877F19-00D2-4A00-8128-E78E36266C9A}" dt="2023-11-08T09:04:16.161" v="172325"/>
          <ac:graphicFrameMkLst>
            <pc:docMk/>
            <pc:sldMk cId="1884393572" sldId="472"/>
            <ac:graphicFrameMk id="3" creationId="{BF097ADF-6D25-CFB0-A3F1-36D1A6243C30}"/>
          </ac:graphicFrameMkLst>
        </pc:graphicFrameChg>
        <pc:graphicFrameChg chg="del">
          <ac:chgData name="Muchahary, Frankle" userId="0f2bf491-0617-4378-90b8-89af8fa381b9" providerId="ADAL" clId="{90877F19-00D2-4A00-8128-E78E36266C9A}" dt="2023-11-08T09:03:54.335" v="172279" actId="478"/>
          <ac:graphicFrameMkLst>
            <pc:docMk/>
            <pc:sldMk cId="1884393572" sldId="472"/>
            <ac:graphicFrameMk id="74" creationId="{1C715E1C-C77F-2946-55A3-C026FBB432B0}"/>
          </ac:graphicFrameMkLst>
        </pc:graphicFrameChg>
      </pc:sldChg>
      <pc:sldChg chg="addSp delSp modSp mod">
        <pc:chgData name="Muchahary, Frankle" userId="0f2bf491-0617-4378-90b8-89af8fa381b9" providerId="ADAL" clId="{90877F19-00D2-4A00-8128-E78E36266C9A}" dt="2023-11-08T22:35:03.011" v="182044" actId="20577"/>
        <pc:sldMkLst>
          <pc:docMk/>
          <pc:sldMk cId="111284301" sldId="477"/>
        </pc:sldMkLst>
        <pc:spChg chg="mod">
          <ac:chgData name="Muchahary, Frankle" userId="0f2bf491-0617-4378-90b8-89af8fa381b9" providerId="ADAL" clId="{90877F19-00D2-4A00-8128-E78E36266C9A}" dt="2023-11-08T22:32:53.288" v="181893" actId="1076"/>
          <ac:spMkLst>
            <pc:docMk/>
            <pc:sldMk cId="111284301" sldId="477"/>
            <ac:spMk id="3" creationId="{D1190394-96B8-C784-89E3-6444BDC592A7}"/>
          </ac:spMkLst>
        </pc:spChg>
        <pc:spChg chg="add mod">
          <ac:chgData name="Muchahary, Frankle" userId="0f2bf491-0617-4378-90b8-89af8fa381b9" providerId="ADAL" clId="{90877F19-00D2-4A00-8128-E78E36266C9A}" dt="2023-11-08T22:21:34.781" v="181589" actId="1036"/>
          <ac:spMkLst>
            <pc:docMk/>
            <pc:sldMk cId="111284301" sldId="477"/>
            <ac:spMk id="9" creationId="{2E85BF7A-8138-B27B-B230-DF9CD11E42B9}"/>
          </ac:spMkLst>
        </pc:spChg>
        <pc:spChg chg="add del mod">
          <ac:chgData name="Muchahary, Frankle" userId="0f2bf491-0617-4378-90b8-89af8fa381b9" providerId="ADAL" clId="{90877F19-00D2-4A00-8128-E78E36266C9A}" dt="2023-11-08T22:21:05.516" v="181534" actId="478"/>
          <ac:spMkLst>
            <pc:docMk/>
            <pc:sldMk cId="111284301" sldId="477"/>
            <ac:spMk id="10" creationId="{B1739165-3BD9-DB41-52A3-24D0E2730EAD}"/>
          </ac:spMkLst>
        </pc:spChg>
        <pc:spChg chg="add mod">
          <ac:chgData name="Muchahary, Frankle" userId="0f2bf491-0617-4378-90b8-89af8fa381b9" providerId="ADAL" clId="{90877F19-00D2-4A00-8128-E78E36266C9A}" dt="2023-11-08T22:21:29.453" v="181586" actId="1076"/>
          <ac:spMkLst>
            <pc:docMk/>
            <pc:sldMk cId="111284301" sldId="477"/>
            <ac:spMk id="11" creationId="{039691A7-08BA-F91E-AAC4-27803A5FEC52}"/>
          </ac:spMkLst>
        </pc:spChg>
        <pc:spChg chg="add mod">
          <ac:chgData name="Muchahary, Frankle" userId="0f2bf491-0617-4378-90b8-89af8fa381b9" providerId="ADAL" clId="{90877F19-00D2-4A00-8128-E78E36266C9A}" dt="2023-11-08T22:34:47.732" v="182020" actId="20577"/>
          <ac:spMkLst>
            <pc:docMk/>
            <pc:sldMk cId="111284301" sldId="477"/>
            <ac:spMk id="13" creationId="{38AEC425-51BB-1DF7-66DA-F4F5F79948DD}"/>
          </ac:spMkLst>
        </pc:spChg>
        <pc:graphicFrameChg chg="add mod modGraphic">
          <ac:chgData name="Muchahary, Frankle" userId="0f2bf491-0617-4378-90b8-89af8fa381b9" providerId="ADAL" clId="{90877F19-00D2-4A00-8128-E78E36266C9A}" dt="2023-11-08T22:21:56.605" v="181590" actId="207"/>
          <ac:graphicFrameMkLst>
            <pc:docMk/>
            <pc:sldMk cId="111284301" sldId="477"/>
            <ac:graphicFrameMk id="5" creationId="{139A8E45-3790-873A-EC4B-C9F3C9E32E45}"/>
          </ac:graphicFrameMkLst>
        </pc:graphicFrameChg>
        <pc:graphicFrameChg chg="add del mod modGraphic">
          <ac:chgData name="Muchahary, Frankle" userId="0f2bf491-0617-4378-90b8-89af8fa381b9" providerId="ADAL" clId="{90877F19-00D2-4A00-8128-E78E36266C9A}" dt="2023-11-08T22:16:40.689" v="181382" actId="478"/>
          <ac:graphicFrameMkLst>
            <pc:docMk/>
            <pc:sldMk cId="111284301" sldId="477"/>
            <ac:graphicFrameMk id="6" creationId="{98546009-85AC-6D08-DE35-00E996818149}"/>
          </ac:graphicFrameMkLst>
        </pc:graphicFrameChg>
        <pc:graphicFrameChg chg="add del mod">
          <ac:chgData name="Muchahary, Frankle" userId="0f2bf491-0617-4378-90b8-89af8fa381b9" providerId="ADAL" clId="{90877F19-00D2-4A00-8128-E78E36266C9A}" dt="2023-11-08T22:16:15.260" v="181379"/>
          <ac:graphicFrameMkLst>
            <pc:docMk/>
            <pc:sldMk cId="111284301" sldId="477"/>
            <ac:graphicFrameMk id="7" creationId="{30049C1A-A617-F240-AFCA-6ED4BD164738}"/>
          </ac:graphicFrameMkLst>
        </pc:graphicFrameChg>
        <pc:graphicFrameChg chg="add mod modGraphic">
          <ac:chgData name="Muchahary, Frankle" userId="0f2bf491-0617-4378-90b8-89af8fa381b9" providerId="ADAL" clId="{90877F19-00D2-4A00-8128-E78E36266C9A}" dt="2023-11-08T22:18:35.123" v="181419" actId="1076"/>
          <ac:graphicFrameMkLst>
            <pc:docMk/>
            <pc:sldMk cId="111284301" sldId="477"/>
            <ac:graphicFrameMk id="8" creationId="{088E0DB3-74A0-F3F0-933D-2796DB9F087A}"/>
          </ac:graphicFrameMkLst>
        </pc:graphicFrameChg>
        <pc:graphicFrameChg chg="add mod modGraphic">
          <ac:chgData name="Muchahary, Frankle" userId="0f2bf491-0617-4378-90b8-89af8fa381b9" providerId="ADAL" clId="{90877F19-00D2-4A00-8128-E78E36266C9A}" dt="2023-11-08T22:35:03.011" v="182044" actId="20577"/>
          <ac:graphicFrameMkLst>
            <pc:docMk/>
            <pc:sldMk cId="111284301" sldId="477"/>
            <ac:graphicFrameMk id="12" creationId="{700262BA-ECA9-F39E-F686-0E99B415E802}"/>
          </ac:graphicFrameMkLst>
        </pc:graphicFrameChg>
      </pc:sldChg>
      <pc:sldChg chg="addSp delSp modSp add mod">
        <pc:chgData name="Muchahary, Frankle" userId="0f2bf491-0617-4378-90b8-89af8fa381b9" providerId="ADAL" clId="{90877F19-00D2-4A00-8128-E78E36266C9A}" dt="2023-11-08T22:17:50.007" v="181414"/>
        <pc:sldMkLst>
          <pc:docMk/>
          <pc:sldMk cId="222537174" sldId="480"/>
        </pc:sldMkLst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13" creationId="{479048FA-CE5D-1E3D-E5AF-0BFD3E179EFF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14" creationId="{B0DB08EE-97D0-5C76-088B-BA0C38940A7B}"/>
          </ac:spMkLst>
        </pc:spChg>
        <pc:spChg chg="mod">
          <ac:chgData name="Muchahary, Frankle" userId="0f2bf491-0617-4378-90b8-89af8fa381b9" providerId="ADAL" clId="{90877F19-00D2-4A00-8128-E78E36266C9A}" dt="2023-11-08T21:27:51.524" v="180887" actId="20577"/>
          <ac:spMkLst>
            <pc:docMk/>
            <pc:sldMk cId="222537174" sldId="480"/>
            <ac:spMk id="21" creationId="{D539969B-A3E2-729B-09B1-A293C3273E9B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26" creationId="{A91A37CA-D23E-DCE0-4F38-3FA5B076A6C9}"/>
          </ac:spMkLst>
        </pc:spChg>
        <pc:spChg chg="add mod">
          <ac:chgData name="Muchahary, Frankle" userId="0f2bf491-0617-4378-90b8-89af8fa381b9" providerId="ADAL" clId="{90877F19-00D2-4A00-8128-E78E36266C9A}" dt="2023-11-08T21:26:41.621" v="180800" actId="20577"/>
          <ac:spMkLst>
            <pc:docMk/>
            <pc:sldMk cId="222537174" sldId="480"/>
            <ac:spMk id="32" creationId="{E3B3F158-B6B7-91B1-1832-96C0F65954F5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35" creationId="{590DFBD9-1226-8BE7-5A37-7E424E3E2035}"/>
          </ac:spMkLst>
        </pc:spChg>
        <pc:spChg chg="del">
          <ac:chgData name="Muchahary, Frankle" userId="0f2bf491-0617-4378-90b8-89af8fa381b9" providerId="ADAL" clId="{90877F19-00D2-4A00-8128-E78E36266C9A}" dt="2023-11-08T21:18:19.022" v="180351" actId="478"/>
          <ac:spMkLst>
            <pc:docMk/>
            <pc:sldMk cId="222537174" sldId="480"/>
            <ac:spMk id="36" creationId="{A2D61ECE-987D-ED97-5F59-1CEBFBD5149F}"/>
          </ac:spMkLst>
        </pc:spChg>
        <pc:spChg chg="add 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39" creationId="{9A2E7B4E-07C7-F99D-D487-68AC038F6AF3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41" creationId="{1740A8BA-9429-4B5B-21ED-B8BC1A5B545D}"/>
          </ac:spMkLst>
        </pc:spChg>
        <pc:spChg chg="add 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46" creationId="{742EC90F-B55F-683E-475A-43BB126225F1}"/>
          </ac:spMkLst>
        </pc:spChg>
        <pc:spChg chg="del mod">
          <ac:chgData name="Muchahary, Frankle" userId="0f2bf491-0617-4378-90b8-89af8fa381b9" providerId="ADAL" clId="{90877F19-00D2-4A00-8128-E78E36266C9A}" dt="2023-11-08T21:13:42.463" v="180154" actId="478"/>
          <ac:spMkLst>
            <pc:docMk/>
            <pc:sldMk cId="222537174" sldId="480"/>
            <ac:spMk id="52" creationId="{C37A23D8-9BEE-9925-F676-502E4DB0F331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58" creationId="{92AB64D7-57DE-56E1-3576-CBA8336BC60C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59" creationId="{A929FBA0-2E66-BD1C-F49C-D1ABD503781E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60" creationId="{6C38486F-BC3B-ADD6-0290-CC25FB12F3CD}"/>
          </ac:spMkLst>
        </pc:spChg>
        <pc:spChg chg="mod">
          <ac:chgData name="Muchahary, Frankle" userId="0f2bf491-0617-4378-90b8-89af8fa381b9" providerId="ADAL" clId="{90877F19-00D2-4A00-8128-E78E36266C9A}" dt="2023-11-08T21:27:04.647" v="180801" actId="164"/>
          <ac:spMkLst>
            <pc:docMk/>
            <pc:sldMk cId="222537174" sldId="480"/>
            <ac:spMk id="61" creationId="{2433EECD-132C-7FD2-2304-772793D497DC}"/>
          </ac:spMkLst>
        </pc:spChg>
        <pc:grpChg chg="add mod">
          <ac:chgData name="Muchahary, Frankle" userId="0f2bf491-0617-4378-90b8-89af8fa381b9" providerId="ADAL" clId="{90877F19-00D2-4A00-8128-E78E36266C9A}" dt="2023-11-08T21:27:07.026" v="180802" actId="1076"/>
          <ac:grpSpMkLst>
            <pc:docMk/>
            <pc:sldMk cId="222537174" sldId="480"/>
            <ac:grpSpMk id="48" creationId="{FD53EAD5-60EC-E77E-6D2B-EF92B6FF0659}"/>
          </ac:grpSpMkLst>
        </pc:grpChg>
        <pc:graphicFrameChg chg="mod">
          <ac:chgData name="Muchahary, Frankle" userId="0f2bf491-0617-4378-90b8-89af8fa381b9" providerId="ADAL" clId="{90877F19-00D2-4A00-8128-E78E36266C9A}" dt="2023-11-08T22:17:50.007" v="181414"/>
          <ac:graphicFrameMkLst>
            <pc:docMk/>
            <pc:sldMk cId="222537174" sldId="480"/>
            <ac:graphicFrameMk id="4" creationId="{FD4A65FB-339A-B2BC-4155-257FFC3BBBB9}"/>
          </ac:graphicFrameMkLst>
        </pc:graphicFrameChg>
        <pc:picChg chg="mod">
          <ac:chgData name="Muchahary, Frankle" userId="0f2bf491-0617-4378-90b8-89af8fa381b9" providerId="ADAL" clId="{90877F19-00D2-4A00-8128-E78E36266C9A}" dt="2023-11-08T21:27:04.647" v="180801" actId="164"/>
          <ac:picMkLst>
            <pc:docMk/>
            <pc:sldMk cId="222537174" sldId="480"/>
            <ac:picMk id="8" creationId="{4C0EAECD-0F7C-E54C-66FC-D7D306E96875}"/>
          </ac:picMkLst>
        </pc:picChg>
        <pc:picChg chg="mod">
          <ac:chgData name="Muchahary, Frankle" userId="0f2bf491-0617-4378-90b8-89af8fa381b9" providerId="ADAL" clId="{90877F19-00D2-4A00-8128-E78E36266C9A}" dt="2023-11-08T21:27:04.647" v="180801" actId="164"/>
          <ac:picMkLst>
            <pc:docMk/>
            <pc:sldMk cId="222537174" sldId="480"/>
            <ac:picMk id="12" creationId="{A060D6D0-9868-BAF0-477C-FBD6C88A3CFA}"/>
          </ac:picMkLst>
        </pc:picChg>
        <pc:picChg chg="mod">
          <ac:chgData name="Muchahary, Frankle" userId="0f2bf491-0617-4378-90b8-89af8fa381b9" providerId="ADAL" clId="{90877F19-00D2-4A00-8128-E78E36266C9A}" dt="2023-11-08T21:27:04.647" v="180801" actId="164"/>
          <ac:picMkLst>
            <pc:docMk/>
            <pc:sldMk cId="222537174" sldId="480"/>
            <ac:picMk id="18" creationId="{9617CC74-9ACA-DC80-D6D4-65DF6887E410}"/>
          </ac:picMkLst>
        </pc:picChg>
        <pc:picChg chg="add del mod">
          <ac:chgData name="Muchahary, Frankle" userId="0f2bf491-0617-4378-90b8-89af8fa381b9" providerId="ADAL" clId="{90877F19-00D2-4A00-8128-E78E36266C9A}" dt="2023-11-08T21:22:46.383" v="180524"/>
          <ac:picMkLst>
            <pc:docMk/>
            <pc:sldMk cId="222537174" sldId="480"/>
            <ac:picMk id="33" creationId="{842648F5-AA81-FF58-069C-C43C2F290C21}"/>
          </ac:picMkLst>
        </pc:picChg>
        <pc:picChg chg="add mod">
          <ac:chgData name="Muchahary, Frankle" userId="0f2bf491-0617-4378-90b8-89af8fa381b9" providerId="ADAL" clId="{90877F19-00D2-4A00-8128-E78E36266C9A}" dt="2023-11-08T21:27:04.647" v="180801" actId="164"/>
          <ac:picMkLst>
            <pc:docMk/>
            <pc:sldMk cId="222537174" sldId="480"/>
            <ac:picMk id="37" creationId="{9C90EDF2-0D88-0769-AA56-594FE6542775}"/>
          </ac:picMkLst>
        </pc:pic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16" creationId="{B3CB6CA7-6AC6-2F72-4CBE-2A0B3F73E2DD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20" creationId="{BFE80FCB-39C6-BEEB-7950-854D5E345F77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28" creationId="{E6A110A0-9F7C-0972-3970-DCECE96A045B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34" creationId="{989E4FCB-1684-653F-2A3E-0B5E97F6BEC2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38" creationId="{C5E62FB5-EEAA-FDE3-7A3C-65E4500C15BD}"/>
          </ac:cxnSpMkLst>
        </pc:cxnChg>
        <pc:cxnChg chg="del mod">
          <ac:chgData name="Muchahary, Frankle" userId="0f2bf491-0617-4378-90b8-89af8fa381b9" providerId="ADAL" clId="{90877F19-00D2-4A00-8128-E78E36266C9A}" dt="2023-11-08T21:18:20.221" v="180352" actId="478"/>
          <ac:cxnSpMkLst>
            <pc:docMk/>
            <pc:sldMk cId="222537174" sldId="480"/>
            <ac:cxnSpMk id="40" creationId="{CAA5ACCE-B3D9-7725-89B5-5F2DCEB4DACA}"/>
          </ac:cxnSpMkLst>
        </pc:cxnChg>
        <pc:cxnChg chg="add 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43" creationId="{65C3C14B-37E1-071C-6AE7-6108286B482C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45" creationId="{A06D670C-AA7C-287D-86A2-766ABAA42A2D}"/>
          </ac:cxnSpMkLst>
        </pc:cxnChg>
        <pc:cxnChg chg="mod">
          <ac:chgData name="Muchahary, Frankle" userId="0f2bf491-0617-4378-90b8-89af8fa381b9" providerId="ADAL" clId="{90877F19-00D2-4A00-8128-E78E36266C9A}" dt="2023-11-08T21:27:04.647" v="180801" actId="164"/>
          <ac:cxnSpMkLst>
            <pc:docMk/>
            <pc:sldMk cId="222537174" sldId="480"/>
            <ac:cxnSpMk id="47" creationId="{53907D06-133C-0F7E-BEF0-B6B1A6E275AC}"/>
          </ac:cxnSpMkLst>
        </pc:cxnChg>
        <pc:cxnChg chg="del mod">
          <ac:chgData name="Muchahary, Frankle" userId="0f2bf491-0617-4378-90b8-89af8fa381b9" providerId="ADAL" clId="{90877F19-00D2-4A00-8128-E78E36266C9A}" dt="2023-11-08T21:13:43.709" v="180155" actId="478"/>
          <ac:cxnSpMkLst>
            <pc:docMk/>
            <pc:sldMk cId="222537174" sldId="480"/>
            <ac:cxnSpMk id="54" creationId="{9311CAA1-A630-66B6-907F-E0CEC9480753}"/>
          </ac:cxnSpMkLst>
        </pc:cxnChg>
      </pc:sldChg>
      <pc:sldChg chg="addSp delSp modSp add mod">
        <pc:chgData name="Muchahary, Frankle" userId="0f2bf491-0617-4378-90b8-89af8fa381b9" providerId="ADAL" clId="{90877F19-00D2-4A00-8128-E78E36266C9A}" dt="2023-11-08T21:33:04.657" v="180960" actId="20577"/>
        <pc:sldMkLst>
          <pc:docMk/>
          <pc:sldMk cId="2735697471" sldId="486"/>
        </pc:sldMkLst>
        <pc:spChg chg="add mod">
          <ac:chgData name="Muchahary, Frankle" userId="0f2bf491-0617-4378-90b8-89af8fa381b9" providerId="ADAL" clId="{90877F19-00D2-4A00-8128-E78E36266C9A}" dt="2023-11-08T21:33:04.657" v="180960" actId="20577"/>
          <ac:spMkLst>
            <pc:docMk/>
            <pc:sldMk cId="2735697471" sldId="486"/>
            <ac:spMk id="9" creationId="{D8771401-53D9-6CF1-89BB-92644A06E023}"/>
          </ac:spMkLst>
        </pc:spChg>
        <pc:spChg chg="mod ord">
          <ac:chgData name="Muchahary, Frankle" userId="0f2bf491-0617-4378-90b8-89af8fa381b9" providerId="ADAL" clId="{90877F19-00D2-4A00-8128-E78E36266C9A}" dt="2023-11-08T21:32:54.206" v="180959" actId="20577"/>
          <ac:spMkLst>
            <pc:docMk/>
            <pc:sldMk cId="2735697471" sldId="486"/>
            <ac:spMk id="21" creationId="{D539969B-A3E2-729B-09B1-A293C3273E9B}"/>
          </ac:spMkLst>
        </pc:spChg>
        <pc:spChg chg="mod ord">
          <ac:chgData name="Muchahary, Frankle" userId="0f2bf491-0617-4378-90b8-89af8fa381b9" providerId="ADAL" clId="{90877F19-00D2-4A00-8128-E78E36266C9A}" dt="2023-11-08T21:31:17.282" v="180920"/>
          <ac:spMkLst>
            <pc:docMk/>
            <pc:sldMk cId="2735697471" sldId="486"/>
            <ac:spMk id="22" creationId="{5B2887A7-8638-E254-46B7-2957EADDF44E}"/>
          </ac:spMkLst>
        </pc:spChg>
        <pc:spChg chg="mod ord">
          <ac:chgData name="Muchahary, Frankle" userId="0f2bf491-0617-4378-90b8-89af8fa381b9" providerId="ADAL" clId="{90877F19-00D2-4A00-8128-E78E36266C9A}" dt="2023-11-08T21:31:17.280" v="180916"/>
          <ac:spMkLst>
            <pc:docMk/>
            <pc:sldMk cId="2735697471" sldId="486"/>
            <ac:spMk id="134" creationId="{F2767D1E-3B45-C15D-2353-D39EFD8AC6D3}"/>
          </ac:spMkLst>
        </pc:spChg>
        <pc:graphicFrameChg chg="mod">
          <ac:chgData name="Muchahary, Frankle" userId="0f2bf491-0617-4378-90b8-89af8fa381b9" providerId="ADAL" clId="{90877F19-00D2-4A00-8128-E78E36266C9A}" dt="2023-11-08T21:31:17.288" v="180928"/>
          <ac:graphicFrameMkLst>
            <pc:docMk/>
            <pc:sldMk cId="2735697471" sldId="486"/>
            <ac:graphicFrameMk id="4" creationId="{FD4A65FB-339A-B2BC-4155-257FFC3BBBB9}"/>
          </ac:graphicFrameMkLst>
        </pc:graphicFrameChg>
        <pc:picChg chg="del mod ord">
          <ac:chgData name="Muchahary, Frankle" userId="0f2bf491-0617-4378-90b8-89af8fa381b9" providerId="ADAL" clId="{90877F19-00D2-4A00-8128-E78E36266C9A}" dt="2023-11-08T21:31:18.767" v="180929" actId="478"/>
          <ac:picMkLst>
            <pc:docMk/>
            <pc:sldMk cId="2735697471" sldId="486"/>
            <ac:picMk id="3" creationId="{8C41E30B-A1C8-9097-95A3-FBE1CE7B40E0}"/>
          </ac:picMkLst>
        </pc:picChg>
        <pc:picChg chg="add mod ord">
          <ac:chgData name="Muchahary, Frankle" userId="0f2bf491-0617-4378-90b8-89af8fa381b9" providerId="ADAL" clId="{90877F19-00D2-4A00-8128-E78E36266C9A}" dt="2023-11-08T21:31:25.710" v="180930" actId="14861"/>
          <ac:picMkLst>
            <pc:docMk/>
            <pc:sldMk cId="2735697471" sldId="486"/>
            <ac:picMk id="5" creationId="{8237BE19-9117-EAE1-BB59-6B18520BB043}"/>
          </ac:picMkLst>
        </pc:picChg>
        <pc:picChg chg="del mod ord">
          <ac:chgData name="Muchahary, Frankle" userId="0f2bf491-0617-4378-90b8-89af8fa381b9" providerId="ADAL" clId="{90877F19-00D2-4A00-8128-E78E36266C9A}" dt="2023-11-08T21:31:27.731" v="180931" actId="478"/>
          <ac:picMkLst>
            <pc:docMk/>
            <pc:sldMk cId="2735697471" sldId="486"/>
            <ac:picMk id="6" creationId="{2AA69850-5E83-3A46-5506-C9178DBE2338}"/>
          </ac:picMkLst>
        </pc:picChg>
        <pc:picChg chg="add mod">
          <ac:chgData name="Muchahary, Frankle" userId="0f2bf491-0617-4378-90b8-89af8fa381b9" providerId="ADAL" clId="{90877F19-00D2-4A00-8128-E78E36266C9A}" dt="2023-11-08T21:32:08.651" v="180938" actId="14861"/>
          <ac:picMkLst>
            <pc:docMk/>
            <pc:sldMk cId="2735697471" sldId="486"/>
            <ac:picMk id="8" creationId="{8AEA22EA-3CD6-E3CA-689A-EF572F319C2C}"/>
          </ac:picMkLst>
        </pc:picChg>
      </pc:sldChg>
      <pc:sldChg chg="modNotesTx">
        <pc:chgData name="Muchahary, Frankle" userId="0f2bf491-0617-4378-90b8-89af8fa381b9" providerId="ADAL" clId="{90877F19-00D2-4A00-8128-E78E36266C9A}" dt="2023-11-08T22:44:20.543" v="183545" actId="20577"/>
        <pc:sldMkLst>
          <pc:docMk/>
          <pc:sldMk cId="1008347484" sldId="487"/>
        </pc:sldMkLst>
      </pc:sldChg>
      <pc:sldChg chg="addSp delSp modSp mod modNotesTx">
        <pc:chgData name="Muchahary, Frankle" userId="0f2bf491-0617-4378-90b8-89af8fa381b9" providerId="ADAL" clId="{90877F19-00D2-4A00-8128-E78E36266C9A}" dt="2023-11-08T22:44:23.293" v="183546" actId="20577"/>
        <pc:sldMkLst>
          <pc:docMk/>
          <pc:sldMk cId="876163158" sldId="488"/>
        </pc:sldMkLst>
        <pc:picChg chg="add del">
          <ac:chgData name="Muchahary, Frankle" userId="0f2bf491-0617-4378-90b8-89af8fa381b9" providerId="ADAL" clId="{90877F19-00D2-4A00-8128-E78E36266C9A}" dt="2023-11-08T22:41:06.014" v="183528" actId="478"/>
          <ac:picMkLst>
            <pc:docMk/>
            <pc:sldMk cId="876163158" sldId="488"/>
            <ac:picMk id="5" creationId="{3E57DA12-C103-FBB9-F5D2-90CEF7090CF8}"/>
          </ac:picMkLst>
        </pc:picChg>
        <pc:picChg chg="mod">
          <ac:chgData name="Muchahary, Frankle" userId="0f2bf491-0617-4378-90b8-89af8fa381b9" providerId="ADAL" clId="{90877F19-00D2-4A00-8128-E78E36266C9A}" dt="2023-11-08T22:41:25.290" v="183536" actId="14861"/>
          <ac:picMkLst>
            <pc:docMk/>
            <pc:sldMk cId="876163158" sldId="488"/>
            <ac:picMk id="10" creationId="{8FA5806E-E52A-8D27-8A86-CD05FFA83A06}"/>
          </ac:picMkLst>
        </pc:picChg>
        <pc:picChg chg="add mod">
          <ac:chgData name="Muchahary, Frankle" userId="0f2bf491-0617-4378-90b8-89af8fa381b9" providerId="ADAL" clId="{90877F19-00D2-4A00-8128-E78E36266C9A}" dt="2023-11-08T22:41:21.376" v="183535" actId="14861"/>
          <ac:picMkLst>
            <pc:docMk/>
            <pc:sldMk cId="876163158" sldId="488"/>
            <ac:picMk id="11" creationId="{2341931C-1E56-17B1-237E-3C1A9B30FC42}"/>
          </ac:picMkLst>
        </pc:picChg>
        <pc:picChg chg="add mod">
          <ac:chgData name="Muchahary, Frankle" userId="0f2bf491-0617-4378-90b8-89af8fa381b9" providerId="ADAL" clId="{90877F19-00D2-4A00-8128-E78E36266C9A}" dt="2023-11-08T22:43:11.285" v="183542" actId="14861"/>
          <ac:picMkLst>
            <pc:docMk/>
            <pc:sldMk cId="876163158" sldId="488"/>
            <ac:picMk id="13" creationId="{F9B8555A-506B-B0D1-D229-B83A940357A2}"/>
          </ac:picMkLst>
        </pc:picChg>
        <pc:picChg chg="del">
          <ac:chgData name="Muchahary, Frankle" userId="0f2bf491-0617-4378-90b8-89af8fa381b9" providerId="ADAL" clId="{90877F19-00D2-4A00-8128-E78E36266C9A}" dt="2023-11-08T22:41:27.224" v="183537" actId="478"/>
          <ac:picMkLst>
            <pc:docMk/>
            <pc:sldMk cId="876163158" sldId="488"/>
            <ac:picMk id="33" creationId="{4881ACA1-89E2-E436-F083-DFBCE29BD3B9}"/>
          </ac:picMkLst>
        </pc:picChg>
      </pc:sldChg>
      <pc:sldChg chg="modNotesTx">
        <pc:chgData name="Muchahary, Frankle" userId="0f2bf491-0617-4378-90b8-89af8fa381b9" providerId="ADAL" clId="{90877F19-00D2-4A00-8128-E78E36266C9A}" dt="2023-11-08T22:44:29.017" v="183548" actId="20577"/>
        <pc:sldMkLst>
          <pc:docMk/>
          <pc:sldMk cId="53695002" sldId="489"/>
        </pc:sldMkLst>
      </pc:sldChg>
      <pc:sldChg chg="del">
        <pc:chgData name="Muchahary, Frankle" userId="0f2bf491-0617-4378-90b8-89af8fa381b9" providerId="ADAL" clId="{90877F19-00D2-4A00-8128-E78E36266C9A}" dt="2023-11-08T22:32:30.283" v="181891" actId="2696"/>
        <pc:sldMkLst>
          <pc:docMk/>
          <pc:sldMk cId="2536079350" sldId="490"/>
        </pc:sldMkLst>
      </pc:sldChg>
      <pc:sldChg chg="modSp mod">
        <pc:chgData name="Muchahary, Frankle" userId="0f2bf491-0617-4378-90b8-89af8fa381b9" providerId="ADAL" clId="{90877F19-00D2-4A00-8128-E78E36266C9A}" dt="2023-11-08T22:32:12.458" v="181888" actId="1076"/>
        <pc:sldMkLst>
          <pc:docMk/>
          <pc:sldMk cId="961198796" sldId="492"/>
        </pc:sldMkLst>
        <pc:spChg chg="mod">
          <ac:chgData name="Muchahary, Frankle" userId="0f2bf491-0617-4378-90b8-89af8fa381b9" providerId="ADAL" clId="{90877F19-00D2-4A00-8128-E78E36266C9A}" dt="2023-11-08T22:32:12.458" v="181888" actId="1076"/>
          <ac:spMkLst>
            <pc:docMk/>
            <pc:sldMk cId="961198796" sldId="492"/>
            <ac:spMk id="93" creationId="{C19FBD3A-9BCC-3DDD-8395-CE1EB3AE2C98}"/>
          </ac:spMkLst>
        </pc:spChg>
        <pc:graphicFrameChg chg="mod modGraphic">
          <ac:chgData name="Muchahary, Frankle" userId="0f2bf491-0617-4378-90b8-89af8fa381b9" providerId="ADAL" clId="{90877F19-00D2-4A00-8128-E78E36266C9A}" dt="2023-11-08T22:31:52.726" v="181885" actId="207"/>
          <ac:graphicFrameMkLst>
            <pc:docMk/>
            <pc:sldMk cId="961198796" sldId="492"/>
            <ac:graphicFrameMk id="3" creationId="{BF097ADF-6D25-CFB0-A3F1-36D1A6243C30}"/>
          </ac:graphicFrameMkLst>
        </pc:graphicFrameChg>
      </pc:sldChg>
      <pc:sldChg chg="addSp delSp modSp add mod">
        <pc:chgData name="Muchahary, Frankle" userId="0f2bf491-0617-4378-90b8-89af8fa381b9" providerId="ADAL" clId="{90877F19-00D2-4A00-8128-E78E36266C9A}" dt="2023-11-09T06:03:31.920" v="184157" actId="20577"/>
        <pc:sldMkLst>
          <pc:docMk/>
          <pc:sldMk cId="4174953564" sldId="493"/>
        </pc:sldMkLst>
        <pc:spChg chg="add mod">
          <ac:chgData name="Muchahary, Frankle" userId="0f2bf491-0617-4378-90b8-89af8fa381b9" providerId="ADAL" clId="{90877F19-00D2-4A00-8128-E78E36266C9A}" dt="2023-11-09T06:02:51.573" v="184140" actId="20577"/>
          <ac:spMkLst>
            <pc:docMk/>
            <pc:sldMk cId="4174953564" sldId="493"/>
            <ac:spMk id="3" creationId="{EF5D8F19-C695-CF27-5CB7-AAC135298531}"/>
          </ac:spMkLst>
        </pc:spChg>
        <pc:spChg chg="del">
          <ac:chgData name="Muchahary, Frankle" userId="0f2bf491-0617-4378-90b8-89af8fa381b9" providerId="ADAL" clId="{90877F19-00D2-4A00-8128-E78E36266C9A}" dt="2023-11-09T05:55:41.988" v="183559" actId="478"/>
          <ac:spMkLst>
            <pc:docMk/>
            <pc:sldMk cId="4174953564" sldId="493"/>
            <ac:spMk id="9" creationId="{D8771401-53D9-6CF1-89BB-92644A06E023}"/>
          </ac:spMkLst>
        </pc:spChg>
        <pc:spChg chg="mod">
          <ac:chgData name="Muchahary, Frankle" userId="0f2bf491-0617-4378-90b8-89af8fa381b9" providerId="ADAL" clId="{90877F19-00D2-4A00-8128-E78E36266C9A}" dt="2023-11-09T05:58:14.603" v="183796" actId="20577"/>
          <ac:spMkLst>
            <pc:docMk/>
            <pc:sldMk cId="4174953564" sldId="493"/>
            <ac:spMk id="21" creationId="{D539969B-A3E2-729B-09B1-A293C3273E9B}"/>
          </ac:spMkLst>
        </pc:spChg>
        <pc:graphicFrameChg chg="add mod modGraphic">
          <ac:chgData name="Muchahary, Frankle" userId="0f2bf491-0617-4378-90b8-89af8fa381b9" providerId="ADAL" clId="{90877F19-00D2-4A00-8128-E78E36266C9A}" dt="2023-11-09T06:03:31.920" v="184157" actId="20577"/>
          <ac:graphicFrameMkLst>
            <pc:docMk/>
            <pc:sldMk cId="4174953564" sldId="493"/>
            <ac:graphicFrameMk id="2" creationId="{2898132B-EEE8-432E-3659-DE7ABDE47CA1}"/>
          </ac:graphicFrameMkLst>
        </pc:graphicFrameChg>
        <pc:picChg chg="del">
          <ac:chgData name="Muchahary, Frankle" userId="0f2bf491-0617-4378-90b8-89af8fa381b9" providerId="ADAL" clId="{90877F19-00D2-4A00-8128-E78E36266C9A}" dt="2023-11-09T05:55:40.228" v="183558" actId="478"/>
          <ac:picMkLst>
            <pc:docMk/>
            <pc:sldMk cId="4174953564" sldId="493"/>
            <ac:picMk id="5" creationId="{8237BE19-9117-EAE1-BB59-6B18520BB043}"/>
          </ac:picMkLst>
        </pc:picChg>
        <pc:picChg chg="del">
          <ac:chgData name="Muchahary, Frankle" userId="0f2bf491-0617-4378-90b8-89af8fa381b9" providerId="ADAL" clId="{90877F19-00D2-4A00-8128-E78E36266C9A}" dt="2023-11-09T05:55:40.228" v="183558" actId="478"/>
          <ac:picMkLst>
            <pc:docMk/>
            <pc:sldMk cId="4174953564" sldId="493"/>
            <ac:picMk id="8" creationId="{8AEA22EA-3CD6-E3CA-689A-EF572F319C2C}"/>
          </ac:picMkLst>
        </pc:picChg>
      </pc:sldChg>
      <pc:sldMasterChg chg="addSp modSp mod addSldLayout delSldLayout modSldLayout">
        <pc:chgData name="Muchahary, Frankle" userId="0f2bf491-0617-4378-90b8-89af8fa381b9" providerId="ADAL" clId="{90877F19-00D2-4A00-8128-E78E36266C9A}" dt="2023-11-08T07:28:48.832" v="171302"/>
        <pc:sldMasterMkLst>
          <pc:docMk/>
          <pc:sldMasterMk cId="0" sldId="2147483678"/>
        </pc:sldMasterMkLst>
        <pc:graphicFrameChg chg="add mod ord modVis replST">
          <ac:chgData name="Muchahary, Frankle" userId="0f2bf491-0617-4378-90b8-89af8fa381b9" providerId="ADAL" clId="{90877F19-00D2-4A00-8128-E78E36266C9A}" dt="2023-11-04T01:06:11.131" v="128"/>
          <ac:graphicFrameMkLst>
            <pc:docMk/>
            <pc:sldMasterMk cId="0" sldId="2147483678"/>
            <ac:graphicFrameMk id="2" creationId="{84CCFF40-86CA-9A90-89CB-D930D8DCF68F}"/>
          </ac:graphicFrameMkLst>
        </pc:graphicFrameChg>
        <pc:sldLayoutChg chg="addSp modSp">
          <pc:chgData name="Muchahary, Frankle" userId="0f2bf491-0617-4378-90b8-89af8fa381b9" providerId="ADAL" clId="{90877F19-00D2-4A00-8128-E78E36266C9A}" dt="2023-11-08T07:28:48.832" v="171302"/>
          <pc:sldLayoutMkLst>
            <pc:docMk/>
            <pc:sldMasterMk cId="0" sldId="2147483678"/>
            <pc:sldLayoutMk cId="0" sldId="2147483648"/>
          </pc:sldLayoutMkLst>
          <pc:spChg chg="add mod">
            <ac:chgData name="Muchahary, Frankle" userId="0f2bf491-0617-4378-90b8-89af8fa381b9" providerId="ADAL" clId="{90877F19-00D2-4A00-8128-E78E36266C9A}" dt="2023-11-08T07:28:48.832" v="171302"/>
            <ac:spMkLst>
              <pc:docMk/>
              <pc:sldMasterMk cId="0" sldId="2147483678"/>
              <pc:sldLayoutMk cId="0" sldId="2147483648"/>
              <ac:spMk id="2" creationId="{CC148670-A203-0BE8-2E57-A444C0D8B33A}"/>
            </ac:spMkLst>
          </pc:spChg>
        </pc:sldLayoutChg>
        <pc:sldLayoutChg chg="addSp modSp add del mod">
          <pc:chgData name="Muchahary, Frankle" userId="0f2bf491-0617-4378-90b8-89af8fa381b9" providerId="ADAL" clId="{90877F19-00D2-4A00-8128-E78E36266C9A}" dt="2023-11-08T07:28:04.135" v="171297"/>
          <pc:sldLayoutMkLst>
            <pc:docMk/>
            <pc:sldMasterMk cId="0" sldId="2147483678"/>
            <pc:sldLayoutMk cId="0" sldId="2147483650"/>
          </pc:sldLayoutMkLst>
          <pc:spChg chg="add mod">
            <ac:chgData name="Muchahary, Frankle" userId="0f2bf491-0617-4378-90b8-89af8fa381b9" providerId="ADAL" clId="{90877F19-00D2-4A00-8128-E78E36266C9A}" dt="2023-11-08T07:28:04.135" v="171297"/>
            <ac:spMkLst>
              <pc:docMk/>
              <pc:sldMasterMk cId="0" sldId="2147483678"/>
              <pc:sldLayoutMk cId="0" sldId="2147483650"/>
              <ac:spMk id="2" creationId="{166C7603-0B70-BE7E-6430-746CF7E77B35}"/>
            </ac:spMkLst>
          </pc:spChg>
          <pc:spChg chg="mod">
            <ac:chgData name="Muchahary, Frankle" userId="0f2bf491-0617-4378-90b8-89af8fa381b9" providerId="ADAL" clId="{90877F19-00D2-4A00-8128-E78E36266C9A}" dt="2023-11-04T01:20:47.728" v="13288" actId="14100"/>
            <ac:spMkLst>
              <pc:docMk/>
              <pc:sldMasterMk cId="0" sldId="2147483678"/>
              <pc:sldLayoutMk cId="0" sldId="2147483650"/>
              <ac:spMk id="18" creationId="{00000000-0000-0000-0000-000000000000}"/>
            </ac:spMkLst>
          </pc:spChg>
        </pc:sldLayoutChg>
        <pc:sldLayoutChg chg="del">
          <pc:chgData name="Muchahary, Frankle" userId="0f2bf491-0617-4378-90b8-89af8fa381b9" providerId="ADAL" clId="{90877F19-00D2-4A00-8128-E78E36266C9A}" dt="2023-11-08T05:49:03.006" v="163062" actId="47"/>
          <pc:sldLayoutMkLst>
            <pc:docMk/>
            <pc:sldMasterMk cId="0" sldId="2147483678"/>
            <pc:sldLayoutMk cId="0" sldId="2147483652"/>
          </pc:sldLayoutMkLst>
        </pc:sldLayoutChg>
        <pc:sldLayoutChg chg="del">
          <pc:chgData name="Muchahary, Frankle" userId="0f2bf491-0617-4378-90b8-89af8fa381b9" providerId="ADAL" clId="{90877F19-00D2-4A00-8128-E78E36266C9A}" dt="2023-11-03T03:31:22.306" v="0" actId="2696"/>
          <pc:sldLayoutMkLst>
            <pc:docMk/>
            <pc:sldMasterMk cId="0" sldId="2147483678"/>
            <pc:sldLayoutMk cId="0" sldId="2147483660"/>
          </pc:sldLayoutMkLst>
        </pc:sldLayoutChg>
        <pc:sldLayoutChg chg="del">
          <pc:chgData name="Muchahary, Frankle" userId="0f2bf491-0617-4378-90b8-89af8fa381b9" providerId="ADAL" clId="{90877F19-00D2-4A00-8128-E78E36266C9A}" dt="2023-11-08T05:49:06.120" v="163064" actId="47"/>
          <pc:sldLayoutMkLst>
            <pc:docMk/>
            <pc:sldMasterMk cId="0" sldId="2147483678"/>
            <pc:sldLayoutMk cId="0" sldId="2147483662"/>
          </pc:sldLayoutMkLst>
        </pc:sldLayoutChg>
        <pc:sldLayoutChg chg="del">
          <pc:chgData name="Muchahary, Frankle" userId="0f2bf491-0617-4378-90b8-89af8fa381b9" providerId="ADAL" clId="{90877F19-00D2-4A00-8128-E78E36266C9A}" dt="2023-11-08T05:49:09.604" v="163066" actId="47"/>
          <pc:sldLayoutMkLst>
            <pc:docMk/>
            <pc:sldMasterMk cId="0" sldId="2147483678"/>
            <pc:sldLayoutMk cId="0" sldId="2147483664"/>
          </pc:sldLayoutMkLst>
        </pc:sldLayoutChg>
        <pc:sldLayoutChg chg="del">
          <pc:chgData name="Muchahary, Frankle" userId="0f2bf491-0617-4378-90b8-89af8fa381b9" providerId="ADAL" clId="{90877F19-00D2-4A00-8128-E78E36266C9A}" dt="2023-11-08T05:49:07.870" v="163065" actId="47"/>
          <pc:sldLayoutMkLst>
            <pc:docMk/>
            <pc:sldMasterMk cId="0" sldId="2147483678"/>
            <pc:sldLayoutMk cId="0" sldId="2147483666"/>
          </pc:sldLayoutMkLst>
        </pc:sldLayoutChg>
        <pc:sldLayoutChg chg="del">
          <pc:chgData name="Muchahary, Frankle" userId="0f2bf491-0617-4378-90b8-89af8fa381b9" providerId="ADAL" clId="{90877F19-00D2-4A00-8128-E78E36266C9A}" dt="2023-11-08T05:49:04.671" v="163063" actId="47"/>
          <pc:sldLayoutMkLst>
            <pc:docMk/>
            <pc:sldMasterMk cId="0" sldId="2147483678"/>
            <pc:sldLayoutMk cId="0" sldId="2147483668"/>
          </pc:sldLayoutMkLst>
        </pc:sldLayoutChg>
        <pc:sldLayoutChg chg="del">
          <pc:chgData name="Muchahary, Frankle" userId="0f2bf491-0617-4378-90b8-89af8fa381b9" providerId="ADAL" clId="{90877F19-00D2-4A00-8128-E78E36266C9A}" dt="2023-11-08T05:49:12.765" v="163067" actId="47"/>
          <pc:sldLayoutMkLst>
            <pc:docMk/>
            <pc:sldMasterMk cId="0" sldId="2147483678"/>
            <pc:sldLayoutMk cId="0" sldId="2147483672"/>
          </pc:sldLayoutMkLst>
        </pc:sldLayoutChg>
        <pc:sldLayoutChg chg="del">
          <pc:chgData name="Muchahary, Frankle" userId="0f2bf491-0617-4378-90b8-89af8fa381b9" providerId="ADAL" clId="{90877F19-00D2-4A00-8128-E78E36266C9A}" dt="2023-11-08T05:49:16.813" v="163069" actId="47"/>
          <pc:sldLayoutMkLst>
            <pc:docMk/>
            <pc:sldMasterMk cId="0" sldId="2147483678"/>
            <pc:sldLayoutMk cId="0" sldId="2147483673"/>
          </pc:sldLayoutMkLst>
        </pc:sldLayoutChg>
        <pc:sldLayoutChg chg="del">
          <pc:chgData name="Muchahary, Frankle" userId="0f2bf491-0617-4378-90b8-89af8fa381b9" providerId="ADAL" clId="{90877F19-00D2-4A00-8128-E78E36266C9A}" dt="2023-11-08T05:49:14.351" v="163068" actId="47"/>
          <pc:sldLayoutMkLst>
            <pc:docMk/>
            <pc:sldMasterMk cId="0" sldId="2147483678"/>
            <pc:sldLayoutMk cId="0" sldId="2147483674"/>
          </pc:sldLayoutMkLst>
        </pc:sldLayoutChg>
        <pc:sldLayoutChg chg="addSp modSp mod">
          <pc:chgData name="Muchahary, Frankle" userId="0f2bf491-0617-4378-90b8-89af8fa381b9" providerId="ADAL" clId="{90877F19-00D2-4A00-8128-E78E36266C9A}" dt="2023-11-08T07:28:08.442" v="171298"/>
          <pc:sldLayoutMkLst>
            <pc:docMk/>
            <pc:sldMasterMk cId="0" sldId="2147483678"/>
            <pc:sldLayoutMk cId="0" sldId="2147483676"/>
          </pc:sldLayoutMkLst>
          <pc:spChg chg="mod">
            <ac:chgData name="Muchahary, Frankle" userId="0f2bf491-0617-4378-90b8-89af8fa381b9" providerId="ADAL" clId="{90877F19-00D2-4A00-8128-E78E36266C9A}" dt="2023-11-04T01:21:00.288" v="13289" actId="14100"/>
            <ac:spMkLst>
              <pc:docMk/>
              <pc:sldMasterMk cId="0" sldId="2147483678"/>
              <pc:sldLayoutMk cId="0" sldId="2147483676"/>
              <ac:spMk id="2" creationId="{A3514287-956B-C31A-8FA7-E5A8BE1F0602}"/>
            </ac:spMkLst>
          </pc:spChg>
          <pc:spChg chg="add mod">
            <ac:chgData name="Muchahary, Frankle" userId="0f2bf491-0617-4378-90b8-89af8fa381b9" providerId="ADAL" clId="{90877F19-00D2-4A00-8128-E78E36266C9A}" dt="2023-11-08T07:28:08.442" v="171298"/>
            <ac:spMkLst>
              <pc:docMk/>
              <pc:sldMasterMk cId="0" sldId="2147483678"/>
              <pc:sldLayoutMk cId="0" sldId="2147483676"/>
              <ac:spMk id="3" creationId="{9F7C6018-23FC-5D73-3E05-249037F96CCE}"/>
            </ac:spMkLst>
          </pc:spChg>
        </pc:sldLayoutChg>
        <pc:sldLayoutChg chg="addSp modSp mod">
          <pc:chgData name="Muchahary, Frankle" userId="0f2bf491-0617-4378-90b8-89af8fa381b9" providerId="ADAL" clId="{90877F19-00D2-4A00-8128-E78E36266C9A}" dt="2023-11-08T07:28:19.380" v="171300"/>
          <pc:sldLayoutMkLst>
            <pc:docMk/>
            <pc:sldMasterMk cId="0" sldId="2147483678"/>
            <pc:sldLayoutMk cId="1143986136" sldId="2147483680"/>
          </pc:sldLayoutMkLst>
          <pc:spChg chg="add mod">
            <ac:chgData name="Muchahary, Frankle" userId="0f2bf491-0617-4378-90b8-89af8fa381b9" providerId="ADAL" clId="{90877F19-00D2-4A00-8128-E78E36266C9A}" dt="2023-11-08T07:28:19.380" v="171300"/>
            <ac:spMkLst>
              <pc:docMk/>
              <pc:sldMasterMk cId="0" sldId="2147483678"/>
              <pc:sldLayoutMk cId="1143986136" sldId="2147483680"/>
              <ac:spMk id="2" creationId="{E8311B74-3FC9-A7C0-BB18-C88B2B1067A6}"/>
            </ac:spMkLst>
          </pc:spChg>
          <pc:spChg chg="mod">
            <ac:chgData name="Muchahary, Frankle" userId="0f2bf491-0617-4378-90b8-89af8fa381b9" providerId="ADAL" clId="{90877F19-00D2-4A00-8128-E78E36266C9A}" dt="2023-11-04T01:21:06.892" v="13290" actId="14100"/>
            <ac:spMkLst>
              <pc:docMk/>
              <pc:sldMasterMk cId="0" sldId="2147483678"/>
              <pc:sldLayoutMk cId="1143986136" sldId="2147483680"/>
              <ac:spMk id="290" creationId="{00000000-0000-0000-0000-000000000000}"/>
            </ac:spMkLst>
          </pc:spChg>
        </pc:sldLayoutChg>
        <pc:sldLayoutChg chg="addSp delSp modSp mod">
          <pc:chgData name="Muchahary, Frankle" userId="0f2bf491-0617-4378-90b8-89af8fa381b9" providerId="ADAL" clId="{90877F19-00D2-4A00-8128-E78E36266C9A}" dt="2023-11-04T18:59:36.054" v="54463" actId="478"/>
          <pc:sldLayoutMkLst>
            <pc:docMk/>
            <pc:sldMasterMk cId="0" sldId="2147483678"/>
            <pc:sldLayoutMk cId="2514566348" sldId="2147483681"/>
          </pc:sldLayoutMkLst>
          <pc:spChg chg="mod">
            <ac:chgData name="Muchahary, Frankle" userId="0f2bf491-0617-4378-90b8-89af8fa381b9" providerId="ADAL" clId="{90877F19-00D2-4A00-8128-E78E36266C9A}" dt="2023-11-04T01:21:13.685" v="13291" actId="14100"/>
            <ac:spMkLst>
              <pc:docMk/>
              <pc:sldMasterMk cId="0" sldId="2147483678"/>
              <pc:sldLayoutMk cId="2514566348" sldId="2147483681"/>
              <ac:spMk id="297" creationId="{00000000-0000-0000-0000-000000000000}"/>
            </ac:spMkLst>
          </pc:spChg>
          <pc:graphicFrameChg chg="add mod ord modVis replST">
            <ac:chgData name="Muchahary, Frankle" userId="0f2bf491-0617-4378-90b8-89af8fa381b9" providerId="ADAL" clId="{90877F19-00D2-4A00-8128-E78E36266C9A}" dt="2023-11-04T01:30:07.466" v="17681"/>
            <ac:graphicFrameMkLst>
              <pc:docMk/>
              <pc:sldMasterMk cId="0" sldId="2147483678"/>
              <pc:sldLayoutMk cId="2514566348" sldId="2147483681"/>
              <ac:graphicFrameMk id="4" creationId="{057D7DF2-3453-2DCB-DE24-848A2D3E8718}"/>
            </ac:graphicFrameMkLst>
          </pc:graphicFrameChg>
          <pc:cxnChg chg="add mod">
            <ac:chgData name="Muchahary, Frankle" userId="0f2bf491-0617-4378-90b8-89af8fa381b9" providerId="ADAL" clId="{90877F19-00D2-4A00-8128-E78E36266C9A}" dt="2023-11-04T18:59:32.774" v="54462"/>
            <ac:cxnSpMkLst>
              <pc:docMk/>
              <pc:sldMasterMk cId="0" sldId="2147483678"/>
              <pc:sldLayoutMk cId="2514566348" sldId="2147483681"/>
              <ac:cxnSpMk id="2" creationId="{097D7BCF-78C1-FAE8-055F-B4FBBAB6F02F}"/>
            </ac:cxnSpMkLst>
          </pc:cxnChg>
          <pc:cxnChg chg="add del mod">
            <ac:chgData name="Muchahary, Frankle" userId="0f2bf491-0617-4378-90b8-89af8fa381b9" providerId="ADAL" clId="{90877F19-00D2-4A00-8128-E78E36266C9A}" dt="2023-11-04T18:59:36.054" v="54463" actId="478"/>
            <ac:cxnSpMkLst>
              <pc:docMk/>
              <pc:sldMasterMk cId="0" sldId="2147483678"/>
              <pc:sldLayoutMk cId="2514566348" sldId="2147483681"/>
              <ac:cxnSpMk id="3" creationId="{EDC5FECB-D53B-9237-CA0F-DA10A372CF9D}"/>
            </ac:cxnSpMkLst>
          </pc:cxnChg>
        </pc:sldLayoutChg>
        <pc:sldLayoutChg chg="addSp delSp modSp mod">
          <pc:chgData name="Muchahary, Frankle" userId="0f2bf491-0617-4378-90b8-89af8fa381b9" providerId="ADAL" clId="{90877F19-00D2-4A00-8128-E78E36266C9A}" dt="2023-11-08T07:28:23.311" v="171301"/>
          <pc:sldLayoutMkLst>
            <pc:docMk/>
            <pc:sldMasterMk cId="0" sldId="2147483678"/>
            <pc:sldLayoutMk cId="1242586868" sldId="2147483733"/>
          </pc:sldLayoutMkLst>
          <pc:spChg chg="add mod">
            <ac:chgData name="Muchahary, Frankle" userId="0f2bf491-0617-4378-90b8-89af8fa381b9" providerId="ADAL" clId="{90877F19-00D2-4A00-8128-E78E36266C9A}" dt="2023-11-04T03:26:58.262" v="44157" actId="207"/>
            <ac:spMkLst>
              <pc:docMk/>
              <pc:sldMasterMk cId="0" sldId="2147483678"/>
              <pc:sldLayoutMk cId="1242586868" sldId="2147483733"/>
              <ac:spMk id="2" creationId="{59BB34DC-1858-8E04-A306-DF23418681B5}"/>
            </ac:spMkLst>
          </pc:spChg>
          <pc:spChg chg="add mod">
            <ac:chgData name="Muchahary, Frankle" userId="0f2bf491-0617-4378-90b8-89af8fa381b9" providerId="ADAL" clId="{90877F19-00D2-4A00-8128-E78E36266C9A}" dt="2023-11-08T07:28:23.311" v="171301"/>
            <ac:spMkLst>
              <pc:docMk/>
              <pc:sldMasterMk cId="0" sldId="2147483678"/>
              <pc:sldLayoutMk cId="1242586868" sldId="2147483733"/>
              <ac:spMk id="5" creationId="{41A3A0AE-E566-CAA4-9906-C9A3CBFAA0EF}"/>
            </ac:spMkLst>
          </pc:spChg>
          <pc:spChg chg="del mod">
            <ac:chgData name="Muchahary, Frankle" userId="0f2bf491-0617-4378-90b8-89af8fa381b9" providerId="ADAL" clId="{90877F19-00D2-4A00-8128-E78E36266C9A}" dt="2023-11-04T03:26:11.032" v="44153" actId="478"/>
            <ac:spMkLst>
              <pc:docMk/>
              <pc:sldMasterMk cId="0" sldId="2147483678"/>
              <pc:sldLayoutMk cId="1242586868" sldId="2147483733"/>
              <ac:spMk id="297" creationId="{00000000-0000-0000-0000-000000000000}"/>
            </ac:spMkLst>
          </pc:spChg>
          <pc:graphicFrameChg chg="mod">
            <ac:chgData name="Muchahary, Frankle" userId="0f2bf491-0617-4378-90b8-89af8fa381b9" providerId="ADAL" clId="{90877F19-00D2-4A00-8128-E78E36266C9A}" dt="2023-11-04T18:59:23.596" v="54461"/>
            <ac:graphicFrameMkLst>
              <pc:docMk/>
              <pc:sldMasterMk cId="0" sldId="2147483678"/>
              <pc:sldLayoutMk cId="1242586868" sldId="2147483733"/>
              <ac:graphicFrameMk id="4" creationId="{057D7DF2-3453-2DCB-DE24-848A2D3E8718}"/>
            </ac:graphicFrameMkLst>
          </pc:graphicFrameChg>
          <pc:cxnChg chg="mod">
            <ac:chgData name="Muchahary, Frankle" userId="0f2bf491-0617-4378-90b8-89af8fa381b9" providerId="ADAL" clId="{90877F19-00D2-4A00-8128-E78E36266C9A}" dt="2023-11-04T18:59:22.913" v="54457" actId="1076"/>
            <ac:cxnSpMkLst>
              <pc:docMk/>
              <pc:sldMasterMk cId="0" sldId="2147483678"/>
              <pc:sldLayoutMk cId="1242586868" sldId="2147483733"/>
              <ac:cxnSpMk id="3" creationId="{EDC5FECB-D53B-9237-CA0F-DA10A372CF9D}"/>
            </ac:cxnSpMkLst>
          </pc:cxnChg>
        </pc:sldLayoutChg>
        <pc:sldLayoutChg chg="new del mod replId">
          <pc:chgData name="Muchahary, Frankle" userId="0f2bf491-0617-4378-90b8-89af8fa381b9" providerId="ADAL" clId="{90877F19-00D2-4A00-8128-E78E36266C9A}" dt="2023-11-04T01:31:08.041" v="17684" actId="11236"/>
          <pc:sldLayoutMkLst>
            <pc:docMk/>
            <pc:sldMasterMk cId="0" sldId="2147483678"/>
            <pc:sldLayoutMk cId="2166673794" sldId="2147483733"/>
          </pc:sldLayoutMkLst>
        </pc:sldLayoutChg>
        <pc:sldLayoutChg chg="addSp delSp modSp mod">
          <pc:chgData name="Muchahary, Frankle" userId="0f2bf491-0617-4378-90b8-89af8fa381b9" providerId="ADAL" clId="{90877F19-00D2-4A00-8128-E78E36266C9A}" dt="2023-11-08T07:27:08.099" v="171294"/>
          <pc:sldLayoutMkLst>
            <pc:docMk/>
            <pc:sldMasterMk cId="0" sldId="2147483678"/>
            <pc:sldLayoutMk cId="2448753976" sldId="2147483734"/>
          </pc:sldLayoutMkLst>
          <pc:spChg chg="add mod">
            <ac:chgData name="Muchahary, Frankle" userId="0f2bf491-0617-4378-90b8-89af8fa381b9" providerId="ADAL" clId="{90877F19-00D2-4A00-8128-E78E36266C9A}" dt="2023-11-08T07:27:08.099" v="171294"/>
            <ac:spMkLst>
              <pc:docMk/>
              <pc:sldMasterMk cId="0" sldId="2147483678"/>
              <pc:sldLayoutMk cId="2448753976" sldId="2147483734"/>
              <ac:spMk id="2" creationId="{15A7B9FC-6F4B-2791-E046-09B0BA18A5D6}"/>
            </ac:spMkLst>
          </pc:spChg>
          <pc:spChg chg="mod">
            <ac:chgData name="Muchahary, Frankle" userId="0f2bf491-0617-4378-90b8-89af8fa381b9" providerId="ADAL" clId="{90877F19-00D2-4A00-8128-E78E36266C9A}" dt="2023-11-04T03:26:51.610" v="44156" actId="207"/>
            <ac:spMkLst>
              <pc:docMk/>
              <pc:sldMasterMk cId="0" sldId="2147483678"/>
              <pc:sldLayoutMk cId="2448753976" sldId="2147483734"/>
              <ac:spMk id="297" creationId="{00000000-0000-0000-0000-000000000000}"/>
            </ac:spMkLst>
          </pc:spChg>
          <pc:cxnChg chg="del">
            <ac:chgData name="Muchahary, Frankle" userId="0f2bf491-0617-4378-90b8-89af8fa381b9" providerId="ADAL" clId="{90877F19-00D2-4A00-8128-E78E36266C9A}" dt="2023-11-04T03:08:00.231" v="43838" actId="478"/>
            <ac:cxnSpMkLst>
              <pc:docMk/>
              <pc:sldMasterMk cId="0" sldId="2147483678"/>
              <pc:sldLayoutMk cId="2448753976" sldId="2147483734"/>
              <ac:cxnSpMk id="3" creationId="{EDC5FECB-D53B-9237-CA0F-DA10A372CF9D}"/>
            </ac:cxnSpMkLst>
          </pc:cxnChg>
        </pc:sldLayoutChg>
      </pc:sldMasterChg>
      <pc:sldMasterChg chg="addSp modSp del mod delSldLayout">
        <pc:chgData name="Muchahary, Frankle" userId="0f2bf491-0617-4378-90b8-89af8fa381b9" providerId="ADAL" clId="{90877F19-00D2-4A00-8128-E78E36266C9A}" dt="2023-11-08T05:51:40.395" v="163146" actId="47"/>
        <pc:sldMasterMkLst>
          <pc:docMk/>
          <pc:sldMasterMk cId="0" sldId="2147483679"/>
        </pc:sldMasterMkLst>
        <pc:graphicFrameChg chg="add mod ord modVis replST">
          <ac:chgData name="Muchahary, Frankle" userId="0f2bf491-0617-4378-90b8-89af8fa381b9" providerId="ADAL" clId="{90877F19-00D2-4A00-8128-E78E36266C9A}" dt="2023-11-04T01:06:11.302" v="211"/>
          <ac:graphicFrameMkLst>
            <pc:docMk/>
            <pc:sldMasterMk cId="0" sldId="2147483679"/>
            <ac:graphicFrameMk id="2" creationId="{CBA92BCF-F322-E690-7085-5E162135F626}"/>
          </ac:graphicFrameMkLst>
        </pc:graphicFrameChg>
        <pc:sldLayoutChg chg="del">
          <pc:chgData name="Muchahary, Frankle" userId="0f2bf491-0617-4378-90b8-89af8fa381b9" providerId="ADAL" clId="{90877F19-00D2-4A00-8128-E78E36266C9A}" dt="2023-11-08T05:51:40.395" v="163146" actId="47"/>
          <pc:sldLayoutMkLst>
            <pc:docMk/>
            <pc:sldMasterMk cId="0" sldId="2147483679"/>
            <pc:sldLayoutMk cId="0" sldId="2147483677"/>
          </pc:sldLayoutMkLst>
        </pc:sldLayoutChg>
      </pc:sldMasterChg>
      <pc:sldMasterChg chg="addSp delSp modSp mod modSldLayout">
        <pc:chgData name="Muchahary, Frankle" userId="0f2bf491-0617-4378-90b8-89af8fa381b9" providerId="ADAL" clId="{90877F19-00D2-4A00-8128-E78E36266C9A}" dt="2023-11-08T07:28:12.399" v="171299" actId="735"/>
        <pc:sldMasterMkLst>
          <pc:docMk/>
          <pc:sldMasterMk cId="1458620940" sldId="2147483682"/>
        </pc:sldMasterMkLst>
        <pc:spChg chg="mod">
          <ac:chgData name="Muchahary, Frankle" userId="0f2bf491-0617-4378-90b8-89af8fa381b9" providerId="ADAL" clId="{90877F19-00D2-4A00-8128-E78E36266C9A}" dt="2023-11-04T01:06:10.723" v="91" actId="948"/>
          <ac:spMkLst>
            <pc:docMk/>
            <pc:sldMasterMk cId="1458620940" sldId="2147483682"/>
            <ac:spMk id="2" creationId="{AC4CA2C6-767A-FE9C-DAFC-F2B38488B36B}"/>
          </ac:spMkLst>
        </pc:spChg>
        <pc:spChg chg="add del mod modVis">
          <ac:chgData name="Muchahary, Frankle" userId="0f2bf491-0617-4378-90b8-89af8fa381b9" providerId="ADAL" clId="{90877F19-00D2-4A00-8128-E78E36266C9A}" dt="2023-11-04T01:06:11.224" v="181"/>
          <ac:spMkLst>
            <pc:docMk/>
            <pc:sldMasterMk cId="1458620940" sldId="2147483682"/>
            <ac:spMk id="7" creationId="{7D040A3A-274A-219E-E21B-E93CB9BDB4C5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4T01:06:11.271" v="196"/>
          <ac:graphicFrameMkLst>
            <pc:docMk/>
            <pc:sldMasterMk cId="1458620940" sldId="2147483682"/>
            <ac:graphicFrameMk id="8" creationId="{BC4A2810-08DE-457A-C037-03577E8148BC}"/>
          </ac:graphicFrameMkLst>
        </pc:graphicFrameChg>
        <pc:sldLayoutChg chg="modSp">
          <pc:chgData name="Muchahary, Frankle" userId="0f2bf491-0617-4378-90b8-89af8fa381b9" providerId="ADAL" clId="{90877F19-00D2-4A00-8128-E78E36266C9A}" dt="2023-11-08T07:28:12.399" v="171299" actId="735"/>
          <pc:sldLayoutMkLst>
            <pc:docMk/>
            <pc:sldMasterMk cId="1458620940" sldId="2147483682"/>
            <pc:sldLayoutMk cId="32252604" sldId="2147483688"/>
          </pc:sldLayoutMkLst>
        </pc:sldLayoutChg>
      </pc:sldMasterChg>
      <pc:sldMasterChg chg="addSp delSp modSp mod">
        <pc:chgData name="Muchahary, Frankle" userId="0f2bf491-0617-4378-90b8-89af8fa381b9" providerId="ADAL" clId="{90877F19-00D2-4A00-8128-E78E36266C9A}" dt="2023-11-04T01:06:11.224" v="179"/>
        <pc:sldMasterMkLst>
          <pc:docMk/>
          <pc:sldMasterMk cId="1436287325" sldId="2147483694"/>
        </pc:sldMasterMkLst>
        <pc:spChg chg="mod">
          <ac:chgData name="Muchahary, Frankle" userId="0f2bf491-0617-4378-90b8-89af8fa381b9" providerId="ADAL" clId="{90877F19-00D2-4A00-8128-E78E36266C9A}" dt="2023-11-04T01:06:10.691" v="70" actId="948"/>
          <ac:spMkLst>
            <pc:docMk/>
            <pc:sldMasterMk cId="1436287325" sldId="2147483694"/>
            <ac:spMk id="2" creationId="{2AA1972D-CB5A-D338-BDC4-717793642899}"/>
          </ac:spMkLst>
        </pc:spChg>
        <pc:spChg chg="add del mod modVis">
          <ac:chgData name="Muchahary, Frankle" userId="0f2bf491-0617-4378-90b8-89af8fa381b9" providerId="ADAL" clId="{90877F19-00D2-4A00-8128-E78E36266C9A}" dt="2023-11-04T01:06:11.193" v="164"/>
          <ac:spMkLst>
            <pc:docMk/>
            <pc:sldMasterMk cId="1436287325" sldId="2147483694"/>
            <ac:spMk id="7" creationId="{9FC570A7-0220-1CBD-CE2F-5767C588E20F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4T01:06:11.224" v="179"/>
          <ac:graphicFrameMkLst>
            <pc:docMk/>
            <pc:sldMasterMk cId="1436287325" sldId="2147483694"/>
            <ac:graphicFrameMk id="8" creationId="{8160F1DF-B3EA-9D95-69B4-EB2888414D96}"/>
          </ac:graphicFrameMkLst>
        </pc:graphicFrameChg>
      </pc:sldMasterChg>
      <pc:sldMasterChg chg="addSp delSp modSp mod">
        <pc:chgData name="Muchahary, Frankle" userId="0f2bf491-0617-4378-90b8-89af8fa381b9" providerId="ADAL" clId="{90877F19-00D2-4A00-8128-E78E36266C9A}" dt="2023-11-04T01:06:11.193" v="162"/>
        <pc:sldMasterMkLst>
          <pc:docMk/>
          <pc:sldMasterMk cId="1373124393" sldId="2147483706"/>
        </pc:sldMasterMkLst>
        <pc:spChg chg="mod">
          <ac:chgData name="Muchahary, Frankle" userId="0f2bf491-0617-4378-90b8-89af8fa381b9" providerId="ADAL" clId="{90877F19-00D2-4A00-8128-E78E36266C9A}" dt="2023-11-04T01:06:10.676" v="49" actId="948"/>
          <ac:spMkLst>
            <pc:docMk/>
            <pc:sldMasterMk cId="1373124393" sldId="2147483706"/>
            <ac:spMk id="2" creationId="{DAF49B61-49C0-92DC-CF0C-D3C3229011F4}"/>
          </ac:spMkLst>
        </pc:spChg>
        <pc:spChg chg="add del mod modVis">
          <ac:chgData name="Muchahary, Frankle" userId="0f2bf491-0617-4378-90b8-89af8fa381b9" providerId="ADAL" clId="{90877F19-00D2-4A00-8128-E78E36266C9A}" dt="2023-11-04T01:06:11.161" v="147"/>
          <ac:spMkLst>
            <pc:docMk/>
            <pc:sldMasterMk cId="1373124393" sldId="2147483706"/>
            <ac:spMk id="7" creationId="{7F687EF0-4537-06C9-D92B-57B8D9252A6A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4T01:06:11.193" v="162"/>
          <ac:graphicFrameMkLst>
            <pc:docMk/>
            <pc:sldMasterMk cId="1373124393" sldId="2147483706"/>
            <ac:graphicFrameMk id="8" creationId="{1E0A1A10-6662-2AE2-64D8-0C53E07BCC5B}"/>
          </ac:graphicFrameMkLst>
        </pc:graphicFrameChg>
      </pc:sldMasterChg>
      <pc:sldMasterChg chg="addSp delSp modSp mod">
        <pc:chgData name="Muchahary, Frankle" userId="0f2bf491-0617-4378-90b8-89af8fa381b9" providerId="ADAL" clId="{90877F19-00D2-4A00-8128-E78E36266C9A}" dt="2023-11-04T01:06:11.161" v="145"/>
        <pc:sldMasterMkLst>
          <pc:docMk/>
          <pc:sldMasterMk cId="3186079919" sldId="2147483718"/>
        </pc:sldMasterMkLst>
        <pc:spChg chg="mod">
          <ac:chgData name="Muchahary, Frankle" userId="0f2bf491-0617-4378-90b8-89af8fa381b9" providerId="ADAL" clId="{90877F19-00D2-4A00-8128-E78E36266C9A}" dt="2023-11-04T01:06:10.629" v="28" actId="948"/>
          <ac:spMkLst>
            <pc:docMk/>
            <pc:sldMasterMk cId="3186079919" sldId="2147483718"/>
            <ac:spMk id="2" creationId="{C42B4586-195B-90D9-DD79-342227848407}"/>
          </ac:spMkLst>
        </pc:spChg>
        <pc:spChg chg="add del mod modVis">
          <ac:chgData name="Muchahary, Frankle" userId="0f2bf491-0617-4378-90b8-89af8fa381b9" providerId="ADAL" clId="{90877F19-00D2-4A00-8128-E78E36266C9A}" dt="2023-11-04T01:06:11.131" v="130"/>
          <ac:spMkLst>
            <pc:docMk/>
            <pc:sldMasterMk cId="3186079919" sldId="2147483718"/>
            <ac:spMk id="7" creationId="{67571C62-6E68-9DDF-24A5-CE6A3592771A}"/>
          </ac:spMkLst>
        </pc:spChg>
        <pc:graphicFrameChg chg="add mod ord modVis replST">
          <ac:chgData name="Muchahary, Frankle" userId="0f2bf491-0617-4378-90b8-89af8fa381b9" providerId="ADAL" clId="{90877F19-00D2-4A00-8128-E78E36266C9A}" dt="2023-11-04T01:06:11.161" v="145"/>
          <ac:graphicFrameMkLst>
            <pc:docMk/>
            <pc:sldMasterMk cId="3186079919" sldId="2147483718"/>
            <ac:graphicFrameMk id="8" creationId="{CBA2D90D-5071-3C7F-1F8A-58A00D75FC0A}"/>
          </ac:graphicFrameMkLst>
        </pc:graphicFrameChg>
      </pc:sldMasterChg>
      <pc:sldMasterChg chg="addSp modSp del mod delSldLayout">
        <pc:chgData name="Muchahary, Frankle" userId="0f2bf491-0617-4378-90b8-89af8fa381b9" providerId="ADAL" clId="{90877F19-00D2-4A00-8128-E78E36266C9A}" dt="2023-11-08T05:51:40.395" v="163146" actId="47"/>
        <pc:sldMasterMkLst>
          <pc:docMk/>
          <pc:sldMasterMk cId="334737634" sldId="2147483731"/>
        </pc:sldMasterMkLst>
        <pc:graphicFrameChg chg="add mod ord modVis replST">
          <ac:chgData name="Muchahary, Frankle" userId="0f2bf491-0617-4378-90b8-89af8fa381b9" providerId="ADAL" clId="{90877F19-00D2-4A00-8128-E78E36266C9A}" dt="2023-11-04T01:06:11.333" v="226"/>
          <ac:graphicFrameMkLst>
            <pc:docMk/>
            <pc:sldMasterMk cId="334737634" sldId="2147483731"/>
            <ac:graphicFrameMk id="2" creationId="{F96FAA45-6D5B-DD90-B062-B1DD5D22D33E}"/>
          </ac:graphicFrameMkLst>
        </pc:graphicFrameChg>
        <pc:sldLayoutChg chg="del">
          <pc:chgData name="Muchahary, Frankle" userId="0f2bf491-0617-4378-90b8-89af8fa381b9" providerId="ADAL" clId="{90877F19-00D2-4A00-8128-E78E36266C9A}" dt="2023-11-08T05:51:40.395" v="163146" actId="47"/>
          <pc:sldLayoutMkLst>
            <pc:docMk/>
            <pc:sldMasterMk cId="334737634" sldId="2147483731"/>
            <pc:sldLayoutMk cId="2916026236" sldId="2147483732"/>
          </pc:sldLayoutMkLst>
        </pc:sldLayoutChg>
      </pc:sldMasterChg>
    </pc:docChg>
  </pc:docChgLst>
  <pc:docChgLst>
    <pc:chgData name="Datta Chakraborty, Shreyan" userId="8e16d80f-77aa-4ba5-b0e9-232e8980a100" providerId="ADAL" clId="{518FD345-0902-6D45-A89B-290A7082D8F0}"/>
    <pc:docChg chg="undo custSel addSld delSld modSld">
      <pc:chgData name="Datta Chakraborty, Shreyan" userId="8e16d80f-77aa-4ba5-b0e9-232e8980a100" providerId="ADAL" clId="{518FD345-0902-6D45-A89B-290A7082D8F0}" dt="2024-02-08T05:48:52.685" v="148" actId="20577"/>
      <pc:docMkLst>
        <pc:docMk/>
      </pc:docMkLst>
      <pc:sldChg chg="modSp del">
        <pc:chgData name="Datta Chakraborty, Shreyan" userId="8e16d80f-77aa-4ba5-b0e9-232e8980a100" providerId="ADAL" clId="{518FD345-0902-6D45-A89B-290A7082D8F0}" dt="2024-02-08T05:03:39.536" v="60"/>
        <pc:sldMkLst>
          <pc:docMk/>
          <pc:sldMk cId="2446687804" sldId="326"/>
        </pc:sldMkLst>
        <pc:spChg chg="mod">
          <ac:chgData name="Datta Chakraborty, Shreyan" userId="8e16d80f-77aa-4ba5-b0e9-232e8980a100" providerId="ADAL" clId="{518FD345-0902-6D45-A89B-290A7082D8F0}" dt="2024-02-08T05:03:39.536" v="60"/>
          <ac:spMkLst>
            <pc:docMk/>
            <pc:sldMk cId="2446687804" sldId="326"/>
            <ac:spMk id="10" creationId="{25EE0841-2771-0A14-442B-11166BFC752B}"/>
          </ac:spMkLst>
        </pc:spChg>
        <pc:spChg chg="mod">
          <ac:chgData name="Datta Chakraborty, Shreyan" userId="8e16d80f-77aa-4ba5-b0e9-232e8980a100" providerId="ADAL" clId="{518FD345-0902-6D45-A89B-290A7082D8F0}" dt="2024-02-08T05:03:39.536" v="60"/>
          <ac:spMkLst>
            <pc:docMk/>
            <pc:sldMk cId="2446687804" sldId="326"/>
            <ac:spMk id="12" creationId="{01EC281A-D493-7D15-2DF9-B54E38CF93B3}"/>
          </ac:spMkLst>
        </pc:spChg>
        <pc:spChg chg="mod">
          <ac:chgData name="Datta Chakraborty, Shreyan" userId="8e16d80f-77aa-4ba5-b0e9-232e8980a100" providerId="ADAL" clId="{518FD345-0902-6D45-A89B-290A7082D8F0}" dt="2024-02-08T05:03:39.536" v="60"/>
          <ac:spMkLst>
            <pc:docMk/>
            <pc:sldMk cId="2446687804" sldId="326"/>
            <ac:spMk id="28" creationId="{C5397078-CB38-5439-30A1-A5527AA3CBD8}"/>
          </ac:spMkLst>
        </pc:spChg>
        <pc:spChg chg="mod">
          <ac:chgData name="Datta Chakraborty, Shreyan" userId="8e16d80f-77aa-4ba5-b0e9-232e8980a100" providerId="ADAL" clId="{518FD345-0902-6D45-A89B-290A7082D8F0}" dt="2024-02-08T05:03:39.536" v="60"/>
          <ac:spMkLst>
            <pc:docMk/>
            <pc:sldMk cId="2446687804" sldId="326"/>
            <ac:spMk id="30" creationId="{C928CA40-2F05-E17B-D110-CE74DA5F061A}"/>
          </ac:spMkLst>
        </pc:spChg>
        <pc:grpChg chg="mod">
          <ac:chgData name="Datta Chakraborty, Shreyan" userId="8e16d80f-77aa-4ba5-b0e9-232e8980a100" providerId="ADAL" clId="{518FD345-0902-6D45-A89B-290A7082D8F0}" dt="2024-02-08T05:03:39.536" v="60"/>
          <ac:grpSpMkLst>
            <pc:docMk/>
            <pc:sldMk cId="2446687804" sldId="326"/>
            <ac:grpSpMk id="6" creationId="{C9BA2F04-9C05-8F72-4ACF-A94B3B30BB36}"/>
          </ac:grpSpMkLst>
        </pc:grpChg>
        <pc:grpChg chg="mod">
          <ac:chgData name="Datta Chakraborty, Shreyan" userId="8e16d80f-77aa-4ba5-b0e9-232e8980a100" providerId="ADAL" clId="{518FD345-0902-6D45-A89B-290A7082D8F0}" dt="2024-02-08T05:03:39.536" v="60"/>
          <ac:grpSpMkLst>
            <pc:docMk/>
            <pc:sldMk cId="2446687804" sldId="326"/>
            <ac:grpSpMk id="13" creationId="{A61EA08F-63E7-1319-199E-AE147086F14E}"/>
          </ac:grpSpMkLst>
        </pc:grpChg>
        <pc:grpChg chg="mod">
          <ac:chgData name="Datta Chakraborty, Shreyan" userId="8e16d80f-77aa-4ba5-b0e9-232e8980a100" providerId="ADAL" clId="{518FD345-0902-6D45-A89B-290A7082D8F0}" dt="2024-02-08T05:03:39.536" v="60"/>
          <ac:grpSpMkLst>
            <pc:docMk/>
            <pc:sldMk cId="2446687804" sldId="326"/>
            <ac:grpSpMk id="14" creationId="{86870E1A-AAF5-B17C-0C3E-BD41C8D3BA21}"/>
          </ac:grpSpMkLst>
        </pc:grpChg>
        <pc:grpChg chg="mod">
          <ac:chgData name="Datta Chakraborty, Shreyan" userId="8e16d80f-77aa-4ba5-b0e9-232e8980a100" providerId="ADAL" clId="{518FD345-0902-6D45-A89B-290A7082D8F0}" dt="2024-02-08T05:03:39.536" v="60"/>
          <ac:grpSpMkLst>
            <pc:docMk/>
            <pc:sldMk cId="2446687804" sldId="326"/>
            <ac:grpSpMk id="19" creationId="{29FA2F51-2AA6-9575-3B99-A539A2E7C0EE}"/>
          </ac:grpSpMkLst>
        </pc:grpChg>
        <pc:grpChg chg="mod">
          <ac:chgData name="Datta Chakraborty, Shreyan" userId="8e16d80f-77aa-4ba5-b0e9-232e8980a100" providerId="ADAL" clId="{518FD345-0902-6D45-A89B-290A7082D8F0}" dt="2024-02-08T05:03:39.536" v="60"/>
          <ac:grpSpMkLst>
            <pc:docMk/>
            <pc:sldMk cId="2446687804" sldId="326"/>
            <ac:grpSpMk id="29" creationId="{DCAF1D91-2638-32A5-3196-90B401045D55}"/>
          </ac:grpSpMkLst>
        </pc:grpChg>
        <pc:graphicFrameChg chg="mod">
          <ac:chgData name="Datta Chakraborty, Shreyan" userId="8e16d80f-77aa-4ba5-b0e9-232e8980a100" providerId="ADAL" clId="{518FD345-0902-6D45-A89B-290A7082D8F0}" dt="2024-02-08T05:03:39.536" v="60"/>
          <ac:graphicFrameMkLst>
            <pc:docMk/>
            <pc:sldMk cId="2446687804" sldId="326"/>
            <ac:graphicFrameMk id="16" creationId="{51E966AD-CDD3-03DE-9B6D-5976CD1F2739}"/>
          </ac:graphicFrameMkLst>
        </pc:graphicFrameChg>
        <pc:picChg chg="mod">
          <ac:chgData name="Datta Chakraborty, Shreyan" userId="8e16d80f-77aa-4ba5-b0e9-232e8980a100" providerId="ADAL" clId="{518FD345-0902-6D45-A89B-290A7082D8F0}" dt="2024-02-08T05:03:39.536" v="60"/>
          <ac:picMkLst>
            <pc:docMk/>
            <pc:sldMk cId="2446687804" sldId="326"/>
            <ac:picMk id="2" creationId="{8F0C9B82-ABBF-4CB8-7347-FE1E2532F064}"/>
          </ac:picMkLst>
        </pc:picChg>
        <pc:picChg chg="mod">
          <ac:chgData name="Datta Chakraborty, Shreyan" userId="8e16d80f-77aa-4ba5-b0e9-232e8980a100" providerId="ADAL" clId="{518FD345-0902-6D45-A89B-290A7082D8F0}" dt="2024-02-08T05:03:39.536" v="60"/>
          <ac:picMkLst>
            <pc:docMk/>
            <pc:sldMk cId="2446687804" sldId="326"/>
            <ac:picMk id="15" creationId="{5707D79F-0ECD-FB8D-4AB1-E91E5F2E7AFC}"/>
          </ac:picMkLst>
        </pc:picChg>
        <pc:picChg chg="mod">
          <ac:chgData name="Datta Chakraborty, Shreyan" userId="8e16d80f-77aa-4ba5-b0e9-232e8980a100" providerId="ADAL" clId="{518FD345-0902-6D45-A89B-290A7082D8F0}" dt="2024-02-08T05:03:39.536" v="60"/>
          <ac:picMkLst>
            <pc:docMk/>
            <pc:sldMk cId="2446687804" sldId="326"/>
            <ac:picMk id="17" creationId="{81513973-B7C7-5E62-BA5D-7ECFBE34F261}"/>
          </ac:picMkLst>
        </pc:picChg>
        <pc:picChg chg="mod">
          <ac:chgData name="Datta Chakraborty, Shreyan" userId="8e16d80f-77aa-4ba5-b0e9-232e8980a100" providerId="ADAL" clId="{518FD345-0902-6D45-A89B-290A7082D8F0}" dt="2024-02-08T05:03:39.536" v="60"/>
          <ac:picMkLst>
            <pc:docMk/>
            <pc:sldMk cId="2446687804" sldId="326"/>
            <ac:picMk id="18" creationId="{EA2C72E6-4223-9145-8AED-9E8BD6401621}"/>
          </ac:picMkLst>
        </pc:picChg>
      </pc:sldChg>
      <pc:sldChg chg="del">
        <pc:chgData name="Datta Chakraborty, Shreyan" userId="8e16d80f-77aa-4ba5-b0e9-232e8980a100" providerId="ADAL" clId="{518FD345-0902-6D45-A89B-290A7082D8F0}" dt="2024-02-08T05:03:39.536" v="59" actId="2696"/>
        <pc:sldMkLst>
          <pc:docMk/>
          <pc:sldMk cId="276443505" sldId="360"/>
        </pc:sldMkLst>
      </pc:sldChg>
      <pc:sldChg chg="del">
        <pc:chgData name="Datta Chakraborty, Shreyan" userId="8e16d80f-77aa-4ba5-b0e9-232e8980a100" providerId="ADAL" clId="{518FD345-0902-6D45-A89B-290A7082D8F0}" dt="2024-02-08T05:03:39.526" v="58" actId="2696"/>
        <pc:sldMkLst>
          <pc:docMk/>
          <pc:sldMk cId="717737063" sldId="365"/>
        </pc:sldMkLst>
      </pc:sldChg>
      <pc:sldChg chg="del">
        <pc:chgData name="Datta Chakraborty, Shreyan" userId="8e16d80f-77aa-4ba5-b0e9-232e8980a100" providerId="ADAL" clId="{518FD345-0902-6D45-A89B-290A7082D8F0}" dt="2024-02-08T05:03:39.445" v="53" actId="2696"/>
        <pc:sldMkLst>
          <pc:docMk/>
          <pc:sldMk cId="4047277919" sldId="372"/>
        </pc:sldMkLst>
      </pc:sldChg>
      <pc:sldChg chg="addSp delSp modSp mod">
        <pc:chgData name="Datta Chakraborty, Shreyan" userId="8e16d80f-77aa-4ba5-b0e9-232e8980a100" providerId="ADAL" clId="{518FD345-0902-6D45-A89B-290A7082D8F0}" dt="2024-02-08T04:42:22.193" v="50" actId="164"/>
        <pc:sldMkLst>
          <pc:docMk/>
          <pc:sldMk cId="722401933" sldId="374"/>
        </pc:sldMkLst>
        <pc:spChg chg="mod">
          <ac:chgData name="Datta Chakraborty, Shreyan" userId="8e16d80f-77aa-4ba5-b0e9-232e8980a100" providerId="ADAL" clId="{518FD345-0902-6D45-A89B-290A7082D8F0}" dt="2024-02-08T04:40:21.241" v="36" actId="165"/>
          <ac:spMkLst>
            <pc:docMk/>
            <pc:sldMk cId="722401933" sldId="374"/>
            <ac:spMk id="3" creationId="{6FBA7A78-83C8-CB87-216A-2B0B62BA1E20}"/>
          </ac:spMkLst>
        </pc:spChg>
        <pc:spChg chg="mod">
          <ac:chgData name="Datta Chakraborty, Shreyan" userId="8e16d80f-77aa-4ba5-b0e9-232e8980a100" providerId="ADAL" clId="{518FD345-0902-6D45-A89B-290A7082D8F0}" dt="2024-02-08T04:40:21.241" v="36" actId="165"/>
          <ac:spMkLst>
            <pc:docMk/>
            <pc:sldMk cId="722401933" sldId="374"/>
            <ac:spMk id="4" creationId="{0060669F-F91A-AFFA-FEFC-0005EC27C77A}"/>
          </ac:spMkLst>
        </pc:spChg>
        <pc:spChg chg="mod">
          <ac:chgData name="Datta Chakraborty, Shreyan" userId="8e16d80f-77aa-4ba5-b0e9-232e8980a100" providerId="ADAL" clId="{518FD345-0902-6D45-A89B-290A7082D8F0}" dt="2024-02-08T04:40:21.241" v="36" actId="165"/>
          <ac:spMkLst>
            <pc:docMk/>
            <pc:sldMk cId="722401933" sldId="374"/>
            <ac:spMk id="5" creationId="{A62886E0-6321-8280-7EA7-6D1E6DF204CC}"/>
          </ac:spMkLst>
        </pc:spChg>
        <pc:spChg chg="add del mod">
          <ac:chgData name="Datta Chakraborty, Shreyan" userId="8e16d80f-77aa-4ba5-b0e9-232e8980a100" providerId="ADAL" clId="{518FD345-0902-6D45-A89B-290A7082D8F0}" dt="2024-02-08T04:33:04.622" v="10" actId="478"/>
          <ac:spMkLst>
            <pc:docMk/>
            <pc:sldMk cId="722401933" sldId="374"/>
            <ac:spMk id="9" creationId="{21B51756-E53E-A460-BCE7-A026FF8B1A1D}"/>
          </ac:spMkLst>
        </pc:spChg>
        <pc:spChg chg="mod">
          <ac:chgData name="Datta Chakraborty, Shreyan" userId="8e16d80f-77aa-4ba5-b0e9-232e8980a100" providerId="ADAL" clId="{518FD345-0902-6D45-A89B-290A7082D8F0}" dt="2024-02-08T04:42:06.233" v="47" actId="165"/>
          <ac:spMkLst>
            <pc:docMk/>
            <pc:sldMk cId="722401933" sldId="374"/>
            <ac:spMk id="19" creationId="{06416CF6-A4D0-5E18-BAA9-FFE3CE4B06F5}"/>
          </ac:spMkLst>
        </pc:spChg>
        <pc:spChg chg="mod">
          <ac:chgData name="Datta Chakraborty, Shreyan" userId="8e16d80f-77aa-4ba5-b0e9-232e8980a100" providerId="ADAL" clId="{518FD345-0902-6D45-A89B-290A7082D8F0}" dt="2024-02-08T04:42:06.233" v="47" actId="165"/>
          <ac:spMkLst>
            <pc:docMk/>
            <pc:sldMk cId="722401933" sldId="374"/>
            <ac:spMk id="20" creationId="{12D521EC-CE24-3446-D3B4-85D69E0E3024}"/>
          </ac:spMkLst>
        </pc:spChg>
        <pc:spChg chg="mod">
          <ac:chgData name="Datta Chakraborty, Shreyan" userId="8e16d80f-77aa-4ba5-b0e9-232e8980a100" providerId="ADAL" clId="{518FD345-0902-6D45-A89B-290A7082D8F0}" dt="2024-02-08T04:42:06.233" v="47" actId="165"/>
          <ac:spMkLst>
            <pc:docMk/>
            <pc:sldMk cId="722401933" sldId="374"/>
            <ac:spMk id="21" creationId="{0ABFB8E1-F4F9-4DF0-6E38-CFA2D675144B}"/>
          </ac:spMkLst>
        </pc:spChg>
        <pc:spChg chg="mod">
          <ac:chgData name="Datta Chakraborty, Shreyan" userId="8e16d80f-77aa-4ba5-b0e9-232e8980a100" providerId="ADAL" clId="{518FD345-0902-6D45-A89B-290A7082D8F0}" dt="2024-02-08T04:32:39.831" v="2" actId="165"/>
          <ac:spMkLst>
            <pc:docMk/>
            <pc:sldMk cId="722401933" sldId="374"/>
            <ac:spMk id="24" creationId="{9167E2CB-FD57-4B10-3B1D-A94AEF0C349A}"/>
          </ac:spMkLst>
        </pc:spChg>
        <pc:spChg chg="mod">
          <ac:chgData name="Datta Chakraborty, Shreyan" userId="8e16d80f-77aa-4ba5-b0e9-232e8980a100" providerId="ADAL" clId="{518FD345-0902-6D45-A89B-290A7082D8F0}" dt="2024-02-08T04:32:39.831" v="2" actId="165"/>
          <ac:spMkLst>
            <pc:docMk/>
            <pc:sldMk cId="722401933" sldId="374"/>
            <ac:spMk id="25" creationId="{E2D908CF-A6B3-DAE0-F221-9DA44396183F}"/>
          </ac:spMkLst>
        </pc:spChg>
        <pc:spChg chg="mod">
          <ac:chgData name="Datta Chakraborty, Shreyan" userId="8e16d80f-77aa-4ba5-b0e9-232e8980a100" providerId="ADAL" clId="{518FD345-0902-6D45-A89B-290A7082D8F0}" dt="2024-02-08T04:32:39.831" v="2" actId="165"/>
          <ac:spMkLst>
            <pc:docMk/>
            <pc:sldMk cId="722401933" sldId="374"/>
            <ac:spMk id="26" creationId="{DFEDFFEC-19C7-99E4-ED32-0CC83A36F6A4}"/>
          </ac:spMkLst>
        </pc:spChg>
        <pc:spChg chg="mod">
          <ac:chgData name="Datta Chakraborty, Shreyan" userId="8e16d80f-77aa-4ba5-b0e9-232e8980a100" providerId="ADAL" clId="{518FD345-0902-6D45-A89B-290A7082D8F0}" dt="2024-02-08T04:35:20.915" v="23" actId="165"/>
          <ac:spMkLst>
            <pc:docMk/>
            <pc:sldMk cId="722401933" sldId="374"/>
            <ac:spMk id="36" creationId="{D3D5E2EE-149A-130D-2D52-08105C1685C2}"/>
          </ac:spMkLst>
        </pc:spChg>
        <pc:spChg chg="mod">
          <ac:chgData name="Datta Chakraborty, Shreyan" userId="8e16d80f-77aa-4ba5-b0e9-232e8980a100" providerId="ADAL" clId="{518FD345-0902-6D45-A89B-290A7082D8F0}" dt="2024-02-08T04:35:20.915" v="23" actId="165"/>
          <ac:spMkLst>
            <pc:docMk/>
            <pc:sldMk cId="722401933" sldId="374"/>
            <ac:spMk id="37" creationId="{15C519E3-F083-DC3D-EB49-63526000E416}"/>
          </ac:spMkLst>
        </pc:spChg>
        <pc:spChg chg="mod">
          <ac:chgData name="Datta Chakraborty, Shreyan" userId="8e16d80f-77aa-4ba5-b0e9-232e8980a100" providerId="ADAL" clId="{518FD345-0902-6D45-A89B-290A7082D8F0}" dt="2024-02-08T04:35:20.915" v="23" actId="165"/>
          <ac:spMkLst>
            <pc:docMk/>
            <pc:sldMk cId="722401933" sldId="374"/>
            <ac:spMk id="38" creationId="{3C447AF3-E4FC-2DB5-6ADB-936FA338B947}"/>
          </ac:spMkLst>
        </pc:spChg>
        <pc:spChg chg="mod topLvl">
          <ac:chgData name="Datta Chakraborty, Shreyan" userId="8e16d80f-77aa-4ba5-b0e9-232e8980a100" providerId="ADAL" clId="{518FD345-0902-6D45-A89B-290A7082D8F0}" dt="2024-02-08T04:33:09.716" v="11" actId="164"/>
          <ac:spMkLst>
            <pc:docMk/>
            <pc:sldMk cId="722401933" sldId="374"/>
            <ac:spMk id="51" creationId="{71A1A608-2C81-4CB7-2AE1-49A426A57F6B}"/>
          </ac:spMkLst>
        </pc:spChg>
        <pc:spChg chg="mod topLvl">
          <ac:chgData name="Datta Chakraborty, Shreyan" userId="8e16d80f-77aa-4ba5-b0e9-232e8980a100" providerId="ADAL" clId="{518FD345-0902-6D45-A89B-290A7082D8F0}" dt="2024-02-08T04:35:31.936" v="25" actId="164"/>
          <ac:spMkLst>
            <pc:docMk/>
            <pc:sldMk cId="722401933" sldId="374"/>
            <ac:spMk id="58" creationId="{3D6611C9-7137-4F74-D578-E13EA2905503}"/>
          </ac:spMkLst>
        </pc:spChg>
        <pc:spChg chg="mod topLvl">
          <ac:chgData name="Datta Chakraborty, Shreyan" userId="8e16d80f-77aa-4ba5-b0e9-232e8980a100" providerId="ADAL" clId="{518FD345-0902-6D45-A89B-290A7082D8F0}" dt="2024-02-08T04:42:22.193" v="50" actId="164"/>
          <ac:spMkLst>
            <pc:docMk/>
            <pc:sldMk cId="722401933" sldId="374"/>
            <ac:spMk id="60" creationId="{8AFC1279-FC81-A2EF-7A77-173CBFB4AC94}"/>
          </ac:spMkLst>
        </pc:spChg>
        <pc:spChg chg="mod topLvl">
          <ac:chgData name="Datta Chakraborty, Shreyan" userId="8e16d80f-77aa-4ba5-b0e9-232e8980a100" providerId="ADAL" clId="{518FD345-0902-6D45-A89B-290A7082D8F0}" dt="2024-02-08T04:41:01.049" v="46" actId="164"/>
          <ac:spMkLst>
            <pc:docMk/>
            <pc:sldMk cId="722401933" sldId="374"/>
            <ac:spMk id="64" creationId="{240F5CAC-B813-2E0A-E947-B870ED8926FA}"/>
          </ac:spMkLst>
        </pc:spChg>
        <pc:grpChg chg="mod topLvl">
          <ac:chgData name="Datta Chakraborty, Shreyan" userId="8e16d80f-77aa-4ba5-b0e9-232e8980a100" providerId="ADAL" clId="{518FD345-0902-6D45-A89B-290A7082D8F0}" dt="2024-02-08T04:41:01.049" v="46" actId="164"/>
          <ac:grpSpMkLst>
            <pc:docMk/>
            <pc:sldMk cId="722401933" sldId="374"/>
            <ac:grpSpMk id="2" creationId="{040C57D8-9104-5504-1BFD-C4905C59FCA0}"/>
          </ac:grpSpMkLst>
        </pc:grpChg>
        <pc:grpChg chg="add mod">
          <ac:chgData name="Datta Chakraborty, Shreyan" userId="8e16d80f-77aa-4ba5-b0e9-232e8980a100" providerId="ADAL" clId="{518FD345-0902-6D45-A89B-290A7082D8F0}" dt="2024-02-08T04:35:09.703" v="22" actId="164"/>
          <ac:grpSpMkLst>
            <pc:docMk/>
            <pc:sldMk cId="722401933" sldId="374"/>
            <ac:grpSpMk id="10" creationId="{DF08F8A7-53CD-0862-BA93-ABEA23E2CB57}"/>
          </ac:grpSpMkLst>
        </pc:grpChg>
        <pc:grpChg chg="add del mod">
          <ac:chgData name="Datta Chakraborty, Shreyan" userId="8e16d80f-77aa-4ba5-b0e9-232e8980a100" providerId="ADAL" clId="{518FD345-0902-6D45-A89B-290A7082D8F0}" dt="2024-02-08T04:35:20.915" v="23" actId="165"/>
          <ac:grpSpMkLst>
            <pc:docMk/>
            <pc:sldMk cId="722401933" sldId="374"/>
            <ac:grpSpMk id="11" creationId="{F7F20324-8A67-71A3-AFE1-C420383216D4}"/>
          </ac:grpSpMkLst>
        </pc:grpChg>
        <pc:grpChg chg="add mod">
          <ac:chgData name="Datta Chakraborty, Shreyan" userId="8e16d80f-77aa-4ba5-b0e9-232e8980a100" providerId="ADAL" clId="{518FD345-0902-6D45-A89B-290A7082D8F0}" dt="2024-02-08T04:35:09.703" v="22" actId="164"/>
          <ac:grpSpMkLst>
            <pc:docMk/>
            <pc:sldMk cId="722401933" sldId="374"/>
            <ac:grpSpMk id="12" creationId="{31809876-03D1-4F85-CC9F-6A6F5B111837}"/>
          </ac:grpSpMkLst>
        </pc:grpChg>
        <pc:grpChg chg="add mod">
          <ac:chgData name="Datta Chakraborty, Shreyan" userId="8e16d80f-77aa-4ba5-b0e9-232e8980a100" providerId="ADAL" clId="{518FD345-0902-6D45-A89B-290A7082D8F0}" dt="2024-02-08T04:35:31.936" v="25" actId="164"/>
          <ac:grpSpMkLst>
            <pc:docMk/>
            <pc:sldMk cId="722401933" sldId="374"/>
            <ac:grpSpMk id="13" creationId="{C1E130AF-8721-E2D7-F8F6-F0ACA09EEB47}"/>
          </ac:grpSpMkLst>
        </pc:grpChg>
        <pc:grpChg chg="add del mod">
          <ac:chgData name="Datta Chakraborty, Shreyan" userId="8e16d80f-77aa-4ba5-b0e9-232e8980a100" providerId="ADAL" clId="{518FD345-0902-6D45-A89B-290A7082D8F0}" dt="2024-02-08T04:42:06.233" v="47" actId="165"/>
          <ac:grpSpMkLst>
            <pc:docMk/>
            <pc:sldMk cId="722401933" sldId="374"/>
            <ac:grpSpMk id="14" creationId="{6621BA48-5610-B83C-688A-52299052FF7A}"/>
          </ac:grpSpMkLst>
        </pc:grpChg>
        <pc:grpChg chg="add mod">
          <ac:chgData name="Datta Chakraborty, Shreyan" userId="8e16d80f-77aa-4ba5-b0e9-232e8980a100" providerId="ADAL" clId="{518FD345-0902-6D45-A89B-290A7082D8F0}" dt="2024-02-08T04:41:01.049" v="46" actId="164"/>
          <ac:grpSpMkLst>
            <pc:docMk/>
            <pc:sldMk cId="722401933" sldId="374"/>
            <ac:grpSpMk id="15" creationId="{6C2FAA2E-D641-326B-5757-41EE72BBFA41}"/>
          </ac:grpSpMkLst>
        </pc:grpChg>
        <pc:grpChg chg="add mod">
          <ac:chgData name="Datta Chakraborty, Shreyan" userId="8e16d80f-77aa-4ba5-b0e9-232e8980a100" providerId="ADAL" clId="{518FD345-0902-6D45-A89B-290A7082D8F0}" dt="2024-02-08T04:42:22.193" v="50" actId="164"/>
          <ac:grpSpMkLst>
            <pc:docMk/>
            <pc:sldMk cId="722401933" sldId="374"/>
            <ac:grpSpMk id="16" creationId="{16770FF9-5328-AB58-CB40-6A292BF36803}"/>
          </ac:grpSpMkLst>
        </pc:grpChg>
        <pc:grpChg chg="mod topLvl">
          <ac:chgData name="Datta Chakraborty, Shreyan" userId="8e16d80f-77aa-4ba5-b0e9-232e8980a100" providerId="ADAL" clId="{518FD345-0902-6D45-A89B-290A7082D8F0}" dt="2024-02-08T04:42:22.193" v="50" actId="164"/>
          <ac:grpSpMkLst>
            <pc:docMk/>
            <pc:sldMk cId="722401933" sldId="374"/>
            <ac:grpSpMk id="18" creationId="{C4A5936B-6465-F2DB-F0B0-2B0EB9A02D9F}"/>
          </ac:grpSpMkLst>
        </pc:grpChg>
        <pc:grpChg chg="mod topLvl">
          <ac:chgData name="Datta Chakraborty, Shreyan" userId="8e16d80f-77aa-4ba5-b0e9-232e8980a100" providerId="ADAL" clId="{518FD345-0902-6D45-A89B-290A7082D8F0}" dt="2024-02-08T04:35:09.703" v="22" actId="164"/>
          <ac:grpSpMkLst>
            <pc:docMk/>
            <pc:sldMk cId="722401933" sldId="374"/>
            <ac:grpSpMk id="23" creationId="{4D989F56-9176-DA09-62BD-24445A7971EC}"/>
          </ac:grpSpMkLst>
        </pc:grpChg>
        <pc:grpChg chg="mod topLvl">
          <ac:chgData name="Datta Chakraborty, Shreyan" userId="8e16d80f-77aa-4ba5-b0e9-232e8980a100" providerId="ADAL" clId="{518FD345-0902-6D45-A89B-290A7082D8F0}" dt="2024-02-08T04:35:31.936" v="25" actId="164"/>
          <ac:grpSpMkLst>
            <pc:docMk/>
            <pc:sldMk cId="722401933" sldId="374"/>
            <ac:grpSpMk id="35" creationId="{0CA47C5B-6FF5-EC81-F606-0247BA3DF4EC}"/>
          </ac:grpSpMkLst>
        </pc:grpChg>
        <pc:grpChg chg="del">
          <ac:chgData name="Datta Chakraborty, Shreyan" userId="8e16d80f-77aa-4ba5-b0e9-232e8980a100" providerId="ADAL" clId="{518FD345-0902-6D45-A89B-290A7082D8F0}" dt="2024-02-08T04:32:39.831" v="2" actId="165"/>
          <ac:grpSpMkLst>
            <pc:docMk/>
            <pc:sldMk cId="722401933" sldId="374"/>
            <ac:grpSpMk id="65" creationId="{71773671-658F-163A-09E4-56246FFB729C}"/>
          </ac:grpSpMkLst>
        </pc:grpChg>
        <pc:grpChg chg="del">
          <ac:chgData name="Datta Chakraborty, Shreyan" userId="8e16d80f-77aa-4ba5-b0e9-232e8980a100" providerId="ADAL" clId="{518FD345-0902-6D45-A89B-290A7082D8F0}" dt="2024-02-08T04:34:27.249" v="12" actId="165"/>
          <ac:grpSpMkLst>
            <pc:docMk/>
            <pc:sldMk cId="722401933" sldId="374"/>
            <ac:grpSpMk id="66" creationId="{6651E5E9-ADE8-91CF-34EF-01C4453D8AA3}"/>
          </ac:grpSpMkLst>
        </pc:grpChg>
        <pc:grpChg chg="del">
          <ac:chgData name="Datta Chakraborty, Shreyan" userId="8e16d80f-77aa-4ba5-b0e9-232e8980a100" providerId="ADAL" clId="{518FD345-0902-6D45-A89B-290A7082D8F0}" dt="2024-02-08T04:36:54.785" v="26" actId="165"/>
          <ac:grpSpMkLst>
            <pc:docMk/>
            <pc:sldMk cId="722401933" sldId="374"/>
            <ac:grpSpMk id="67" creationId="{846DEF44-6B33-43E6-720B-DADAC5A1DC1B}"/>
          </ac:grpSpMkLst>
        </pc:grpChg>
        <pc:grpChg chg="del">
          <ac:chgData name="Datta Chakraborty, Shreyan" userId="8e16d80f-77aa-4ba5-b0e9-232e8980a100" providerId="ADAL" clId="{518FD345-0902-6D45-A89B-290A7082D8F0}" dt="2024-02-08T04:40:21.241" v="36" actId="165"/>
          <ac:grpSpMkLst>
            <pc:docMk/>
            <pc:sldMk cId="722401933" sldId="374"/>
            <ac:grpSpMk id="69" creationId="{01EE5CAF-18FC-538F-89C3-21C185D14538}"/>
          </ac:grpSpMkLst>
        </pc:grpChg>
        <pc:picChg chg="del mod topLvl">
          <ac:chgData name="Datta Chakraborty, Shreyan" userId="8e16d80f-77aa-4ba5-b0e9-232e8980a100" providerId="ADAL" clId="{518FD345-0902-6D45-A89B-290A7082D8F0}" dt="2024-02-08T04:32:42.340" v="3" actId="478"/>
          <ac:picMkLst>
            <pc:docMk/>
            <pc:sldMk cId="722401933" sldId="374"/>
            <ac:picMk id="47" creationId="{AC8230B7-3F69-5750-B85F-BF916081CEAE}"/>
          </ac:picMkLst>
        </pc:picChg>
        <pc:picChg chg="del mod topLvl">
          <ac:chgData name="Datta Chakraborty, Shreyan" userId="8e16d80f-77aa-4ba5-b0e9-232e8980a100" providerId="ADAL" clId="{518FD345-0902-6D45-A89B-290A7082D8F0}" dt="2024-02-08T04:34:30.725" v="13" actId="478"/>
          <ac:picMkLst>
            <pc:docMk/>
            <pc:sldMk cId="722401933" sldId="374"/>
            <ac:picMk id="53" creationId="{4F874FBE-7F09-47A8-DDB4-CB6A03869096}"/>
          </ac:picMkLst>
        </pc:picChg>
        <pc:picChg chg="del mod topLvl">
          <ac:chgData name="Datta Chakraborty, Shreyan" userId="8e16d80f-77aa-4ba5-b0e9-232e8980a100" providerId="ADAL" clId="{518FD345-0902-6D45-A89B-290A7082D8F0}" dt="2024-02-08T04:36:57.197" v="27" actId="478"/>
          <ac:picMkLst>
            <pc:docMk/>
            <pc:sldMk cId="722401933" sldId="374"/>
            <ac:picMk id="59" creationId="{C5F88D00-420C-04E8-BE84-DF1E57A5DB84}"/>
          </ac:picMkLst>
        </pc:picChg>
        <pc:picChg chg="del mod topLvl">
          <ac:chgData name="Datta Chakraborty, Shreyan" userId="8e16d80f-77aa-4ba5-b0e9-232e8980a100" providerId="ADAL" clId="{518FD345-0902-6D45-A89B-290A7082D8F0}" dt="2024-02-08T04:40:23.165" v="37" actId="478"/>
          <ac:picMkLst>
            <pc:docMk/>
            <pc:sldMk cId="722401933" sldId="374"/>
            <ac:picMk id="63" creationId="{1398FA72-7629-4242-8DE7-0C8C44CD8CC2}"/>
          </ac:picMkLst>
        </pc:picChg>
        <pc:picChg chg="add mod">
          <ac:chgData name="Datta Chakraborty, Shreyan" userId="8e16d80f-77aa-4ba5-b0e9-232e8980a100" providerId="ADAL" clId="{518FD345-0902-6D45-A89B-290A7082D8F0}" dt="2024-02-08T04:33:09.716" v="11" actId="164"/>
          <ac:picMkLst>
            <pc:docMk/>
            <pc:sldMk cId="722401933" sldId="374"/>
            <ac:picMk id="1026" creationId="{5B98622D-7AA3-014A-C059-4C3BB4A45CB2}"/>
          </ac:picMkLst>
        </pc:picChg>
        <pc:picChg chg="add mod topLvl">
          <ac:chgData name="Datta Chakraborty, Shreyan" userId="8e16d80f-77aa-4ba5-b0e9-232e8980a100" providerId="ADAL" clId="{518FD345-0902-6D45-A89B-290A7082D8F0}" dt="2024-02-08T04:35:31.936" v="25" actId="164"/>
          <ac:picMkLst>
            <pc:docMk/>
            <pc:sldMk cId="722401933" sldId="374"/>
            <ac:picMk id="1028" creationId="{612CA862-BAA2-16E9-229C-2B5F87851DC8}"/>
          </ac:picMkLst>
        </pc:picChg>
        <pc:picChg chg="add mod topLvl">
          <ac:chgData name="Datta Chakraborty, Shreyan" userId="8e16d80f-77aa-4ba5-b0e9-232e8980a100" providerId="ADAL" clId="{518FD345-0902-6D45-A89B-290A7082D8F0}" dt="2024-02-08T04:42:22.193" v="50" actId="164"/>
          <ac:picMkLst>
            <pc:docMk/>
            <pc:sldMk cId="722401933" sldId="374"/>
            <ac:picMk id="1030" creationId="{F12F3C6A-7408-8777-88CB-2010A8DB7816}"/>
          </ac:picMkLst>
        </pc:picChg>
        <pc:picChg chg="add mod">
          <ac:chgData name="Datta Chakraborty, Shreyan" userId="8e16d80f-77aa-4ba5-b0e9-232e8980a100" providerId="ADAL" clId="{518FD345-0902-6D45-A89B-290A7082D8F0}" dt="2024-02-08T04:41:01.049" v="46" actId="164"/>
          <ac:picMkLst>
            <pc:docMk/>
            <pc:sldMk cId="722401933" sldId="374"/>
            <ac:picMk id="1032" creationId="{3C6DF03E-1F65-866E-92F7-C0DC1B121217}"/>
          </ac:picMkLst>
        </pc:picChg>
      </pc:sldChg>
      <pc:sldChg chg="del">
        <pc:chgData name="Datta Chakraborty, Shreyan" userId="8e16d80f-77aa-4ba5-b0e9-232e8980a100" providerId="ADAL" clId="{518FD345-0902-6D45-A89B-290A7082D8F0}" dt="2024-02-08T05:03:39.482" v="55" actId="2696"/>
        <pc:sldMkLst>
          <pc:docMk/>
          <pc:sldMk cId="1233328138" sldId="409"/>
        </pc:sldMkLst>
      </pc:sldChg>
      <pc:sldChg chg="del">
        <pc:chgData name="Datta Chakraborty, Shreyan" userId="8e16d80f-77aa-4ba5-b0e9-232e8980a100" providerId="ADAL" clId="{518FD345-0902-6D45-A89B-290A7082D8F0}" dt="2024-02-08T05:03:39.495" v="56" actId="2696"/>
        <pc:sldMkLst>
          <pc:docMk/>
          <pc:sldMk cId="3368510045" sldId="410"/>
        </pc:sldMkLst>
      </pc:sldChg>
      <pc:sldChg chg="del">
        <pc:chgData name="Datta Chakraborty, Shreyan" userId="8e16d80f-77aa-4ba5-b0e9-232e8980a100" providerId="ADAL" clId="{518FD345-0902-6D45-A89B-290A7082D8F0}" dt="2024-02-08T05:03:39.514" v="57" actId="2696"/>
        <pc:sldMkLst>
          <pc:docMk/>
          <pc:sldMk cId="1930153091" sldId="411"/>
        </pc:sldMkLst>
      </pc:sldChg>
      <pc:sldChg chg="modSp mod">
        <pc:chgData name="Datta Chakraborty, Shreyan" userId="8e16d80f-77aa-4ba5-b0e9-232e8980a100" providerId="ADAL" clId="{518FD345-0902-6D45-A89B-290A7082D8F0}" dt="2024-02-08T05:46:49.131" v="129" actId="20577"/>
        <pc:sldMkLst>
          <pc:docMk/>
          <pc:sldMk cId="3130399512" sldId="450"/>
        </pc:sldMkLst>
        <pc:spChg chg="mod">
          <ac:chgData name="Datta Chakraborty, Shreyan" userId="8e16d80f-77aa-4ba5-b0e9-232e8980a100" providerId="ADAL" clId="{518FD345-0902-6D45-A89B-290A7082D8F0}" dt="2024-02-08T05:46:49.131" v="129" actId="20577"/>
          <ac:spMkLst>
            <pc:docMk/>
            <pc:sldMk cId="3130399512" sldId="450"/>
            <ac:spMk id="37" creationId="{439FC097-85EB-CA53-776E-44365FB5FB91}"/>
          </ac:spMkLst>
        </pc:spChg>
        <pc:grpChg chg="mod">
          <ac:chgData name="Datta Chakraborty, Shreyan" userId="8e16d80f-77aa-4ba5-b0e9-232e8980a100" providerId="ADAL" clId="{518FD345-0902-6D45-A89B-290A7082D8F0}" dt="2024-02-08T05:10:18.762" v="66" actId="14100"/>
          <ac:grpSpMkLst>
            <pc:docMk/>
            <pc:sldMk cId="3130399512" sldId="450"/>
            <ac:grpSpMk id="43" creationId="{16CAA7BF-D41C-EE43-F04E-0ED5D57A1F32}"/>
          </ac:grpSpMkLst>
        </pc:grpChg>
      </pc:sldChg>
      <pc:sldChg chg="modSp mod">
        <pc:chgData name="Datta Chakraborty, Shreyan" userId="8e16d80f-77aa-4ba5-b0e9-232e8980a100" providerId="ADAL" clId="{518FD345-0902-6D45-A89B-290A7082D8F0}" dt="2024-02-08T05:39:13.848" v="124" actId="1076"/>
        <pc:sldMkLst>
          <pc:docMk/>
          <pc:sldMk cId="3742642329" sldId="455"/>
        </pc:sldMkLst>
        <pc:spChg chg="mod">
          <ac:chgData name="Datta Chakraborty, Shreyan" userId="8e16d80f-77aa-4ba5-b0e9-232e8980a100" providerId="ADAL" clId="{518FD345-0902-6D45-A89B-290A7082D8F0}" dt="2024-02-08T05:39:13.848" v="124" actId="1076"/>
          <ac:spMkLst>
            <pc:docMk/>
            <pc:sldMk cId="3742642329" sldId="455"/>
            <ac:spMk id="3" creationId="{72E3E6EA-111F-56AA-553A-86DC36436039}"/>
          </ac:spMkLst>
        </pc:spChg>
      </pc:sldChg>
      <pc:sldChg chg="del">
        <pc:chgData name="Datta Chakraborty, Shreyan" userId="8e16d80f-77aa-4ba5-b0e9-232e8980a100" providerId="ADAL" clId="{518FD345-0902-6D45-A89B-290A7082D8F0}" dt="2024-02-08T05:03:39.356" v="51" actId="2696"/>
        <pc:sldMkLst>
          <pc:docMk/>
          <pc:sldMk cId="2850138378" sldId="470"/>
        </pc:sldMkLst>
      </pc:sldChg>
      <pc:sldChg chg="del">
        <pc:chgData name="Datta Chakraborty, Shreyan" userId="8e16d80f-77aa-4ba5-b0e9-232e8980a100" providerId="ADAL" clId="{518FD345-0902-6D45-A89B-290A7082D8F0}" dt="2024-02-08T05:03:39.417" v="52" actId="2696"/>
        <pc:sldMkLst>
          <pc:docMk/>
          <pc:sldMk cId="3174536960" sldId="471"/>
        </pc:sldMkLst>
      </pc:sldChg>
      <pc:sldChg chg="modSp mod">
        <pc:chgData name="Datta Chakraborty, Shreyan" userId="8e16d80f-77aa-4ba5-b0e9-232e8980a100" providerId="ADAL" clId="{518FD345-0902-6D45-A89B-290A7082D8F0}" dt="2024-02-08T05:48:52.685" v="148" actId="20577"/>
        <pc:sldMkLst>
          <pc:docMk/>
          <pc:sldMk cId="1847215615" sldId="476"/>
        </pc:sldMkLst>
        <pc:spChg chg="mod">
          <ac:chgData name="Datta Chakraborty, Shreyan" userId="8e16d80f-77aa-4ba5-b0e9-232e8980a100" providerId="ADAL" clId="{518FD345-0902-6D45-A89B-290A7082D8F0}" dt="2024-02-08T05:48:52.685" v="148" actId="20577"/>
          <ac:spMkLst>
            <pc:docMk/>
            <pc:sldMk cId="1847215615" sldId="476"/>
            <ac:spMk id="2" creationId="{2F8D8723-DE48-A069-76DA-140C2E6FF6BC}"/>
          </ac:spMkLst>
        </pc:spChg>
      </pc:sldChg>
      <pc:sldChg chg="modSp mod">
        <pc:chgData name="Datta Chakraborty, Shreyan" userId="8e16d80f-77aa-4ba5-b0e9-232e8980a100" providerId="ADAL" clId="{518FD345-0902-6D45-A89B-290A7082D8F0}" dt="2024-02-08T05:38:34.276" v="120" actId="14100"/>
        <pc:sldMkLst>
          <pc:docMk/>
          <pc:sldMk cId="4078416900" sldId="490"/>
        </pc:sldMkLst>
        <pc:spChg chg="mod">
          <ac:chgData name="Datta Chakraborty, Shreyan" userId="8e16d80f-77aa-4ba5-b0e9-232e8980a100" providerId="ADAL" clId="{518FD345-0902-6D45-A89B-290A7082D8F0}" dt="2024-02-08T05:38:34.276" v="120" actId="14100"/>
          <ac:spMkLst>
            <pc:docMk/>
            <pc:sldMk cId="4078416900" sldId="490"/>
            <ac:spMk id="13" creationId="{8748B22C-09C8-7A60-129D-32199F42F730}"/>
          </ac:spMkLst>
        </pc:spChg>
      </pc:sldChg>
      <pc:sldChg chg="addSp modSp new mod">
        <pc:chgData name="Datta Chakraborty, Shreyan" userId="8e16d80f-77aa-4ba5-b0e9-232e8980a100" providerId="ADAL" clId="{518FD345-0902-6D45-A89B-290A7082D8F0}" dt="2024-02-08T05:37:38.953" v="118" actId="113"/>
        <pc:sldMkLst>
          <pc:docMk/>
          <pc:sldMk cId="481331116" sldId="493"/>
        </pc:sldMkLst>
        <pc:spChg chg="add mod">
          <ac:chgData name="Datta Chakraborty, Shreyan" userId="8e16d80f-77aa-4ba5-b0e9-232e8980a100" providerId="ADAL" clId="{518FD345-0902-6D45-A89B-290A7082D8F0}" dt="2024-02-08T05:28:05.736" v="83" actId="20577"/>
          <ac:spMkLst>
            <pc:docMk/>
            <pc:sldMk cId="481331116" sldId="493"/>
            <ac:spMk id="3" creationId="{5A53B42F-D278-0B50-8407-BF9EFA75D07E}"/>
          </ac:spMkLst>
        </pc:spChg>
        <pc:spChg chg="mod">
          <ac:chgData name="Datta Chakraborty, Shreyan" userId="8e16d80f-77aa-4ba5-b0e9-232e8980a100" providerId="ADAL" clId="{518FD345-0902-6D45-A89B-290A7082D8F0}" dt="2024-02-08T05:37:38.953" v="118" actId="113"/>
          <ac:spMkLst>
            <pc:docMk/>
            <pc:sldMk cId="481331116" sldId="493"/>
            <ac:spMk id="4" creationId="{1A8B7051-7581-66AE-C12E-E942AF4E82FE}"/>
          </ac:spMkLst>
        </pc:spChg>
        <pc:spChg chg="mod">
          <ac:chgData name="Datta Chakraborty, Shreyan" userId="8e16d80f-77aa-4ba5-b0e9-232e8980a100" providerId="ADAL" clId="{518FD345-0902-6D45-A89B-290A7082D8F0}" dt="2024-02-08T05:37:31.159" v="116" actId="403"/>
          <ac:spMkLst>
            <pc:docMk/>
            <pc:sldMk cId="481331116" sldId="493"/>
            <ac:spMk id="5" creationId="{9A929659-6908-394A-7DD3-5EFFC8DE666D}"/>
          </ac:spMkLst>
        </pc:spChg>
        <pc:spChg chg="mod">
          <ac:chgData name="Datta Chakraborty, Shreyan" userId="8e16d80f-77aa-4ba5-b0e9-232e8980a100" providerId="ADAL" clId="{518FD345-0902-6D45-A89B-290A7082D8F0}" dt="2024-02-08T05:37:31.159" v="116" actId="403"/>
          <ac:spMkLst>
            <pc:docMk/>
            <pc:sldMk cId="481331116" sldId="493"/>
            <ac:spMk id="6" creationId="{746474E0-F00F-C7E4-414B-E37EBA84992E}"/>
          </ac:spMkLst>
        </pc:spChg>
        <pc:spChg chg="mod">
          <ac:chgData name="Datta Chakraborty, Shreyan" userId="8e16d80f-77aa-4ba5-b0e9-232e8980a100" providerId="ADAL" clId="{518FD345-0902-6D45-A89B-290A7082D8F0}" dt="2024-02-08T05:37:31.159" v="116" actId="403"/>
          <ac:spMkLst>
            <pc:docMk/>
            <pc:sldMk cId="481331116" sldId="493"/>
            <ac:spMk id="8" creationId="{D40E93EF-0F13-32D8-6384-6ED64AA8631E}"/>
          </ac:spMkLst>
        </pc:spChg>
        <pc:spChg chg="add mod">
          <ac:chgData name="Datta Chakraborty, Shreyan" userId="8e16d80f-77aa-4ba5-b0e9-232e8980a100" providerId="ADAL" clId="{518FD345-0902-6D45-A89B-290A7082D8F0}" dt="2024-02-08T05:37:36.728" v="117" actId="113"/>
          <ac:spMkLst>
            <pc:docMk/>
            <pc:sldMk cId="481331116" sldId="493"/>
            <ac:spMk id="9" creationId="{6092A283-C7EA-86F9-2F20-AAA49F7D87F9}"/>
          </ac:spMkLst>
        </pc:spChg>
      </pc:sldChg>
      <pc:sldChg chg="del">
        <pc:chgData name="Datta Chakraborty, Shreyan" userId="8e16d80f-77aa-4ba5-b0e9-232e8980a100" providerId="ADAL" clId="{518FD345-0902-6D45-A89B-290A7082D8F0}" dt="2024-02-08T05:40:32.002" v="125" actId="2696"/>
        <pc:sldMkLst>
          <pc:docMk/>
          <pc:sldMk cId="1284985216" sldId="494"/>
        </pc:sldMkLst>
      </pc:sldChg>
      <pc:sldChg chg="modSp mod">
        <pc:chgData name="Datta Chakraborty, Shreyan" userId="8e16d80f-77aa-4ba5-b0e9-232e8980a100" providerId="ADAL" clId="{518FD345-0902-6D45-A89B-290A7082D8F0}" dt="2024-02-08T05:48:24.527" v="142" actId="2711"/>
        <pc:sldMkLst>
          <pc:docMk/>
          <pc:sldMk cId="524113774" sldId="496"/>
        </pc:sldMkLst>
        <pc:spChg chg="mod">
          <ac:chgData name="Datta Chakraborty, Shreyan" userId="8e16d80f-77aa-4ba5-b0e9-232e8980a100" providerId="ADAL" clId="{518FD345-0902-6D45-A89B-290A7082D8F0}" dt="2024-02-08T05:48:16.671" v="136" actId="2711"/>
          <ac:spMkLst>
            <pc:docMk/>
            <pc:sldMk cId="524113774" sldId="496"/>
            <ac:spMk id="8" creationId="{C59E2AEE-A99A-03AB-E011-357720AC95F0}"/>
          </ac:spMkLst>
        </pc:spChg>
        <pc:spChg chg="mod">
          <ac:chgData name="Datta Chakraborty, Shreyan" userId="8e16d80f-77aa-4ba5-b0e9-232e8980a100" providerId="ADAL" clId="{518FD345-0902-6D45-A89B-290A7082D8F0}" dt="2024-02-08T05:48:24.527" v="142" actId="2711"/>
          <ac:spMkLst>
            <pc:docMk/>
            <pc:sldMk cId="524113774" sldId="496"/>
            <ac:spMk id="9" creationId="{8854DC53-2977-9B52-C8CF-881DFB4131DA}"/>
          </ac:spMkLst>
        </pc:spChg>
      </pc:sldChg>
      <pc:sldChg chg="modSp mod">
        <pc:chgData name="Datta Chakraborty, Shreyan" userId="8e16d80f-77aa-4ba5-b0e9-232e8980a100" providerId="ADAL" clId="{518FD345-0902-6D45-A89B-290A7082D8F0}" dt="2024-02-08T05:48:03.505" v="134" actId="2711"/>
        <pc:sldMkLst>
          <pc:docMk/>
          <pc:sldMk cId="4277632384" sldId="497"/>
        </pc:sldMkLst>
        <pc:spChg chg="mod">
          <ac:chgData name="Datta Chakraborty, Shreyan" userId="8e16d80f-77aa-4ba5-b0e9-232e8980a100" providerId="ADAL" clId="{518FD345-0902-6D45-A89B-290A7082D8F0}" dt="2024-02-08T05:47:51.749" v="131" actId="1076"/>
          <ac:spMkLst>
            <pc:docMk/>
            <pc:sldMk cId="4277632384" sldId="497"/>
            <ac:spMk id="8" creationId="{4AA3B50A-820F-A19B-8A3E-CAE06DD32B5B}"/>
          </ac:spMkLst>
        </pc:spChg>
        <pc:spChg chg="mod">
          <ac:chgData name="Datta Chakraborty, Shreyan" userId="8e16d80f-77aa-4ba5-b0e9-232e8980a100" providerId="ADAL" clId="{518FD345-0902-6D45-A89B-290A7082D8F0}" dt="2024-02-08T05:48:03.505" v="134" actId="2711"/>
          <ac:spMkLst>
            <pc:docMk/>
            <pc:sldMk cId="4277632384" sldId="497"/>
            <ac:spMk id="9" creationId="{04F273B0-3D50-40B1-DB38-AF792E749464}"/>
          </ac:spMkLst>
        </pc:spChg>
        <pc:spChg chg="mod">
          <ac:chgData name="Datta Chakraborty, Shreyan" userId="8e16d80f-77aa-4ba5-b0e9-232e8980a100" providerId="ADAL" clId="{518FD345-0902-6D45-A89B-290A7082D8F0}" dt="2024-02-08T05:47:58.496" v="133" actId="1076"/>
          <ac:spMkLst>
            <pc:docMk/>
            <pc:sldMk cId="4277632384" sldId="497"/>
            <ac:spMk id="10" creationId="{DC203774-19BD-77CE-8BFB-3B21B764EFD5}"/>
          </ac:spMkLst>
        </pc:spChg>
      </pc:sldChg>
    </pc:docChg>
  </pc:docChgLst>
  <pc:docChgLst>
    <pc:chgData name="Datta Chakraborty, Shreyan" userId="8e16d80f-77aa-4ba5-b0e9-232e8980a100" providerId="ADAL" clId="{CBAF6696-1B5B-1A40-96B4-76D2A9C177F0}"/>
    <pc:docChg chg="modSld">
      <pc:chgData name="Datta Chakraborty, Shreyan" userId="8e16d80f-77aa-4ba5-b0e9-232e8980a100" providerId="ADAL" clId="{CBAF6696-1B5B-1A40-96B4-76D2A9C177F0}" dt="2023-11-08T03:42:09.283" v="1" actId="20577"/>
      <pc:docMkLst>
        <pc:docMk/>
      </pc:docMkLst>
      <pc:sldChg chg="modNotesTx">
        <pc:chgData name="Datta Chakraborty, Shreyan" userId="8e16d80f-77aa-4ba5-b0e9-232e8980a100" providerId="ADAL" clId="{CBAF6696-1B5B-1A40-96B4-76D2A9C177F0}" dt="2023-11-08T03:42:09.283" v="1" actId="20577"/>
        <pc:sldMkLst>
          <pc:docMk/>
          <pc:sldMk cId="3220425090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DE_5C7F50FD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B_CD9E99AE5.xlsb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DD_DB0B0C3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E4_C83334A9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E2_15131D0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E5_3CC2856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DE_5C7F50FD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3_A41158A0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3_A41158A0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3_A41158A0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0_F9BF0B0A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1_322546D0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1_322546D04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EB_CD9E99AE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296167247386762E-2"/>
          <c:y val="3.5206499661475966E-2"/>
          <c:w val="0.90940766550522645"/>
          <c:h val="0.929587000677048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E2F-4B78-8F48-0B3C6ABBCD55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26.400000000000002</c:v>
                </c:pt>
                <c:pt idx="1">
                  <c:v>73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2F-4B78-8F48-0B3C6ABBCD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021615"/>
        <c:axId val="1"/>
      </c:barChart>
      <c:catAx>
        <c:axId val="2081021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.5999999999999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1021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5177304964539E-2"/>
          <c:y val="6.3492063492063489E-2"/>
          <c:w val="0.97049645390070927"/>
          <c:h val="0.873015873015873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0.19</c:v>
                </c:pt>
                <c:pt idx="1">
                  <c:v>3.19</c:v>
                </c:pt>
                <c:pt idx="2">
                  <c:v>10.74</c:v>
                </c:pt>
                <c:pt idx="3">
                  <c:v>20.61</c:v>
                </c:pt>
                <c:pt idx="4">
                  <c:v>27.3</c:v>
                </c:pt>
                <c:pt idx="5">
                  <c:v>21.959999999999997</c:v>
                </c:pt>
                <c:pt idx="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60-474E-9AF2-010BDD05B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69832095"/>
        <c:axId val="1"/>
      </c:barChart>
      <c:catAx>
        <c:axId val="1569832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69832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320123292718271E-2"/>
          <c:y val="5.6944428026441452E-2"/>
          <c:w val="0.95535975341456347"/>
          <c:h val="0.444392767364687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e Importa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Months Since Last Txn</c:v>
                </c:pt>
                <c:pt idx="1">
                  <c:v>Scheduled Purchase Flag</c:v>
                </c:pt>
                <c:pt idx="2">
                  <c:v>% Purchase CK 36Month</c:v>
                </c:pt>
                <c:pt idx="3">
                  <c:v>Months Since First Txn</c:v>
                </c:pt>
                <c:pt idx="4">
                  <c:v>Mail Cnt 36 Month</c:v>
                </c:pt>
                <c:pt idx="5">
                  <c:v>Purchase Avg Interval</c:v>
                </c:pt>
                <c:pt idx="6">
                  <c:v>Log Purchase Avg 36 Month</c:v>
                </c:pt>
                <c:pt idx="7">
                  <c:v>Log Order Count 36 Month</c:v>
                </c:pt>
                <c:pt idx="8">
                  <c:v>Call in 36 Month</c:v>
                </c:pt>
                <c:pt idx="9">
                  <c:v>% Purchase ET 36 Month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0</c:v>
                </c:pt>
                <c:pt idx="1">
                  <c:v>10.27806655</c:v>
                </c:pt>
                <c:pt idx="2">
                  <c:v>7.5632228980000002</c:v>
                </c:pt>
                <c:pt idx="3">
                  <c:v>3.7574818969999999</c:v>
                </c:pt>
                <c:pt idx="4">
                  <c:v>2.6205137700000001</c:v>
                </c:pt>
                <c:pt idx="5">
                  <c:v>2.2490584390000001</c:v>
                </c:pt>
                <c:pt idx="6">
                  <c:v>1.6992951060000001</c:v>
                </c:pt>
                <c:pt idx="7">
                  <c:v>0.83940822000000004</c:v>
                </c:pt>
                <c:pt idx="8">
                  <c:v>0.64420502099999999</c:v>
                </c:pt>
                <c:pt idx="9">
                  <c:v>0.39788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65-4E56-8C75-8C0A8C6E62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"/>
        <c:axId val="1605125183"/>
        <c:axId val="1833588895"/>
      </c:barChart>
      <c:catAx>
        <c:axId val="1605125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1833588895"/>
        <c:crosses val="autoZero"/>
        <c:auto val="1"/>
        <c:lblAlgn val="ctr"/>
        <c:lblOffset val="100"/>
        <c:noMultiLvlLbl val="0"/>
      </c:catAx>
      <c:valAx>
        <c:axId val="183358889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605125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rgbClr val="000000"/>
                </a:solidFill>
                <a:latin typeface="Montserrat" panose="00000500000000000000" pitchFamily="2" charset="0"/>
              </a:rPr>
              <a:t>Number of Clients in Each Churn Bucket</a:t>
            </a:r>
          </a:p>
        </c:rich>
      </c:tx>
      <c:layout>
        <c:manualLayout>
          <c:xMode val="edge"/>
          <c:yMode val="edge"/>
          <c:x val="0.2167233102376973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5287509650514547E-2"/>
          <c:y val="0.14673241383214072"/>
          <c:w val="0.90198522101150969"/>
          <c:h val="0.748082538125179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lients in Each Churn Buck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urn &lt; 25%</c:v>
                </c:pt>
                <c:pt idx="1">
                  <c:v>25% &lt; Churn &lt; 50%</c:v>
                </c:pt>
                <c:pt idx="2">
                  <c:v>50% &lt; Churn &lt; 75%</c:v>
                </c:pt>
                <c:pt idx="3">
                  <c:v>Churn &gt; 75%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6</c:v>
                </c:pt>
                <c:pt idx="1">
                  <c:v>0.08</c:v>
                </c:pt>
                <c:pt idx="2">
                  <c:v>0.1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EE-4F49-BFE7-044EFF2B94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81922063"/>
        <c:axId val="784849071"/>
      </c:barChart>
      <c:catAx>
        <c:axId val="781922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784849071"/>
        <c:crosses val="autoZero"/>
        <c:auto val="1"/>
        <c:lblAlgn val="ctr"/>
        <c:lblOffset val="100"/>
        <c:noMultiLvlLbl val="0"/>
      </c:catAx>
      <c:valAx>
        <c:axId val="78484907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922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lative Importa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Log Purchase Amt 36 Month</c:v>
                </c:pt>
                <c:pt idx="1">
                  <c:v>Log Margin Year-1</c:v>
                </c:pt>
                <c:pt idx="2">
                  <c:v>Log Margin 3 Year Avg</c:v>
                </c:pt>
                <c:pt idx="3">
                  <c:v>Log Purchase Avg 36 Month</c:v>
                </c:pt>
                <c:pt idx="4">
                  <c:v>Margin Year-2</c:v>
                </c:pt>
                <c:pt idx="5">
                  <c:v>Log Purchase Amt Lifetime</c:v>
                </c:pt>
                <c:pt idx="6">
                  <c:v>Tier 5 - Diamond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1</c:v>
                </c:pt>
                <c:pt idx="1">
                  <c:v>0.95</c:v>
                </c:pt>
                <c:pt idx="2">
                  <c:v>0.63</c:v>
                </c:pt>
                <c:pt idx="3">
                  <c:v>0.61</c:v>
                </c:pt>
                <c:pt idx="4">
                  <c:v>0.57999999999999996</c:v>
                </c:pt>
                <c:pt idx="5">
                  <c:v>0.55000000000000004</c:v>
                </c:pt>
                <c:pt idx="6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B0-4008-9483-AB759581E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axId val="1605125183"/>
        <c:axId val="1833588895"/>
      </c:barChart>
      <c:catAx>
        <c:axId val="1605125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1833588895"/>
        <c:crosses val="autoZero"/>
        <c:auto val="1"/>
        <c:lblAlgn val="ctr"/>
        <c:lblOffset val="100"/>
        <c:noMultiLvlLbl val="0"/>
      </c:catAx>
      <c:valAx>
        <c:axId val="1833588895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6051251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rgbClr val="000000"/>
                </a:solidFill>
                <a:latin typeface="Montserrat" panose="00000500000000000000" pitchFamily="2" charset="0"/>
              </a:rPr>
              <a:t>Number of Clients in Each Margin Bucke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234623916112123E-2"/>
          <c:y val="0.14615728167266842"/>
          <c:w val="0.89598709417221201"/>
          <c:h val="0.747789444558299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lients in Each Margin Buck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 &lt; $0</c:v>
                </c:pt>
                <c:pt idx="1">
                  <c:v>$0 &lt; M &lt; $500</c:v>
                </c:pt>
                <c:pt idx="2">
                  <c:v>$500 &lt; M &lt; $1,000</c:v>
                </c:pt>
                <c:pt idx="3">
                  <c:v>$1,000 &lt; M &lt; $1,500</c:v>
                </c:pt>
                <c:pt idx="4">
                  <c:v>M &gt; $1,500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2</c:v>
                </c:pt>
                <c:pt idx="1">
                  <c:v>0.8</c:v>
                </c:pt>
                <c:pt idx="2">
                  <c:v>0.1</c:v>
                </c:pt>
                <c:pt idx="3">
                  <c:v>0.04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88-4ED0-BC8B-1AC673602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81922063"/>
        <c:axId val="784849071"/>
      </c:barChart>
      <c:catAx>
        <c:axId val="781922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784849071"/>
        <c:crosses val="autoZero"/>
        <c:auto val="1"/>
        <c:lblAlgn val="ctr"/>
        <c:lblOffset val="100"/>
        <c:noMultiLvlLbl val="0"/>
      </c:catAx>
      <c:valAx>
        <c:axId val="78484907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1922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79679144385027E-2"/>
          <c:y val="0.10972143263217737"/>
          <c:w val="0.96524064171122992"/>
          <c:h val="0.780557134735645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4DC-474F-B576-1DD390EE2F15}"/>
                </c:ext>
              </c:extLst>
            </c:dLbl>
            <c:dLbl>
              <c:idx val="1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4DC-474F-B576-1DD390EE2F15}"/>
                </c:ext>
              </c:extLst>
            </c:dLbl>
            <c:dLbl>
              <c:idx val="2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4DC-474F-B576-1DD390EE2F15}"/>
                </c:ext>
              </c:extLst>
            </c:dLbl>
            <c:dLbl>
              <c:idx val="3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4DC-474F-B576-1DD390EE2F15}"/>
                </c:ext>
              </c:extLst>
            </c:dLbl>
            <c:dLbl>
              <c:idx val="4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4DC-474F-B576-1DD390EE2F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0</c:v>
                </c:pt>
                <c:pt idx="1">
                  <c:v>21</c:v>
                </c:pt>
                <c:pt idx="2">
                  <c:v>17</c:v>
                </c:pt>
                <c:pt idx="3">
                  <c:v>15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4DC-474F-B576-1DD390EE2F15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274019329164297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4DC-474F-B576-1DD390EE2F15}"/>
                </c:ext>
              </c:extLst>
            </c:dLbl>
            <c:dLbl>
              <c:idx val="1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4DC-474F-B576-1DD390EE2F15}"/>
                </c:ext>
              </c:extLst>
            </c:dLbl>
            <c:dLbl>
              <c:idx val="2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4DC-474F-B576-1DD390EE2F15}"/>
                </c:ext>
              </c:extLst>
            </c:dLbl>
            <c:dLbl>
              <c:idx val="3"/>
              <c:layout>
                <c:manualLayout>
                  <c:x val="0"/>
                  <c:y val="-2.274019329164297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4DC-474F-B576-1DD390EE2F15}"/>
                </c:ext>
              </c:extLst>
            </c:dLbl>
            <c:dLbl>
              <c:idx val="4"/>
              <c:layout>
                <c:manualLayout>
                  <c:x val="0"/>
                  <c:y val="-1.70551449687322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4DC-474F-B576-1DD390EE2F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70</c:v>
                </c:pt>
                <c:pt idx="1">
                  <c:v>79</c:v>
                </c:pt>
                <c:pt idx="2">
                  <c:v>82</c:v>
                </c:pt>
                <c:pt idx="3">
                  <c:v>85</c:v>
                </c:pt>
                <c:pt idx="4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4DC-474F-B576-1DD390EE2F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3985519"/>
        <c:axId val="1"/>
      </c:barChart>
      <c:catAx>
        <c:axId val="1103985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39855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"/>
          <c:y val="0.14845024469820556"/>
          <c:w val="0.60053763440860219"/>
          <c:h val="0.74660141381185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245-49EF-809D-C099E92FB797}"/>
              </c:ext>
            </c:extLst>
          </c:dPt>
          <c:dLbls>
            <c:dLbl>
              <c:idx val="0"/>
              <c:layout>
                <c:manualLayout>
                  <c:x val="0"/>
                  <c:y val="-0.189233278955954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45-49EF-809D-C099E92FB797}"/>
                </c:ext>
              </c:extLst>
            </c:dLbl>
            <c:dLbl>
              <c:idx val="1"/>
              <c:layout>
                <c:manualLayout>
                  <c:x val="0"/>
                  <c:y val="-0.417074497009244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245-49EF-809D-C099E92FB7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20</c:v>
                </c:pt>
                <c:pt idx="1">
                  <c:v>1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45-49EF-809D-C099E92FB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2222911"/>
        <c:axId val="1"/>
      </c:barChart>
      <c:catAx>
        <c:axId val="9222229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2222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533546325878593E-2"/>
          <c:y val="0.14845024469820556"/>
          <c:w val="0.91693290734824284"/>
          <c:h val="0.74660141381185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007-4BC3-BA1D-995C5224C3F9}"/>
              </c:ext>
            </c:extLst>
          </c:dPt>
          <c:dLbls>
            <c:dLbl>
              <c:idx val="0"/>
              <c:layout>
                <c:manualLayout>
                  <c:x val="0"/>
                  <c:y val="-0.4170744970092441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007-4BC3-BA1D-995C5224C3F9}"/>
                </c:ext>
              </c:extLst>
            </c:dLbl>
            <c:dLbl>
              <c:idx val="1"/>
              <c:layout>
                <c:manualLayout>
                  <c:x val="0"/>
                  <c:y val="-0.2882001087547580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007-4BC3-BA1D-995C5224C3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9</c:v>
                </c:pt>
                <c:pt idx="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07-4BC3-BA1D-995C5224C3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5380511"/>
        <c:axId val="1"/>
      </c:barChart>
      <c:catAx>
        <c:axId val="1425380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5380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533546325878593E-2"/>
          <c:y val="0.14845024469820556"/>
          <c:w val="0.91693290734824284"/>
          <c:h val="0.74660141381185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D7A-48D2-B2C4-46EE20EDC0E7}"/>
              </c:ext>
            </c:extLst>
          </c:dPt>
          <c:dLbls>
            <c:dLbl>
              <c:idx val="0"/>
              <c:layout>
                <c:manualLayout>
                  <c:x val="0"/>
                  <c:y val="-0.4170744970092441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D7A-48D2-B2C4-46EE20EDC0E7}"/>
                </c:ext>
              </c:extLst>
            </c:dLbl>
            <c:dLbl>
              <c:idx val="1"/>
              <c:layout>
                <c:manualLayout>
                  <c:x val="0"/>
                  <c:y val="-0.1522566612289287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7A-48D2-B2C4-46EE20EDC0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6.2</c:v>
                </c:pt>
                <c:pt idx="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7A-48D2-B2C4-46EE20EDC0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022095"/>
        <c:axId val="1"/>
      </c:barChart>
      <c:catAx>
        <c:axId val="2081022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1022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888600194868465E-2"/>
          <c:y val="0.14845024469820556"/>
          <c:w val="0.96622279961026303"/>
          <c:h val="0.74660141381185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06A-44E7-9EF5-7FB5A7525C61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06A-44E7-9EF5-7FB5A7525C61}"/>
              </c:ext>
            </c:extLst>
          </c:dPt>
          <c:dLbls>
            <c:dLbl>
              <c:idx val="0"/>
              <c:layout>
                <c:manualLayout>
                  <c:x val="0"/>
                  <c:y val="-0.31865144100054377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06A-44E7-9EF5-7FB5A7525C61}"/>
                </c:ext>
              </c:extLst>
            </c:dLbl>
            <c:dLbl>
              <c:idx val="1"/>
              <c:layout>
                <c:manualLayout>
                  <c:x val="0"/>
                  <c:y val="-0.34910277324632955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06A-44E7-9EF5-7FB5A7525C61}"/>
                </c:ext>
              </c:extLst>
            </c:dLbl>
            <c:dLbl>
              <c:idx val="2"/>
              <c:layout>
                <c:manualLayout>
                  <c:x val="0"/>
                  <c:y val="-0.41707449700924415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06A-44E7-9EF5-7FB5A7525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98</c:v>
                </c:pt>
                <c:pt idx="1">
                  <c:v>220</c:v>
                </c:pt>
                <c:pt idx="2">
                  <c:v>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6A-44E7-9EF5-7FB5A7525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0323743"/>
        <c:axId val="1"/>
      </c:barChart>
      <c:catAx>
        <c:axId val="14203237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03237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5177304964539E-2"/>
          <c:y val="6.1393152302243209E-2"/>
          <c:w val="0.97049645390070927"/>
          <c:h val="0.877213695395513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41.61849711</c:v>
                </c:pt>
                <c:pt idx="1">
                  <c:v>39.608277389000001</c:v>
                </c:pt>
                <c:pt idx="2">
                  <c:v>34.191560764000002</c:v>
                </c:pt>
                <c:pt idx="3">
                  <c:v>28.983923832999999</c:v>
                </c:pt>
                <c:pt idx="4">
                  <c:v>25.342127539999996</c:v>
                </c:pt>
                <c:pt idx="5">
                  <c:v>20.640280670999999</c:v>
                </c:pt>
                <c:pt idx="6">
                  <c:v>17.12593738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80-49BE-8084-1F28754C28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026895"/>
        <c:axId val="1"/>
      </c:barChart>
      <c:catAx>
        <c:axId val="2081026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618497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1026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5177304964539E-2"/>
          <c:y val="0.16883116883116883"/>
          <c:w val="0.97049645390070927"/>
          <c:h val="0.71428571428571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80819180819180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7B7-48D1-8D42-2F3277B91460}"/>
                </c:ext>
              </c:extLst>
            </c:dLbl>
            <c:dLbl>
              <c:idx val="1"/>
              <c:layout>
                <c:manualLayout>
                  <c:x val="0"/>
                  <c:y val="-0.205794205794205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7B7-48D1-8D42-2F3277B91460}"/>
                </c:ext>
              </c:extLst>
            </c:dLbl>
            <c:dLbl>
              <c:idx val="2"/>
              <c:layout>
                <c:manualLayout>
                  <c:x val="0"/>
                  <c:y val="-0.248751248751248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7B7-48D1-8D42-2F3277B91460}"/>
                </c:ext>
              </c:extLst>
            </c:dLbl>
            <c:dLbl>
              <c:idx val="3"/>
              <c:layout>
                <c:manualLayout>
                  <c:x val="0"/>
                  <c:y val="-0.295704295704295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7B7-48D1-8D42-2F3277B91460}"/>
                </c:ext>
              </c:extLst>
            </c:dLbl>
            <c:dLbl>
              <c:idx val="4"/>
              <c:layout>
                <c:manualLayout>
                  <c:x val="0"/>
                  <c:y val="-0.330669330669330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7B7-48D1-8D42-2F3277B91460}"/>
                </c:ext>
              </c:extLst>
            </c:dLbl>
            <c:dLbl>
              <c:idx val="5"/>
              <c:layout>
                <c:manualLayout>
                  <c:x val="0"/>
                  <c:y val="-0.388611388611388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7B7-48D1-8D42-2F3277B91460}"/>
                </c:ext>
              </c:extLst>
            </c:dLbl>
            <c:dLbl>
              <c:idx val="6"/>
              <c:layout>
                <c:manualLayout>
                  <c:x val="0"/>
                  <c:y val="-0.410589410589410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7B7-48D1-8D42-2F3277B914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0.990484104000004</c:v>
                </c:pt>
                <c:pt idx="1">
                  <c:v>108.322178236</c:v>
                </c:pt>
                <c:pt idx="2">
                  <c:v>138.67266738199999</c:v>
                </c:pt>
                <c:pt idx="3">
                  <c:v>171.38989627199999</c:v>
                </c:pt>
                <c:pt idx="4">
                  <c:v>196.71196946699999</c:v>
                </c:pt>
                <c:pt idx="5">
                  <c:v>237.17164126700001</c:v>
                </c:pt>
                <c:pt idx="6">
                  <c:v>252.83068602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7B7-48D1-8D42-2F3277B914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023535"/>
        <c:axId val="1"/>
      </c:barChart>
      <c:catAx>
        <c:axId val="2081023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2.830686028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1023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5177304964539E-2"/>
          <c:y val="6.1393152302243209E-2"/>
          <c:w val="0.97049645390070927"/>
          <c:h val="0.877213695395513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0.67</c:v>
                </c:pt>
                <c:pt idx="1">
                  <c:v>6.74</c:v>
                </c:pt>
                <c:pt idx="2">
                  <c:v>16.02</c:v>
                </c:pt>
                <c:pt idx="3">
                  <c:v>21.46</c:v>
                </c:pt>
                <c:pt idx="4">
                  <c:v>22.88</c:v>
                </c:pt>
                <c:pt idx="5">
                  <c:v>18.37</c:v>
                </c:pt>
                <c:pt idx="6">
                  <c:v>13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33-455A-B8CA-6A6EC7715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8472511"/>
        <c:axId val="1"/>
      </c:barChart>
      <c:catAx>
        <c:axId val="1108472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8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8472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7" name="Google Shape;317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9802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3B8559-1CAD-E724-A604-67E41FD502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4786F95-E41B-82C1-9C33-6EE0E27D5D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1548A7-B111-06CD-C0B2-BC11A37CA7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8163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F0489-98EA-7A45-6578-1365682E2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9F20C7-B7BA-5B98-CBAD-837BC32CDC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E5748B-EAC3-C5FC-706C-0C81C6F929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0445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08BF1-E7FE-6886-D59D-F5AF5774B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4D3A75-469E-7D61-A0C2-06B4DDA0CA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055DBD-6564-2C76-8C80-CB87DFBCEA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6047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E0DCC5-1DA0-E828-2311-76E8F4FE37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611BD5-05AB-C802-887F-1A65144946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78E077-2D5F-DBBD-AB3E-AD3BE8437D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5506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023514-8B6E-F30B-ACD4-2F11A1DFE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1EBE36-27B2-3167-36B9-92AF477E9B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0C84B4-C0C1-0DB2-5B2B-912DBDB936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6083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E28839-4234-9297-D68A-F9963D1CC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4150B8-18EF-1A83-4C54-974902B3CA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519AD1-2EDA-5B2B-3725-E2CAC3FA38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7974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46DF31-E7E4-9420-9597-16ACB021A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10262B-77A7-38A9-1420-F11F14DD4F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0D7348-BD1D-8787-412E-8911A8DEC3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3011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7D065-0428-943B-DCD4-2669B5BCC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47A20A-81F7-4874-691A-2DEC2E0627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7686B0-4542-29E9-0578-2DA4B2CFE8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6513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C2391-4DF4-141E-6D7F-E64A40ED4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A7BD0F-8BB6-AF01-3AA6-6A4130EC83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DCE98C-8525-22C8-82FB-ACE623BB6C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8173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BDC66-E101-A496-BB13-51EC5E09FE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88980A0-0435-F7EC-35B6-C599A7C664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AD82E2-2F70-8076-ED45-C06DC22693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086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rick and Mortar retailers have an average yearly churn rate of around 10-25% based on external market research</a:t>
            </a:r>
          </a:p>
          <a:p>
            <a:r>
              <a:rPr lang="en-US"/>
              <a:t>HBR research estimates that it costs almost 5 to 7 times more to acquire new customers compared to retaining old customers</a:t>
            </a:r>
          </a:p>
          <a:p>
            <a:r>
              <a:rPr lang="en-US"/>
              <a:t>BCG research estimates that customers generate more value as the length of relationship with the company increases. They generate almost 2 times more value per year in years 2-5 of the relationship as compared to year 1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790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6EA1F8-253E-7AB0-CCB9-AF20DE8F5E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9F2FC6-957E-6FED-C327-D52634C33E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E989AB-5415-5C66-EDFE-DA6759D589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2731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9E62-B46B-8FEE-309F-E553BCF951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01923D-6DAD-D71F-356B-3A933D0DE9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37685C-6031-C3C4-4FFF-3231986F12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764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E3EBD04F-7C7C-C043-FA59-44D87FA74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>
            <a:extLst>
              <a:ext uri="{FF2B5EF4-FFF2-40B4-BE49-F238E27FC236}">
                <a16:creationId xmlns:a16="http://schemas.microsoft.com/office/drawing/2014/main" id="{677EF372-8012-04BF-5159-92169D14184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>
            <a:extLst>
              <a:ext uri="{FF2B5EF4-FFF2-40B4-BE49-F238E27FC236}">
                <a16:creationId xmlns:a16="http://schemas.microsoft.com/office/drawing/2014/main" id="{981987C9-8610-7A2E-6D6A-F7F26D79F9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06040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" name="Google Shape;863;gd960996673_0_8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4" name="Google Shape;864;gd960996673_0_8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998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D4F3B3-B891-8402-BE45-7D678506DA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3D7F29-4861-B081-153D-3FCE254968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31A721-D759-BDDC-2F42-03EBDEBF29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3010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8391D-9F4C-8CD2-641C-683EC3C6D7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C0F2D9-9C6E-D0E4-C836-EBD365DE89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7F8563-966F-F592-53DD-986B7D0B64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6751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CEC95-72B7-547D-C132-A83BADB301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56102D-FA4E-205B-711B-89F2F47013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97CFF0-6432-7A6D-5B8F-6E5CF224B6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7066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A1AFF-A83A-EC37-E892-E13E7BBF15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61B06F8-3581-40FD-7401-E29983AD7D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048635-F297-4E64-68CF-9F3A28CAF4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6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dataset has 26% churn rate</a:t>
            </a:r>
          </a:p>
        </p:txBody>
      </p:sp>
    </p:spTree>
    <p:extLst>
      <p:ext uri="{BB962C8B-B14F-4D97-AF65-F5344CB8AC3E}">
        <p14:creationId xmlns:p14="http://schemas.microsoft.com/office/powerpoint/2010/main" val="2871875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d960996673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d960996673_0_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7428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EB3DDD-FFC5-60FB-92B6-69741E0F6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D4AEE00-AECB-7105-6D96-3FE9E9CD1B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6E11CF-E00E-C2C7-5007-DE315D39BB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8093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44A6C-FDAD-132E-A8A2-97A00CE1A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8205A7-95A7-167F-72D0-D9048DC7C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B4C754-8831-2694-9CD5-A4552AB8B4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2232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C25CB-5F8C-C84E-57CB-02F1CF830D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B3AAD7-5CDD-503D-3811-61D2284395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76E47F-FB66-E203-CBA2-1F25DFDFA3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3473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773FBA-45C6-BDC5-AA94-367082529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05F7A1-6FBA-9599-687A-54B5063D4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B7C731-C829-3224-172B-1EDFD11138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026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407FCD-EC11-7861-E1C6-E870F457A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2018CA-5113-BF46-12B0-821714F304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3FBC88-99E6-FF77-35E7-F0191970A5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619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14300" y="951300"/>
            <a:ext cx="4328700" cy="239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49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14300" y="3623525"/>
            <a:ext cx="2680800" cy="726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148670-A203-0BE8-2E57-A444C0D8B33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303CC-8A34-FB4B-92D8-3FF4029AC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AEAD88-0FA9-1511-659F-9E26B4683E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6FDC1-0D2E-0F6C-0EC3-150C94344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88EBFD-8299-A0EA-8C97-2360D5316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576EF8-C790-4C75-1EBE-33A83733F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73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8B92F-107A-8303-46E9-D73E8182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3130E-C965-93D2-D199-6F604720F0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119C45-80DD-FE52-5C35-E424FF98F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07D5B7-A840-F8E6-8E13-57007FED5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E9567-9A21-E970-6BC2-C77A88F1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07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DDBF7-20F5-5691-C344-320775033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8BE915-3075-540C-3FFA-3CB1FDE08B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B51B57-4514-5D9D-9D66-5BB837A2E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AEC35-27DC-905C-161C-5A17A0E2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13A55-06EB-F5A0-49EA-2BEF02137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733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4D2B9-DDC6-440C-2B2A-820E3505C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46E3FC-D853-04F9-346F-F4CBCB3FEF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36E18D-D999-B3FA-403A-B789E1BD7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9959D-EDBC-5119-2ABF-1D46D5C3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A25C6-97A3-A944-6DE8-8406E3FEF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F98E9-A193-AD8E-A609-E580BE8A4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78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BCFB1-C1D5-C423-E015-80BFE1150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389C89-535E-1D30-00CB-189151B06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D6FCF-A7D8-B506-E869-05F55ACA3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1EDCDB-76CC-47D5-02DE-9F68B8DE8E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A10257-DA43-62D5-FF0D-EA5F50018D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D74FE3-FBBB-6E6E-2B8C-58A8D0D34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4B27CF-60AB-345B-976C-940FEDF55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74F7AB-7061-5DA2-EA8F-235DB0CA6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0350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88ACE-8515-4F1F-9D03-62BE1AA46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26CD44-8799-4ADC-6262-CB89677A8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BDED2F-E76F-C2E7-9D7A-E1E16CEA7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91F4B5-1605-A5EB-AD71-0D20514FC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670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ECA017-D8E7-0102-EF09-29B52D9BE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DF1C4C-A67E-3B36-35FE-F9FC01475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C2EB7-DB28-8A04-044D-D5DEB7E00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515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85014-A853-11EB-0C02-13E75C422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2A854-CCD5-8E9F-B3AC-32F238723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E7945F-E765-CCCC-34D7-064731D3FB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DE0381-36C5-B158-65A1-8474ECD07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69F982-99EF-A701-2714-614D385CA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706DF8-6A2E-3C65-3BF5-3DDBE8BA5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578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B3125-2461-C5D6-5A9D-9E43F4F5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CBBB3B-3C5A-3978-C54B-10385AD069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DF9CF-9A5F-DDE8-9939-E8257AA390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A8BE98-65C6-015F-7064-FB3DD57E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954BE-51F7-FBB0-93B8-102E220E2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F5D7E8-064A-F7E1-F430-891115E93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43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745C7-BFC6-0981-8088-F1266634C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AEA03-CC9A-0398-88FA-88D53C9F70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6B135-5A69-2FD2-B09E-C20EFA051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E99006-4EAA-64FC-2F37-8C33B0130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6C0B8F-924C-FDD3-61F9-404B6901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6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/>
          <p:nvPr/>
        </p:nvSpPr>
        <p:spPr>
          <a:xfrm>
            <a:off x="0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ubTitle" idx="1"/>
          </p:nvPr>
        </p:nvSpPr>
        <p:spPr>
          <a:xfrm>
            <a:off x="714300" y="1206800"/>
            <a:ext cx="7715400" cy="339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Anaheim"/>
              <a:buAutoNum type="arabicPeriod"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714300" y="540850"/>
            <a:ext cx="7715400" cy="46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6C7603-0B70-BE7E-6430-746CF7E77B35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BE036D-FFB2-D00C-AF59-23ABB94860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968055-624F-5FC3-97ED-A856311E3E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BCACD-3207-72E4-84BB-D91DC91AE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4B187-EC52-5293-BB17-80793AA88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9A1F55-E67A-1AFA-38CC-30848B264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286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6E8B0-632E-C824-982F-E1197264BE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145D35-4EAF-748A-4219-7642DE083D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271709-C2E9-50E3-DAD9-0B72C91AB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148C80-4312-3DE6-75B1-D5894A2CB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8ED52-68E4-2D25-D4FA-1C764B462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996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CAF8E-4844-9390-5C1F-753E1E3D7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07085-6BE2-0694-ED92-156BFFEDD9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6FFD76-847B-0170-6C1B-EA8CBF6FAB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735741-AED2-76E8-5DEF-A09E95B98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F9BB6-E808-CEA0-EB33-F7A4D7E71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719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DDC9C-B3C9-99E7-035C-20DFBC6EA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D0DAA-06C8-4C14-305D-A4EC7E4B58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C66243-B1CF-21C1-BBF0-B62DC463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DB4D9-84B7-438F-FF16-99CA85233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9310E-4118-E93B-52AD-69FCB68F9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470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0A5C4-F81B-0A05-E054-0CFE1281D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C8E87-1D47-9393-CA16-F92161B0F6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67F0BE-A3CB-7D83-CE78-9012F7F082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12A9A7-B443-9264-7ABD-46814BA3B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8B6034-14B7-19F6-B352-C5C09703A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B9A270-CFF6-2633-B183-08AA54B67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39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BB7F2-58A9-E90D-7417-8BBD60983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A4D0C-7E0A-B432-FAEA-C22C0A6539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65BD0-A348-6726-5446-5346387891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550FED-0B37-6348-B64A-C53673AFC9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A5796A-D307-4682-A17B-77D3664333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D44FA2-2035-54E7-FF17-D905CC9A5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9F4F9C-2CED-EDF3-98ED-8C5799BA1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67A5B3-7457-A139-562E-A4DD4113D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8743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9A913-D075-D0E7-9E71-72AC824BB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C48FD4-8057-FCEF-1B2E-291075AC8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B4E46-C4C7-B4C0-3D67-D721AC063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302816-666D-F568-1BA4-B7F51977B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580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FC78B9-789B-BF43-E211-6FCCB3E63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D0A100-B49D-EDD5-2289-CAF9F4D9A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0E4942-B080-FF0B-9FA5-3D02346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2497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56F82-3177-38DF-AD98-C6D0847D2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E85DD2-4EBF-D432-685F-ACF20F819B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0609FC-CFFF-6DE5-1A5D-B36DE8E4CB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0BE5E-966F-459B-7FE8-0A4D01ED6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7FE2DD-20E3-1E36-F9DD-85F26BC92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81F18B-DE28-CAFD-132E-D4A5C7994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628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E1DEA-1C29-BC5C-6922-C95D9D528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625402-EE25-43BC-64D2-BE7FA78ADE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5EFB06-0C28-A1DE-F97C-FEB03483CC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690361-CFC7-1041-F482-285F7F281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90E8C-6B26-4A54-9925-69A9403F4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689E4C-AB86-4D03-0587-2B333CC5C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256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FDE12308-6C94-D958-9BAF-F30149777E8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2736D-F731-E45E-CFCF-FF5DBA2B2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6F8DC0-C4D8-FAE9-2BDD-CC7A7E7080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20A8E6-F1FB-196E-F750-05F9EE747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8BCD97-16E7-614C-41B4-70EC1501A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116FF5-EDCD-093D-F1AE-EE044D25F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628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B07D67-6A8E-410C-4496-0185737063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37F647-8283-21D5-2B07-783D00ABF5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5C1C00-F6EF-D904-7C70-FB3BAAA92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8AF978-9500-73A7-4BF9-11BB4B9C1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D00FC-DD9C-35D7-3010-12AC4980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82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1ED8F-37A0-FD05-ED65-F00A51C4FB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B8D62F-DDDF-6C7E-C336-58DC722741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98F86-BE52-F885-6112-4582465B4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D883D-A8E4-4393-6DFA-9DF46E7F3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5D197-AD8C-8BA3-35A0-2827BACF7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64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08ED1-0EB0-1346-1160-4920F5BA1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1CC97F-315C-CED1-93CD-810718E1F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B26103-912D-BEA6-33F7-214582454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4797E-0555-D779-3FA4-BE18F677F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EAADA3-7EA4-EA39-819F-118BD7D65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805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E200-276B-0DB4-168F-5B2C9F70C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A994FC-946E-A120-B2F0-7A1D75456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D4BC8-30C0-0BC6-F345-68FEEF482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852D49-D1B6-5C28-A48B-BE647C9A3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694FD-4275-E4D6-52CC-750ADA6B1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71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A2A67-38F7-92A0-3004-4AB1A0721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E497E-FC0F-B3E9-BBE3-1717212C9F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349F3-0D0D-D54B-AC45-CDF6642BE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BCD7E7-18FA-621C-126F-EE5C349DE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2AE281-FDAA-DCD7-A77C-2FA12DC93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EDF68-0B7B-F9F4-D94C-0913638DB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253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0467F-4808-082A-372C-3DAC90339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56ADFB-A5CD-1A0E-CE0A-5BADB5310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CC918E-9C06-82EB-D74F-CA32841EA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9EE239-B503-4669-2AA1-8A4F085646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DF8822-1F2C-4001-A7AD-4407D693EE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0B449C-B194-65C6-BA0F-1D1D90BE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C0BC912-4C43-297C-1C63-54DF739CC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E93CAA-B682-DC20-4E91-9E768D753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062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836E3-059C-A968-BACA-DA582E895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CD007A-ECE2-FC77-04BD-66CE7A06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DC97A4-3037-A42D-3A5A-ABB41A19C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D24A8-2810-7909-BE50-9D7E69407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5763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D32AF9-FDC0-11D8-046C-57B0164A3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C2A192-3FBD-48E8-2FDA-11D1DAFA9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C4C954-1340-1814-5685-AD52802CD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171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5033-C053-B0DB-4E1D-1638735E4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F3AD76-9CE6-D31D-F8F1-F0BBC4586F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79628-C0AB-46FC-64A8-D228C78C32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CB9E9D-4322-2A0F-302F-7C14B8843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68D7D5-3E93-9894-8E68-7B4D48B1F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F5936C-6A61-0DB6-6AC9-6FD58BFAE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031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29"/>
          <p:cNvSpPr/>
          <p:nvPr/>
        </p:nvSpPr>
        <p:spPr>
          <a:xfrm>
            <a:off x="-25" y="0"/>
            <a:ext cx="9144020" cy="34290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968763A4-473B-82CD-4B87-FD57ED1F6F2A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F03D0-C52B-3EE5-58D0-9F777EAD4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017EF9-4649-2F07-25F7-7F3A1537DA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71C39F-74C0-418D-D024-DC621DE09E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102A3E-5FBD-38F2-C43D-74F2391E7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58EBD5-8CF9-75EB-9175-45E7F5817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F761F-5BEE-4F3D-60C2-286E01390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79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BE986-C7FB-0F77-B0C4-5E10A9167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2595D4-0147-3115-2679-4008553498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2617F6-2B3E-6BF2-4C98-D9EA187E9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B0D6BC-8650-87C9-31D5-F0ED4177C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BB7E0-BC02-19A6-15CE-6B435E2BA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AA2000-6FDE-52C7-866C-0E4F9DADBD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32355F-6316-BCC8-3B16-E03BF7A17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2ECD9-598A-BE6C-A48D-6E69711C2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E14209-2C1B-7053-BC7D-79BB87A47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0468B-DD4C-3C1E-F99C-BF004F168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2288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239F4-AB6D-F996-9659-F62F1F4EBE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0D011-1AF7-6B86-E665-008F062D75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46223D-76D8-FE61-D792-AE4A74586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7B72D9-05E2-2B5E-658C-139875C28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1959D-9848-ACFF-4E27-0E9454268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52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EEFC7-D16B-CE0A-A359-1F8D87DA1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0BAF44-9A91-DC26-5116-2FC7BBE905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C3F22-0044-6EE2-52E5-7440363C0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828ABC-BF71-3BD4-1D38-BAE637FE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AC2BA-19AE-6249-442A-4892A2490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4395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D39B2-271D-F8F0-1CB9-59432EC5A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CDCC95-488E-A1EF-8EB0-5959C26896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6E378-F7E6-B211-FE70-6062962BE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12B164-9BD3-EA1B-8381-A7D994C9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F9531-878B-BB16-F835-64ABDF530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999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AD43B-38A0-C900-53BE-6F44D4EA2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9CD65-1930-1BC3-49EF-8C182FA36B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7CC9E-E68E-81F3-7D95-FD6D5624A4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433982-389C-7E15-1037-D9F2EABFF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DBA736-C335-D3FD-959F-49A398319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55C5B-F26F-7750-AF23-FCDD3B331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6373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380DD-DF8C-65C2-E616-6DB26363D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A571E-00B6-EF64-5EDE-FEECA2810C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4174C8-21C3-F5D6-DFDE-388B9D7C90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C53B75-1505-50CC-A8A8-DFD879E6C4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25C861-A8BF-8EC7-F2D5-2992295547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8ADF28-ED61-8E4F-9651-708D5ABF2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AED96-D2DB-0FC2-C22C-C4705DC02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062D25-6A8C-C747-5850-7B1EEF34E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255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08EEB-FD0C-CB76-9820-BB3D4FB47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9B7D7F-80C7-F253-128B-5DC1D1EE9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705AD3-6F29-92ED-9316-FEF9A7B70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AC56E2-0D61-090E-0264-A1FAE246B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2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7644C5-040F-7227-46E6-911CE3C23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B5E823-8CB6-7A2E-57FD-9F2554D71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C2F22-3BDB-E1B2-053E-B6E707049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398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305;p30">
            <a:extLst>
              <a:ext uri="{FF2B5EF4-FFF2-40B4-BE49-F238E27FC236}">
                <a16:creationId xmlns:a16="http://schemas.microsoft.com/office/drawing/2014/main" id="{A3514287-956B-C31A-8FA7-E5A8BE1F0602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6018-23FC-5D73-3E05-249037F96CCE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B568B-4D55-9778-2D1C-656E48AC4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ED36D2-D215-87FE-18A3-822CA0EB8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6C725-A113-B43D-9AEA-0389D62B00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56883D-D3DD-7C3A-1ACC-B9631E9E9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42BD48-ECC8-B632-14B8-EBACC0184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1590E7-014F-FCE6-708C-35C37FAC5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0508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72116-3A2F-4042-7BD0-09CCE79AC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691A3-D63E-F536-CC10-59399920D7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5DED29-7CB2-12AE-5A12-94E28A4C27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3940B2-FBE2-9AF9-D00A-D146EECA4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EC7C57-347D-6C40-0027-694DAE07E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0F7E5D-597A-080E-51EE-D0A195290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142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AE077-83E0-FFE0-A3A4-1E958B635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BE1D43-BF55-B5F4-CA11-A2968842A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886BF7-19AC-2F18-0ABD-9087DEDE5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BA0D4-3BDF-7A57-60CC-5DD41233C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4E917-73AE-2C02-1CF1-4D1F8F913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238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77EC88-8BD3-3802-10E4-FBE2440672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48A54D-8CAC-BC51-DAEE-D9AA0CF5AF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E06B7B-D022-D1FE-AE82-C8CC8F258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652CB-56DE-E28E-FD4A-B56B24709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D75BF-4E03-43E9-1969-AFC7D92A6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624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30"/>
          <p:cNvSpPr/>
          <p:nvPr/>
        </p:nvSpPr>
        <p:spPr>
          <a:xfrm>
            <a:off x="-25" y="0"/>
            <a:ext cx="914402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311B74-3FC9-A7C0-BB18-C88B2B1067A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43986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A7B9FC-6F4B-2791-E046-09B0BA18A5D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4875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1_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3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DC5FECB-D53B-9237-CA0F-DA10A372CF9D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oogle Shape;297;p30">
            <a:extLst>
              <a:ext uri="{FF2B5EF4-FFF2-40B4-BE49-F238E27FC236}">
                <a16:creationId xmlns:a16="http://schemas.microsoft.com/office/drawing/2014/main" id="{59BB34DC-1858-8E04-A306-DF23418681B5}"/>
              </a:ext>
            </a:extLst>
          </p:cNvPr>
          <p:cNvSpPr/>
          <p:nvPr userDrawn="1"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rgbClr val="B6ECB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3A0AE-E566-CAA4-9906-C9A3CBFAA0EF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2586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 preserve="1">
  <p:cSld name="Background 1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57D7DF2-3453-2DCB-DE24-848A2D3E8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9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D7DF2-3453-2DCB-DE24-848A2D3E8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30"/>
          <p:cNvSpPr/>
          <p:nvPr/>
        </p:nvSpPr>
        <p:spPr>
          <a:xfrm>
            <a:off x="0" y="0"/>
            <a:ext cx="9144000" cy="731520"/>
          </a:xfrm>
          <a:custGeom>
            <a:avLst/>
            <a:gdLst/>
            <a:ahLst/>
            <a:cxnLst/>
            <a:rect l="l" t="t" r="r" b="b"/>
            <a:pathLst>
              <a:path w="43778" h="1407" extrusionOk="0">
                <a:moveTo>
                  <a:pt x="0" y="0"/>
                </a:moveTo>
                <a:lnTo>
                  <a:pt x="0" y="1406"/>
                </a:lnTo>
                <a:lnTo>
                  <a:pt x="43777" y="1406"/>
                </a:lnTo>
                <a:lnTo>
                  <a:pt x="4377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97D7BCF-78C1-FAE8-055F-B4FBBAB6F02F}"/>
              </a:ext>
            </a:extLst>
          </p:cNvPr>
          <p:cNvCxnSpPr/>
          <p:nvPr userDrawn="1"/>
        </p:nvCxnSpPr>
        <p:spPr>
          <a:xfrm>
            <a:off x="0" y="4746821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03D7E0-658F-52A5-E51F-4E1C87647A4C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14566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4CCFF40-86CA-9A90-89CB-D930D8DCF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479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32" imgH="530" progId="TCLayout.ActiveDocument.1">
                  <p:embed/>
                </p:oleObj>
              </mc:Choice>
              <mc:Fallback>
                <p:oleObj name="think-cell Slide" r:id="rId12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CCFF40-86CA-9A90-89CB-D930D8DCF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4300" y="549600"/>
            <a:ext cx="7715400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4300" y="1152475"/>
            <a:ext cx="77154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●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○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11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Montserrat"/>
              <a:buChar char="■"/>
              <a:defRPr sz="13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A17887-8966-508B-04A5-824890805B93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8" r:id="rId3"/>
    <p:sldLayoutId id="2147483675" r:id="rId4"/>
    <p:sldLayoutId id="2147483676" r:id="rId5"/>
    <p:sldLayoutId id="2147483680" r:id="rId6"/>
    <p:sldLayoutId id="2147483734" r:id="rId7"/>
    <p:sldLayoutId id="2147483733" r:id="rId8"/>
    <p:sldLayoutId id="2147483681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BA2D90D-5071-3C7F-1F8A-58A00D75FC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719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A2D90D-5071-3C7F-1F8A-58A00D75F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2B4586-195B-90D9-DD79-342227848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A21E3-472B-FBCC-1F5E-051479457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4F65C-CEA8-AF0C-5903-075A8A7A8E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B3FC86-5CDF-83CF-60FD-8A27165A2B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3315A-B143-2DB2-B2B9-D99D6DE7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91DA2-487A-48E0-B3E9-820EAE259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79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0A1A10-6662-2AE2-64D8-0C53E07BC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84560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A1A10-6662-2AE2-64D8-0C53E07BCC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F49B61-49C0-92DC-CF0C-D3C322901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73CFCD-BD28-7889-6264-5145DD0B74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DC465-DBB3-D225-D3B3-5D2FF1A8D0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05240-BF84-498F-139F-4C194D6C8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5B0DE-593A-282E-787A-7187A245E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C20CD1-084C-4CA9-A30F-E30158BA89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12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60F1DF-B3EA-9D95-69B4-EB288841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6411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0F1DF-B3EA-9D95-69B4-EB288841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A1972D-CB5A-D338-BDC4-717793642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C0F40-83A4-ACD8-9019-AC4FCF5FDE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A39998-CDF9-B569-0BD7-EB116D7FC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371A4-AE5D-E3C4-63E6-F1398B6E3D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1446D-DAAF-C809-F736-48AB08523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DB0CA2-8EB3-4FB5-ACC1-672F73A34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87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4A2810-08DE-457A-C037-03577E814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1882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4A2810-08DE-457A-C037-03577E814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4CA2C6-767A-FE9C-DAFC-F2B38488B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73A54-8602-3DAA-0E8E-6A7759D31A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20C3C0-5BDD-CA71-23DB-1F8E02FC8E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13BE8-22CC-46D6-E7CF-E28F56D07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FB72D-EA3D-E5A1-2FEB-EA9AE306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E845DA-5B69-438A-A3A0-90F63D5525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62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21" Type="http://schemas.openxmlformats.org/officeDocument/2006/relationships/tags" Target="../tags/tag104.xml"/><Relationship Id="rId34" Type="http://schemas.openxmlformats.org/officeDocument/2006/relationships/oleObject" Target="../embeddings/oleObject16.bin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notesSlide" Target="../notesSlides/notesSlide9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slideLayout" Target="../slideLayouts/slideLayout5.xml"/><Relationship Id="rId37" Type="http://schemas.openxmlformats.org/officeDocument/2006/relationships/chart" Target="../charts/chart10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chart" Target="../charts/chart9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image" Target="../media/image2.emf"/><Relationship Id="rId8" Type="http://schemas.openxmlformats.org/officeDocument/2006/relationships/tags" Target="../tags/tag91.xml"/><Relationship Id="rId3" Type="http://schemas.openxmlformats.org/officeDocument/2006/relationships/tags" Target="../tags/tag8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6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7.xml"/><Relationship Id="rId6" Type="http://schemas.openxmlformats.org/officeDocument/2006/relationships/chart" Target="../charts/chart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9.xml"/><Relationship Id="rId6" Type="http://schemas.openxmlformats.org/officeDocument/2006/relationships/image" Target="../media/image2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0.xml"/><Relationship Id="rId6" Type="http://schemas.openxmlformats.org/officeDocument/2006/relationships/chart" Target="../charts/chart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2.xml"/><Relationship Id="rId6" Type="http://schemas.openxmlformats.org/officeDocument/2006/relationships/image" Target="../media/image2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3.x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4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0.xml"/><Relationship Id="rId6" Type="http://schemas.openxmlformats.org/officeDocument/2006/relationships/image" Target="../media/image29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4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5.x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6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.emf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7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.emf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8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.emf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" Type="http://schemas.openxmlformats.org/officeDocument/2006/relationships/tags" Target="../tags/tag15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notesSlide" Target="../notesSlides/notesSlide5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chart" Target="../charts/chart2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chart" Target="../charts/chart1.xml"/><Relationship Id="rId10" Type="http://schemas.openxmlformats.org/officeDocument/2006/relationships/tags" Target="../tags/tag22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image" Target="../media/image2.emf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chart" Target="../charts/chart5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slideLayout" Target="../slideLayouts/slideLayout5.xml"/><Relationship Id="rId28" Type="http://schemas.openxmlformats.org/officeDocument/2006/relationships/chart" Target="../charts/chart4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chart" Target="../charts/char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2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56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notesSlide" Target="../notesSlides/notesSlide8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slideLayout" Target="../slideLayouts/slideLayout5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chart" Target="../charts/chart7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image" Target="../media/image2.emf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oleObject" Target="../embeddings/oleObject15.bin"/><Relationship Id="rId30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FFB782-796B-7F40-EEAB-5FB33E92F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98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FFB782-796B-7F40-EEAB-5FB33E92F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3">
            <a:extLst>
              <a:ext uri="{FF2B5EF4-FFF2-40B4-BE49-F238E27FC236}">
                <a16:creationId xmlns:a16="http://schemas.microsoft.com/office/drawing/2014/main" id="{C3830DD9-D472-F8F4-4799-5123DC7D9DB6}"/>
              </a:ext>
            </a:extLst>
          </p:cNvPr>
          <p:cNvSpPr/>
          <p:nvPr/>
        </p:nvSpPr>
        <p:spPr>
          <a:xfrm rot="16200000">
            <a:off x="4500693" y="-1691663"/>
            <a:ext cx="2664834" cy="6621780"/>
          </a:xfrm>
          <a:prstGeom prst="round2SameRect">
            <a:avLst>
              <a:gd name="adj1" fmla="val 49647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0003" tIns="80001" rIns="160003" bIns="80001" rtlCol="0" anchor="ctr"/>
          <a:lstStyle/>
          <a:p>
            <a:pPr algn="ctr" defTabSz="1200241"/>
            <a:endParaRPr lang="en-US" sz="3150">
              <a:solidFill>
                <a:srgbClr val="FFFFFF"/>
              </a:solidFill>
            </a:endParaRPr>
          </a:p>
        </p:txBody>
      </p:sp>
      <p:sp>
        <p:nvSpPr>
          <p:cNvPr id="395" name="Google Shape;395;p33"/>
          <p:cNvSpPr txBox="1">
            <a:spLocks noGrp="1"/>
          </p:cNvSpPr>
          <p:nvPr>
            <p:ph type="ctrTitle"/>
          </p:nvPr>
        </p:nvSpPr>
        <p:spPr>
          <a:xfrm>
            <a:off x="2522220" y="590400"/>
            <a:ext cx="6621780" cy="198135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Group Project 1</a:t>
            </a:r>
            <a:br>
              <a:rPr lang="en-US"/>
            </a:br>
            <a:br>
              <a:rPr lang="en-US"/>
            </a:br>
            <a:r>
              <a:rPr lang="en-US" sz="4000"/>
              <a:t>BAN 5763, Spring 2024</a:t>
            </a:r>
            <a:endParaRPr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05174B72-DA4B-74A5-D1E1-FD3E2B58C9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8711" y="3171016"/>
            <a:ext cx="5219700" cy="713766"/>
          </a:xfrm>
        </p:spPr>
        <p:txBody>
          <a:bodyPr/>
          <a:lstStyle/>
          <a:p>
            <a:pPr marL="0" indent="0" algn="ctr">
              <a:lnSpc>
                <a:spcPct val="150000"/>
              </a:lnSpc>
            </a:pPr>
            <a:r>
              <a:rPr lang="en-US" sz="20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Customer Lifetime Value Analysi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9984D1-2C54-3088-E118-735368F69FAB}"/>
              </a:ext>
            </a:extLst>
          </p:cNvPr>
          <p:cNvSpPr txBox="1"/>
          <p:nvPr/>
        </p:nvSpPr>
        <p:spPr>
          <a:xfrm>
            <a:off x="518400" y="3794148"/>
            <a:ext cx="7581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SFRR Analytics </a:t>
            </a:r>
            <a:br>
              <a:rPr lang="en-US" sz="24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</a:br>
            <a:r>
              <a:rPr lang="en-US" sz="12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Shreyan Datta Chakraborty</a:t>
            </a:r>
          </a:p>
          <a:p>
            <a:r>
              <a:rPr lang="en-US" sz="12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Roe Djer Tan</a:t>
            </a:r>
          </a:p>
          <a:p>
            <a:r>
              <a:rPr lang="en-US" sz="12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Frankle Muchahary</a:t>
            </a:r>
          </a:p>
          <a:p>
            <a:r>
              <a:rPr lang="en-US" sz="1200">
                <a:solidFill>
                  <a:schemeClr val="tx1">
                    <a:lumMod val="50000"/>
                  </a:schemeClr>
                </a:solidFill>
                <a:latin typeface="Alata" panose="020B0604020202020204" charset="0"/>
              </a:rPr>
              <a:t>Ritwik Roy Chowdhury</a:t>
            </a:r>
            <a:endParaRPr lang="en-US" sz="1200">
              <a:latin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422633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95830A-3C29-2D2F-EEFC-13C081CD3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0CD1331-E7AA-26AB-E49A-DD29D3C58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57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81" imgH="281" progId="TCLayout.ActiveDocument.1">
                  <p:embed/>
                </p:oleObj>
              </mc:Choice>
              <mc:Fallback>
                <p:oleObj name="think-cell Slide" r:id="rId3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D1331-E7AA-26AB-E49A-DD29D3C58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27C6FB64-4850-309D-614C-5198A2A6CD41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Older Age Groups: Higher proportion of upper tier custome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4A5659-F3A7-A340-8400-C24A94615DDA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0</a:t>
            </a:fld>
            <a:endParaRPr lang="en"/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247F2695-EB7B-6D88-970B-0BDD9C1FCDB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115316"/>
              </p:ext>
            </p:extLst>
          </p:nvPr>
        </p:nvGraphicFramePr>
        <p:xfrm>
          <a:off x="446088" y="3400425"/>
          <a:ext cx="5595937" cy="1344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4" name="Google Shape;7;p1">
            <a:extLst>
              <a:ext uri="{FF2B5EF4-FFF2-40B4-BE49-F238E27FC236}">
                <a16:creationId xmlns:a16="http://schemas.microsoft.com/office/drawing/2014/main" id="{01414C3A-E55E-3D2C-B384-BF48D07683AA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54050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F98820-3BE2-4896-94F2-011AA3A058DD}" type="datetime'1''''''''''''''8''-2''4'''' ''y''ear''s o''''ld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-2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Google Shape;7;p1">
            <a:extLst>
              <a:ext uri="{FF2B5EF4-FFF2-40B4-BE49-F238E27FC236}">
                <a16:creationId xmlns:a16="http://schemas.microsoft.com/office/drawing/2014/main" id="{70F047BB-8664-24D8-2A91-64DED4E0C40A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30338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45A052-A4C1-49EE-ACA8-E23756F07271}" type="datetime'''25''''''''-''''''''''''''34 ye''''''''''a''rs o''''''''''ld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-3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7;p1">
            <a:extLst>
              <a:ext uri="{FF2B5EF4-FFF2-40B4-BE49-F238E27FC236}">
                <a16:creationId xmlns:a16="http://schemas.microsoft.com/office/drawing/2014/main" id="{534EE0CA-F211-DDA5-FAC6-827637412DB3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05038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A90F13-9F77-43C4-8E60-6C5BBBAD4A96}" type="datetime'''35-''44'' ''ye''''''''a''''r''''''''''s ''''''o''''''l''d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-4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2E1E0DFE-C927-A823-E6AB-D05EBF6321EB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81325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C11C64-F084-4E95-A568-9F004A53A2D3}" type="datetime'45''-54'''''''''''''''''''' ''y''e''ars o''''ld''''''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5-5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Google Shape;7;p1">
            <a:extLst>
              <a:ext uri="{FF2B5EF4-FFF2-40B4-BE49-F238E27FC236}">
                <a16:creationId xmlns:a16="http://schemas.microsoft.com/office/drawing/2014/main" id="{76B336F0-3A41-44F9-90A8-0694D9EF4E73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57613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52745E-44AD-4C3B-9074-0486A39A41E7}" type="datetime'''''''''55-6''4'''' y''''e''ar''s'' ''''''''o''l''''d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-6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Google Shape;7;p1">
            <a:extLst>
              <a:ext uri="{FF2B5EF4-FFF2-40B4-BE49-F238E27FC236}">
                <a16:creationId xmlns:a16="http://schemas.microsoft.com/office/drawing/2014/main" id="{67B4AD5E-AE12-940C-1DBA-B3FD4D01C90E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33900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E1E1F1-EB2B-4AAF-A0C5-0BF61DA04D6A}" type="datetime'''''''65''''''''''-7''4'' y''ear''''''''s'''' ol''''''''d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5-7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Google Shape;7;p1">
            <a:extLst>
              <a:ext uri="{FF2B5EF4-FFF2-40B4-BE49-F238E27FC236}">
                <a16:creationId xmlns:a16="http://schemas.microsoft.com/office/drawing/2014/main" id="{0DBA498F-D5F6-582F-F32F-90509631B6EE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83188" y="4705350"/>
            <a:ext cx="774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B506C6-03AB-48D3-B713-093B5EF65DFD}" type="datetime'7''''''5''+ ''''''''''y''''''ears'''' ol''''''''''d''''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+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Google Shape;7;p1">
            <a:extLst>
              <a:ext uri="{FF2B5EF4-FFF2-40B4-BE49-F238E27FC236}">
                <a16:creationId xmlns:a16="http://schemas.microsoft.com/office/drawing/2014/main" id="{A7AF659D-B4AB-E300-B75A-DAA6B603C384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28675" y="4492625"/>
            <a:ext cx="1762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2C25452-2BB6-4964-8B24-AC45FEDDA7CC}" type="datetime'''''''''''''''''''''''1''''''''''''%''''''''''''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Google Shape;7;p1">
            <a:extLst>
              <a:ext uri="{FF2B5EF4-FFF2-40B4-BE49-F238E27FC236}">
                <a16:creationId xmlns:a16="http://schemas.microsoft.com/office/drawing/2014/main" id="{CB477713-BCC1-086B-B296-A154E4B0A00C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04963" y="4179888"/>
            <a:ext cx="1762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26938E6-B4B6-452A-BCC5-083E7A1FC0F5}" type="datetime'''''''''''''''''''''''7''''%''''''''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1">
            <a:extLst>
              <a:ext uri="{FF2B5EF4-FFF2-40B4-BE49-F238E27FC236}">
                <a16:creationId xmlns:a16="http://schemas.microsoft.com/office/drawing/2014/main" id="{2E419DE2-EDAA-404E-87A7-E5E1C3630947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51088" y="370205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E82B6E-A5DC-4E22-B447-FD3D2E04FE20}" type="datetime'''''''''''''''16''''''''%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Google Shape;7;p1">
            <a:extLst>
              <a:ext uri="{FF2B5EF4-FFF2-40B4-BE49-F238E27FC236}">
                <a16:creationId xmlns:a16="http://schemas.microsoft.com/office/drawing/2014/main" id="{4E0B4760-B77F-CED3-6C63-8AA557F747E1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27375" y="3421063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455B3-ED83-43AE-9319-EFCA2C2BC71D}" type="datetime'''''''''''2''''''''''''''''1%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Google Shape;7;p1">
            <a:extLst>
              <a:ext uri="{FF2B5EF4-FFF2-40B4-BE49-F238E27FC236}">
                <a16:creationId xmlns:a16="http://schemas.microsoft.com/office/drawing/2014/main" id="{4827F8C0-FE98-B222-DC32-4331D751D0AA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03663" y="3348038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DA3AC7-45CE-4ED4-BB96-B9595FB0EE8E}" type="datetime'''''''''2''''''''''''''''3''''''''''''%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E064DBE2-BA12-5167-2900-D88BF34C6988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79950" y="3579813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BAFCE2-96BE-47DC-8E8C-1C13B8C6CB26}" type="datetime'''''''''''18''''''''''''''''''''''''''''''''''''''''''''''''%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Google Shape;7;p1">
            <a:extLst>
              <a:ext uri="{FF2B5EF4-FFF2-40B4-BE49-F238E27FC236}">
                <a16:creationId xmlns:a16="http://schemas.microsoft.com/office/drawing/2014/main" id="{CB0C063C-F12E-7437-E94A-5523DB42C99D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54650" y="3813175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B0938E-B4D4-4B33-A303-78C13F6E53A2}" type="datetime'''''''''1''''4''''''''''''''''''''''''''''''''''''%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ED8D5C2-52B5-4AE7-4182-C60FB397C0AF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29648315"/>
              </p:ext>
            </p:extLst>
          </p:nvPr>
        </p:nvGraphicFramePr>
        <p:xfrm>
          <a:off x="444500" y="1119188"/>
          <a:ext cx="5595938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91" name="Google Shape;7;p1">
            <a:extLst>
              <a:ext uri="{FF2B5EF4-FFF2-40B4-BE49-F238E27FC236}">
                <a16:creationId xmlns:a16="http://schemas.microsoft.com/office/drawing/2014/main" id="{0195CDD6-58EF-8453-7B61-5140CE5E024B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2463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EF09C3-8D81-4424-A044-AE7BEDE70408}" type="datetime'1''''''8''''''-''''''24'' ''''ye''''''''''a''rs ''ol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-2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" name="Google Shape;7;p1">
            <a:extLst>
              <a:ext uri="{FF2B5EF4-FFF2-40B4-BE49-F238E27FC236}">
                <a16:creationId xmlns:a16="http://schemas.microsoft.com/office/drawing/2014/main" id="{73DBA3A4-C447-9C2A-C5E9-8A8E1E0D1ED1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28750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9DE8B3-4A5C-4D2B-A781-9796E4837615}" type="datetime'2''''''5-''34'''''''' ye''ars'''' ''''''o''''''''''l''''''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-3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" name="Google Shape;7;p1">
            <a:extLst>
              <a:ext uri="{FF2B5EF4-FFF2-40B4-BE49-F238E27FC236}">
                <a16:creationId xmlns:a16="http://schemas.microsoft.com/office/drawing/2014/main" id="{B0AE4398-ED1E-94BB-1302-93592165D71C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203450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F0EB30-3446-48AF-8D49-FE76B6CA7BEA}" type="datetime'''35-''''''4''4'''''''' ''ye''''''''a''''''r''s o''''l''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-4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4" name="Google Shape;7;p1">
            <a:extLst>
              <a:ext uri="{FF2B5EF4-FFF2-40B4-BE49-F238E27FC236}">
                <a16:creationId xmlns:a16="http://schemas.microsoft.com/office/drawing/2014/main" id="{1E42E34B-6A90-4E88-F04E-C61C6BBB53FB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79738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809D38-9B39-47BC-8E78-7201B97FAE37}" type="datetime'4''''5''-54 ''''''y''''''''e''a''r''''''s'''' ''ol''''''''d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5-5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Google Shape;7;p1">
            <a:extLst>
              <a:ext uri="{FF2B5EF4-FFF2-40B4-BE49-F238E27FC236}">
                <a16:creationId xmlns:a16="http://schemas.microsoft.com/office/drawing/2014/main" id="{F12409CF-AF72-5606-9793-2429A680A11B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56025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90E168-91BB-43A3-BF6B-88EFE1DC33EE}" type="datetime'5''''''''5-''64'''''' ''''''''y''''''e''a''''rs ''o''''''''ld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-6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6" name="Google Shape;7;p1">
            <a:extLst>
              <a:ext uri="{FF2B5EF4-FFF2-40B4-BE49-F238E27FC236}">
                <a16:creationId xmlns:a16="http://schemas.microsoft.com/office/drawing/2014/main" id="{3227A88C-5D3D-3ED0-152C-EA23462C57C9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532313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37D758-AAE3-4CC8-958B-4A49976A5BE3}" type="datetime'''''''6''''5''-74'''' y''e''a''rs'''''''''''''' o''ld''''''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5-7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7" name="Google Shape;7;p1">
            <a:extLst>
              <a:ext uri="{FF2B5EF4-FFF2-40B4-BE49-F238E27FC236}">
                <a16:creationId xmlns:a16="http://schemas.microsoft.com/office/drawing/2014/main" id="{BE5FE4B2-6771-8958-CF05-30948306A599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181600" y="2379663"/>
            <a:ext cx="774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A6A375-F1AA-425E-99D5-BE7B1BC23636}" type="datetime'7''5''''''+'''' ''''ye''''''a''r''''s'''''''' ''ol''''d''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+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Google Shape;7;p1">
            <a:extLst>
              <a:ext uri="{FF2B5EF4-FFF2-40B4-BE49-F238E27FC236}">
                <a16:creationId xmlns:a16="http://schemas.microsoft.com/office/drawing/2014/main" id="{D137DEF7-61A6-F34A-E856-E81B1B742E00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7088" y="2193925"/>
            <a:ext cx="1762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16852BE-7392-4E38-A528-64E513A6FBBC}" type="datetime'''''''''''''''''''''''''''''0''''''''%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Google Shape;7;p1">
            <a:extLst>
              <a:ext uri="{FF2B5EF4-FFF2-40B4-BE49-F238E27FC236}">
                <a16:creationId xmlns:a16="http://schemas.microsoft.com/office/drawing/2014/main" id="{69647926-DABC-983F-63DF-82615DC02F4E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603375" y="2068513"/>
            <a:ext cx="1762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C34C54-C02F-4AB6-876A-DC97A51C803B}" type="datetime'''''''3''''''''''''''''''''''''''''''''''%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Google Shape;7;p1">
            <a:extLst>
              <a:ext uri="{FF2B5EF4-FFF2-40B4-BE49-F238E27FC236}">
                <a16:creationId xmlns:a16="http://schemas.microsoft.com/office/drawing/2014/main" id="{5FDB99A5-D492-3FF1-8AAD-68089852B657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349500" y="1755775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479433-B4F8-44AB-8218-41594915FE64}" type="datetime'1''''1''''''''''''''%''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" name="Google Shape;7;p1">
            <a:extLst>
              <a:ext uri="{FF2B5EF4-FFF2-40B4-BE49-F238E27FC236}">
                <a16:creationId xmlns:a16="http://schemas.microsoft.com/office/drawing/2014/main" id="{49E67748-1917-51E0-B6C5-3C1782255F34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125788" y="1344613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FFD0A5-B9E7-4A66-BA48-A3CAA32A6560}" type="datetime'''''''''''''''''''''''''''2''''1''''%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Google Shape;7;p1">
            <a:extLst>
              <a:ext uri="{FF2B5EF4-FFF2-40B4-BE49-F238E27FC236}">
                <a16:creationId xmlns:a16="http://schemas.microsoft.com/office/drawing/2014/main" id="{5A983BB5-FF09-C309-6A02-6CACB60A2903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902075" y="106680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623CD1E-C010-4E4B-BAD8-CFF3C0645DFA}" type="datetime'''''''''''''''''2''''''''''''''''''''''''''''7%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Google Shape;7;p1">
            <a:extLst>
              <a:ext uri="{FF2B5EF4-FFF2-40B4-BE49-F238E27FC236}">
                <a16:creationId xmlns:a16="http://schemas.microsoft.com/office/drawing/2014/main" id="{43F81FB7-0C26-AEB5-9221-4A3EDAC10F82}"/>
              </a:ext>
            </a:extLst>
          </p:cNvPr>
          <p:cNvSpPr txBox="1"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678363" y="128905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68FE77-A6BF-4335-9B47-0097A00D1865}" type="datetime'''''''''''''''''''''''''''2''''''2''%''''''''''''''''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Google Shape;7;p1">
            <a:extLst>
              <a:ext uri="{FF2B5EF4-FFF2-40B4-BE49-F238E27FC236}">
                <a16:creationId xmlns:a16="http://schemas.microsoft.com/office/drawing/2014/main" id="{B3D6589B-33C3-E1A9-F8D7-42C49672C213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53063" y="153670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2289BA-76C6-4287-B76A-83ED7C730F1E}" type="datetime'''''16''''''''''''''''''''''''''%'''''''''''''''''''''''''">
              <a:rPr lang="en-US" altLang="en-US" sz="8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%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7E180D42-E200-737B-7545-01FFC6EA8AEC}"/>
              </a:ext>
            </a:extLst>
          </p:cNvPr>
          <p:cNvSpPr txBox="1"/>
          <p:nvPr/>
        </p:nvSpPr>
        <p:spPr>
          <a:xfrm>
            <a:off x="561127" y="805985"/>
            <a:ext cx="54092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latin typeface="Montserrat" panose="00000500000000000000" pitchFamily="2" charset="0"/>
              </a:rPr>
              <a:t>Diamond Customers vs Age Group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C2291815-FDA1-0AD2-36CD-1A9FC8F7CA4B}"/>
              </a:ext>
            </a:extLst>
          </p:cNvPr>
          <p:cNvSpPr txBox="1"/>
          <p:nvPr/>
        </p:nvSpPr>
        <p:spPr>
          <a:xfrm>
            <a:off x="537845" y="3035628"/>
            <a:ext cx="54092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latin typeface="Montserrat" panose="00000500000000000000" pitchFamily="2" charset="0"/>
              </a:rPr>
              <a:t>Bronze Customers vs Age Group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59F435D-0B3E-39C7-89BB-6FC5443C5360}"/>
              </a:ext>
            </a:extLst>
          </p:cNvPr>
          <p:cNvSpPr/>
          <p:nvPr/>
        </p:nvSpPr>
        <p:spPr>
          <a:xfrm>
            <a:off x="3683651" y="1052403"/>
            <a:ext cx="2471405" cy="1744773"/>
          </a:xfrm>
          <a:prstGeom prst="rect">
            <a:avLst/>
          </a:prstGeom>
          <a:noFill/>
          <a:ln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C1A5F06-8AB6-0790-C756-8CD9791D8B16}"/>
              </a:ext>
            </a:extLst>
          </p:cNvPr>
          <p:cNvSpPr/>
          <p:nvPr/>
        </p:nvSpPr>
        <p:spPr>
          <a:xfrm>
            <a:off x="2002169" y="3322208"/>
            <a:ext cx="1693531" cy="1744773"/>
          </a:xfrm>
          <a:prstGeom prst="rect">
            <a:avLst/>
          </a:prstGeom>
          <a:noFill/>
          <a:ln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Google Shape;1636;p44">
            <a:extLst>
              <a:ext uri="{FF2B5EF4-FFF2-40B4-BE49-F238E27FC236}">
                <a16:creationId xmlns:a16="http://schemas.microsoft.com/office/drawing/2014/main" id="{7827106A-0A2A-1F28-BD57-6D4B88E28C15}"/>
              </a:ext>
            </a:extLst>
          </p:cNvPr>
          <p:cNvSpPr txBox="1"/>
          <p:nvPr/>
        </p:nvSpPr>
        <p:spPr>
          <a:xfrm flipH="1">
            <a:off x="6345012" y="2319367"/>
            <a:ext cx="2417475" cy="2203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Larger proportion of Diamond Customers are older aged 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Lower Tier (Bronze, Silver) customers tend to be on the younger spectrum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4497233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9586CD-4D6B-B55E-F373-CF2BB8ED9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E52B01-35BC-C660-E712-8991D68FCE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47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E52B01-35BC-C660-E712-8991D68FC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5681923-A393-9C6C-B8E6-01FFBF4CB69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57208" y="1639726"/>
            <a:ext cx="7715250" cy="932024"/>
          </a:xfrm>
        </p:spPr>
        <p:txBody>
          <a:bodyPr vert="horz"/>
          <a:lstStyle/>
          <a:p>
            <a:r>
              <a:rPr lang="en-US" sz="4800"/>
              <a:t>PREDICTING CHURN RAT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6E4A1BF-A129-834D-34EC-99D8E33BAA8D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13731D-A6F0-FCF6-7970-04B068C647B1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826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F63AB-40B9-435D-5C46-340255178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27A29CA-27F1-0912-7864-B1E59DBF72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7A29CA-27F1-0912-7864-B1E59DBF72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7192D6D3-83CC-9A91-69EC-0F0A10C2529A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hurn Model – Performance Metr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3BA46A-48AA-A54C-E9C5-94992290D14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2</a:t>
            </a:fld>
            <a:endParaRPr lang="en"/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B0EC5D30-B3B2-FEB8-D4E6-7E71E837D4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374603"/>
              </p:ext>
            </p:extLst>
          </p:nvPr>
        </p:nvGraphicFramePr>
        <p:xfrm>
          <a:off x="574477" y="875633"/>
          <a:ext cx="4472724" cy="1318303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555958">
                  <a:extLst>
                    <a:ext uri="{9D8B030D-6E8A-4147-A177-3AD203B41FA5}">
                      <a16:colId xmlns:a16="http://schemas.microsoft.com/office/drawing/2014/main" val="2349717970"/>
                    </a:ext>
                  </a:extLst>
                </a:gridCol>
                <a:gridCol w="1466205">
                  <a:extLst>
                    <a:ext uri="{9D8B030D-6E8A-4147-A177-3AD203B41FA5}">
                      <a16:colId xmlns:a16="http://schemas.microsoft.com/office/drawing/2014/main" val="667724649"/>
                    </a:ext>
                  </a:extLst>
                </a:gridCol>
                <a:gridCol w="1450561">
                  <a:extLst>
                    <a:ext uri="{9D8B030D-6E8A-4147-A177-3AD203B41FA5}">
                      <a16:colId xmlns:a16="http://schemas.microsoft.com/office/drawing/2014/main" val="2590669039"/>
                    </a:ext>
                  </a:extLst>
                </a:gridCol>
              </a:tblGrid>
              <a:tr h="502526"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Montserrat" panose="00000500000000000000" pitchFamily="2" charset="0"/>
                        </a:rPr>
                        <a:t>Model/Approa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Montserrat" panose="00000500000000000000" pitchFamily="2" charset="0"/>
                        </a:rPr>
                        <a:t>Misclassification Rate</a:t>
                      </a:r>
                      <a:endParaRPr lang="en-IN" sz="1200" b="0" baseline="3000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Montserrat" panose="00000500000000000000" pitchFamily="2" charset="0"/>
                        </a:rPr>
                        <a:t>AUC</a:t>
                      </a:r>
                      <a:endParaRPr lang="en-IN" sz="120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2937491"/>
                  </a:ext>
                </a:extLst>
              </a:tr>
              <a:tr h="389057">
                <a:tc>
                  <a:txBody>
                    <a:bodyPr/>
                    <a:lstStyle/>
                    <a:p>
                      <a:pPr algn="ctr"/>
                      <a:r>
                        <a:rPr lang="en-IN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Logistic 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10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0.91</a:t>
                      </a:r>
                      <a:endParaRPr lang="en-IN" sz="1100" b="1">
                        <a:solidFill>
                          <a:schemeClr val="bg2">
                            <a:lumMod val="50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1776234"/>
                  </a:ext>
                </a:extLst>
              </a:tr>
              <a:tr h="425913"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Gradient Boosted Decision Trees</a:t>
                      </a:r>
                      <a:endParaRPr lang="en-IN" sz="900">
                        <a:solidFill>
                          <a:schemeClr val="bg2">
                            <a:lumMod val="50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8.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0.9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9794943"/>
                  </a:ext>
                </a:extLst>
              </a:tr>
            </a:tbl>
          </a:graphicData>
        </a:graphic>
      </p:graphicFrame>
      <p:pic>
        <p:nvPicPr>
          <p:cNvPr id="35" name="Graphic 34" descr="Ribbon with solid fill">
            <a:extLst>
              <a:ext uri="{FF2B5EF4-FFF2-40B4-BE49-F238E27FC236}">
                <a16:creationId xmlns:a16="http://schemas.microsoft.com/office/drawing/2014/main" id="{7E4B87DB-7A26-0EDE-3599-B1EA89D6B1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41039" y="1694899"/>
            <a:ext cx="499037" cy="499037"/>
          </a:xfrm>
          <a:prstGeom prst="rect">
            <a:avLst/>
          </a:prstGeom>
        </p:spPr>
      </p:pic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63EE0721-C91A-8229-C1CE-25343D4977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0136571"/>
              </p:ext>
            </p:extLst>
          </p:nvPr>
        </p:nvGraphicFramePr>
        <p:xfrm>
          <a:off x="300157" y="2280367"/>
          <a:ext cx="5666303" cy="2579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7" name="Google Shape;1636;p44">
            <a:extLst>
              <a:ext uri="{FF2B5EF4-FFF2-40B4-BE49-F238E27FC236}">
                <a16:creationId xmlns:a16="http://schemas.microsoft.com/office/drawing/2014/main" id="{00C3E22E-8414-784F-4567-49797B84A4A2}"/>
              </a:ext>
            </a:extLst>
          </p:cNvPr>
          <p:cNvSpPr txBox="1"/>
          <p:nvPr/>
        </p:nvSpPr>
        <p:spPr>
          <a:xfrm flipH="1">
            <a:off x="6416040" y="2598078"/>
            <a:ext cx="2427803" cy="1785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Recency is the most important metric for identifying risk of churn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Automated Purchase Schedule also helps identify churn </a:t>
            </a:r>
          </a:p>
          <a:p>
            <a:pPr lvl="0" rtl="0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Mode of Payment also seems to have an impact on churn rate (CK, ET)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38" name="Right Brace 37">
            <a:extLst>
              <a:ext uri="{FF2B5EF4-FFF2-40B4-BE49-F238E27FC236}">
                <a16:creationId xmlns:a16="http://schemas.microsoft.com/office/drawing/2014/main" id="{1DA464C8-F311-0C96-19CF-C56BF7E32F88}"/>
              </a:ext>
            </a:extLst>
          </p:cNvPr>
          <p:cNvSpPr/>
          <p:nvPr/>
        </p:nvSpPr>
        <p:spPr>
          <a:xfrm>
            <a:off x="6057900" y="2598078"/>
            <a:ext cx="358140" cy="1718310"/>
          </a:xfrm>
          <a:prstGeom prst="righ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Google Shape;1636;p44">
            <a:extLst>
              <a:ext uri="{FF2B5EF4-FFF2-40B4-BE49-F238E27FC236}">
                <a16:creationId xmlns:a16="http://schemas.microsoft.com/office/drawing/2014/main" id="{707AEDFD-EE35-C492-FA2F-19ED2F6F7EB8}"/>
              </a:ext>
            </a:extLst>
          </p:cNvPr>
          <p:cNvSpPr txBox="1"/>
          <p:nvPr/>
        </p:nvSpPr>
        <p:spPr>
          <a:xfrm flipH="1">
            <a:off x="5561618" y="1000430"/>
            <a:ext cx="2910840" cy="8115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GBDT - additional 1.4% customers identified correctly</a:t>
            </a: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Can lead to better retention and cost savings during retention campaign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FC407D-98FB-3BF9-F017-E3EDEF82A190}"/>
              </a:ext>
            </a:extLst>
          </p:cNvPr>
          <p:cNvSpPr txBox="1"/>
          <p:nvPr/>
        </p:nvSpPr>
        <p:spPr>
          <a:xfrm>
            <a:off x="122842" y="4946448"/>
            <a:ext cx="44533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Montserrat" panose="00000500000000000000" pitchFamily="2" charset="0"/>
              </a:rPr>
              <a:t>Approach for modeling detailed out in Appendix</a:t>
            </a:r>
          </a:p>
        </p:txBody>
      </p:sp>
    </p:spTree>
    <p:extLst>
      <p:ext uri="{BB962C8B-B14F-4D97-AF65-F5344CB8AC3E}">
        <p14:creationId xmlns:p14="http://schemas.microsoft.com/office/powerpoint/2010/main" val="3674934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240734-5040-9090-CDA1-FA49DF668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A05A3A2-0577-0D31-50C0-740547F832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05A3A2-0577-0D31-50C0-740547F83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57F429D7-919A-7D1D-0C8C-AC885C51E53E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hurn Probability Scores – Group Breakdow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33F5EE-7F56-0A6A-C12A-6B3333362824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3</a:t>
            </a:fld>
            <a:endParaRPr lang="en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A83731C-ED16-C651-A4FC-F9A12EBE74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6330533"/>
              </p:ext>
            </p:extLst>
          </p:nvPr>
        </p:nvGraphicFramePr>
        <p:xfrm>
          <a:off x="740076" y="1051200"/>
          <a:ext cx="7781701" cy="3503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58799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7A122-DED3-9D3C-A441-6238EA770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906B71-5BC9-BC6D-93A2-DF4CD51B32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59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906B71-5BC9-BC6D-93A2-DF4CD51B3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3A09043-CEDB-D1D0-6EC8-86763A3BD34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1174" y="1704528"/>
            <a:ext cx="8306783" cy="867222"/>
          </a:xfrm>
        </p:spPr>
        <p:txBody>
          <a:bodyPr vert="horz"/>
          <a:lstStyle/>
          <a:p>
            <a:r>
              <a:rPr lang="en-US" sz="4800"/>
              <a:t>PREDICTING MARGIN VALU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0874B3F-C5C1-D7C3-1697-1BA189363491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B247BD-BFBF-F644-4D7F-568FBA8132B0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636349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247F97-C02E-2829-29C9-3C5C28CDED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323D7EF-AD78-7971-47D9-EEBC50AF36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23D7EF-AD78-7971-47D9-EEBC50AF36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4253E4AA-EFC3-C052-DF2C-12C7E5BDBA71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Margin Estimation Model – Performance Metric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A48CD6-D78A-1877-0E4C-18797D55330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5</a:t>
            </a:fld>
            <a:endParaRPr lang="en"/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78716B8E-B96E-6A90-266F-6701D4405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643763"/>
              </p:ext>
            </p:extLst>
          </p:nvPr>
        </p:nvGraphicFramePr>
        <p:xfrm>
          <a:off x="675274" y="914215"/>
          <a:ext cx="4544726" cy="165753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581006">
                  <a:extLst>
                    <a:ext uri="{9D8B030D-6E8A-4147-A177-3AD203B41FA5}">
                      <a16:colId xmlns:a16="http://schemas.microsoft.com/office/drawing/2014/main" val="2349717970"/>
                    </a:ext>
                  </a:extLst>
                </a:gridCol>
                <a:gridCol w="1493222">
                  <a:extLst>
                    <a:ext uri="{9D8B030D-6E8A-4147-A177-3AD203B41FA5}">
                      <a16:colId xmlns:a16="http://schemas.microsoft.com/office/drawing/2014/main" val="667724649"/>
                    </a:ext>
                  </a:extLst>
                </a:gridCol>
                <a:gridCol w="1470498">
                  <a:extLst>
                    <a:ext uri="{9D8B030D-6E8A-4147-A177-3AD203B41FA5}">
                      <a16:colId xmlns:a16="http://schemas.microsoft.com/office/drawing/2014/main" val="2590669039"/>
                    </a:ext>
                  </a:extLst>
                </a:gridCol>
              </a:tblGrid>
              <a:tr h="447072"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Montserrat" panose="00000500000000000000" pitchFamily="2" charset="0"/>
                        </a:rPr>
                        <a:t>Model/Approa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Montserrat" panose="00000500000000000000" pitchFamily="2" charset="0"/>
                        </a:rPr>
                        <a:t>R Squared</a:t>
                      </a:r>
                      <a:endParaRPr lang="en-IN" sz="1200" b="0" baseline="30000"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Montserrat" panose="00000500000000000000" pitchFamily="2" charset="0"/>
                        </a:rPr>
                        <a:t>Test M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2937491"/>
                  </a:ext>
                </a:extLst>
              </a:tr>
              <a:tr h="404830"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Logistic 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59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1.4  x 10</a:t>
                      </a:r>
                      <a:r>
                        <a:rPr lang="en-US" sz="1100" b="0" i="0" u="none" strike="noStrike" cap="none" baseline="300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-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776234"/>
                  </a:ext>
                </a:extLst>
              </a:tr>
              <a:tr h="378913">
                <a:tc>
                  <a:txBody>
                    <a:bodyPr/>
                    <a:lstStyle/>
                    <a:p>
                      <a:pPr algn="ctr"/>
                      <a:r>
                        <a:rPr lang="en-IN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Random Forest</a:t>
                      </a:r>
                      <a:endParaRPr lang="en-IN" sz="900" b="1">
                        <a:solidFill>
                          <a:schemeClr val="bg2">
                            <a:lumMod val="50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72.1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1.0 x 10</a:t>
                      </a:r>
                      <a:r>
                        <a:rPr lang="en-US" sz="1100" b="1" i="0" u="none" strike="noStrike" cap="none" baseline="300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-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9794943"/>
                  </a:ext>
                </a:extLst>
              </a:tr>
              <a:tr h="404830"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Gradient Boosted Decision Trees</a:t>
                      </a:r>
                      <a:endParaRPr lang="en-IN" sz="900">
                        <a:solidFill>
                          <a:schemeClr val="bg2">
                            <a:lumMod val="50000"/>
                          </a:schemeClr>
                        </a:solidFill>
                        <a:latin typeface="Montserrat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</a:rPr>
                        <a:t>53.1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1.1 x 10</a:t>
                      </a:r>
                      <a:r>
                        <a:rPr lang="en-US" sz="1100" b="0" i="0" u="none" strike="noStrike" cap="none" baseline="30000">
                          <a:solidFill>
                            <a:schemeClr val="bg2">
                              <a:lumMod val="50000"/>
                            </a:schemeClr>
                          </a:solidFill>
                          <a:latin typeface="Montserrat" panose="00000500000000000000" pitchFamily="2" charset="0"/>
                          <a:ea typeface="+mn-ea"/>
                          <a:cs typeface="+mn-cs"/>
                          <a:sym typeface="Arial"/>
                        </a:rPr>
                        <a:t>-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6629137"/>
                  </a:ext>
                </a:extLst>
              </a:tr>
            </a:tbl>
          </a:graphicData>
        </a:graphic>
      </p:graphicFrame>
      <p:pic>
        <p:nvPicPr>
          <p:cNvPr id="35" name="Graphic 34" descr="Ribbon with solid fill">
            <a:extLst>
              <a:ext uri="{FF2B5EF4-FFF2-40B4-BE49-F238E27FC236}">
                <a16:creationId xmlns:a16="http://schemas.microsoft.com/office/drawing/2014/main" id="{92C20B87-EEC7-1B4B-5D19-F33DBF1ED0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3756" y="1671413"/>
            <a:ext cx="499037" cy="499037"/>
          </a:xfrm>
          <a:prstGeom prst="rect">
            <a:avLst/>
          </a:prstGeom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6729A34-5524-E5D5-FAD2-42E0310AE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491060"/>
              </p:ext>
            </p:extLst>
          </p:nvPr>
        </p:nvGraphicFramePr>
        <p:xfrm>
          <a:off x="256174" y="2705564"/>
          <a:ext cx="5695789" cy="2038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Google Shape;1636;p44">
            <a:extLst>
              <a:ext uri="{FF2B5EF4-FFF2-40B4-BE49-F238E27FC236}">
                <a16:creationId xmlns:a16="http://schemas.microsoft.com/office/drawing/2014/main" id="{6A34734B-8C4F-53CA-9C49-466EEB06266C}"/>
              </a:ext>
            </a:extLst>
          </p:cNvPr>
          <p:cNvSpPr txBox="1"/>
          <p:nvPr/>
        </p:nvSpPr>
        <p:spPr>
          <a:xfrm flipH="1">
            <a:off x="5669280" y="1189730"/>
            <a:ext cx="3002280" cy="1159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RF model provides a good tradeoff between training time and model performance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GBDT will likely require extensive parameter tuning for performance </a:t>
            </a: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8" name="Google Shape;1636;p44">
            <a:extLst>
              <a:ext uri="{FF2B5EF4-FFF2-40B4-BE49-F238E27FC236}">
                <a16:creationId xmlns:a16="http://schemas.microsoft.com/office/drawing/2014/main" id="{54FC91F2-D6B7-DEE3-10FE-D997D62DA7C5}"/>
              </a:ext>
            </a:extLst>
          </p:cNvPr>
          <p:cNvSpPr txBox="1"/>
          <p:nvPr/>
        </p:nvSpPr>
        <p:spPr>
          <a:xfrm flipH="1">
            <a:off x="6045276" y="3250796"/>
            <a:ext cx="2476500" cy="702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Historical Customer Monetary Values are the best indicators for future margin estimates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52A4BE1E-9928-2292-D9E2-98CBA59DAA40}"/>
              </a:ext>
            </a:extLst>
          </p:cNvPr>
          <p:cNvSpPr/>
          <p:nvPr/>
        </p:nvSpPr>
        <p:spPr>
          <a:xfrm>
            <a:off x="5311140" y="853440"/>
            <a:ext cx="358140" cy="1718310"/>
          </a:xfrm>
          <a:prstGeom prst="righ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587D25-75BB-9FD8-8AB7-7F2BEBD9434D}"/>
              </a:ext>
            </a:extLst>
          </p:cNvPr>
          <p:cNvSpPr txBox="1"/>
          <p:nvPr/>
        </p:nvSpPr>
        <p:spPr>
          <a:xfrm>
            <a:off x="122842" y="4946448"/>
            <a:ext cx="44533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latin typeface="Montserrat" panose="00000500000000000000" pitchFamily="2" charset="0"/>
              </a:rPr>
              <a:t>Approach for modeling detailed out in Appendix</a:t>
            </a:r>
          </a:p>
        </p:txBody>
      </p:sp>
    </p:spTree>
    <p:extLst>
      <p:ext uri="{BB962C8B-B14F-4D97-AF65-F5344CB8AC3E}">
        <p14:creationId xmlns:p14="http://schemas.microsoft.com/office/powerpoint/2010/main" val="353574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39A531-A4D8-4A5C-06ED-CACE7A79B2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FB5EADA-835B-125B-7389-2941DAAD53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5EADA-835B-125B-7389-2941DAAD53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8EFC0FC1-7809-5D10-DF35-3FDE6D51DB83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Estimated Margin – Group Breakdow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A16C6E-90EB-FCF7-A0FC-14FAA2129A3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6</a:t>
            </a:fld>
            <a:endParaRPr lang="en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1A04F49-292C-1436-37DD-33D20CF2F0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0518150"/>
              </p:ext>
            </p:extLst>
          </p:nvPr>
        </p:nvGraphicFramePr>
        <p:xfrm>
          <a:off x="663726" y="1037634"/>
          <a:ext cx="7934400" cy="3483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Google Shape;1636;p44">
            <a:extLst>
              <a:ext uri="{FF2B5EF4-FFF2-40B4-BE49-F238E27FC236}">
                <a16:creationId xmlns:a16="http://schemas.microsoft.com/office/drawing/2014/main" id="{AD61F06B-7EAE-2EB3-8DBF-A2FC13FD5A30}"/>
              </a:ext>
            </a:extLst>
          </p:cNvPr>
          <p:cNvSpPr txBox="1"/>
          <p:nvPr/>
        </p:nvSpPr>
        <p:spPr>
          <a:xfrm flipH="1">
            <a:off x="0" y="4841023"/>
            <a:ext cx="1447217" cy="3024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*M = Margin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10193810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3B386B-15FB-C21A-B436-852F266B22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B1B634-7179-6C95-3571-7AA1059F1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422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B634-7179-6C95-3571-7AA1059F1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DE6485A-8907-557A-A357-0E62B42F5DD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1174" y="1704528"/>
            <a:ext cx="8306783" cy="867222"/>
          </a:xfrm>
        </p:spPr>
        <p:txBody>
          <a:bodyPr vert="horz"/>
          <a:lstStyle/>
          <a:p>
            <a:r>
              <a:rPr lang="en-US" sz="4800"/>
              <a:t>ESTIMATING FUTURE CLV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CB3174-CD7D-830D-394A-452363D09618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8738011-64B4-65B1-F76F-CB7FD19F96A6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7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121237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608D3-E6D5-E795-B52A-93BD64290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62B5DEF-668D-13E3-E113-2DCD87BBC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2B5DEF-668D-13E3-E113-2DCD87BBC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D1FE8D14-E471-41C2-6D3E-CE8ACDA18FE6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Approach for estimating Customer Future Value (CFV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609801-A7EA-596C-FF22-2589190B131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1ECCFD-D6DA-6FEF-B9FC-FD02BB5223C4}"/>
              </a:ext>
            </a:extLst>
          </p:cNvPr>
          <p:cNvGrpSpPr/>
          <p:nvPr/>
        </p:nvGrpSpPr>
        <p:grpSpPr>
          <a:xfrm>
            <a:off x="1381412" y="988338"/>
            <a:ext cx="6499029" cy="3630259"/>
            <a:chOff x="809625" y="1151856"/>
            <a:chExt cx="4902245" cy="3053822"/>
          </a:xfrm>
        </p:grpSpPr>
        <p:grpSp>
          <p:nvGrpSpPr>
            <p:cNvPr id="4" name="Google Shape;866;p43">
              <a:extLst>
                <a:ext uri="{FF2B5EF4-FFF2-40B4-BE49-F238E27FC236}">
                  <a16:creationId xmlns:a16="http://schemas.microsoft.com/office/drawing/2014/main" id="{618C2B66-A7C3-8253-B94B-18CFD6B13E8D}"/>
                </a:ext>
              </a:extLst>
            </p:cNvPr>
            <p:cNvGrpSpPr/>
            <p:nvPr/>
          </p:nvGrpSpPr>
          <p:grpSpPr>
            <a:xfrm>
              <a:off x="2282427" y="1246613"/>
              <a:ext cx="1623900" cy="1697887"/>
              <a:chOff x="2282427" y="1218038"/>
              <a:chExt cx="1623900" cy="1697887"/>
            </a:xfrm>
          </p:grpSpPr>
          <p:sp>
            <p:nvSpPr>
              <p:cNvPr id="28" name="Google Shape;867;p43">
                <a:extLst>
                  <a:ext uri="{FF2B5EF4-FFF2-40B4-BE49-F238E27FC236}">
                    <a16:creationId xmlns:a16="http://schemas.microsoft.com/office/drawing/2014/main" id="{C4C1EFCD-0E30-F58C-F944-72DDA097B412}"/>
                  </a:ext>
                </a:extLst>
              </p:cNvPr>
              <p:cNvSpPr/>
              <p:nvPr/>
            </p:nvSpPr>
            <p:spPr>
              <a:xfrm>
                <a:off x="2282427" y="2447925"/>
                <a:ext cx="1623900" cy="468000"/>
              </a:xfrm>
              <a:prstGeom prst="chevron">
                <a:avLst>
                  <a:gd name="adj" fmla="val 50000"/>
                </a:avLst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/>
              </a:p>
            </p:txBody>
          </p:sp>
          <p:cxnSp>
            <p:nvCxnSpPr>
              <p:cNvPr id="29" name="Google Shape;868;p43">
                <a:extLst>
                  <a:ext uri="{FF2B5EF4-FFF2-40B4-BE49-F238E27FC236}">
                    <a16:creationId xmlns:a16="http://schemas.microsoft.com/office/drawing/2014/main" id="{9799FE63-2C45-2B0B-4DE7-D64C5C27B920}"/>
                  </a:ext>
                </a:extLst>
              </p:cNvPr>
              <p:cNvCxnSpPr/>
              <p:nvPr/>
            </p:nvCxnSpPr>
            <p:spPr>
              <a:xfrm>
                <a:off x="2291733" y="1218038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6" name="Google Shape;872;p43">
              <a:extLst>
                <a:ext uri="{FF2B5EF4-FFF2-40B4-BE49-F238E27FC236}">
                  <a16:creationId xmlns:a16="http://schemas.microsoft.com/office/drawing/2014/main" id="{CFD5E189-3C44-40D1-0CDC-EE36A6B52F63}"/>
                </a:ext>
              </a:extLst>
            </p:cNvPr>
            <p:cNvGrpSpPr/>
            <p:nvPr/>
          </p:nvGrpSpPr>
          <p:grpSpPr>
            <a:xfrm>
              <a:off x="809625" y="2476500"/>
              <a:ext cx="1623900" cy="1706422"/>
              <a:chOff x="809625" y="2447925"/>
              <a:chExt cx="1623900" cy="1706422"/>
            </a:xfrm>
          </p:grpSpPr>
          <p:sp>
            <p:nvSpPr>
              <p:cNvPr id="24" name="Google Shape;873;p43">
                <a:extLst>
                  <a:ext uri="{FF2B5EF4-FFF2-40B4-BE49-F238E27FC236}">
                    <a16:creationId xmlns:a16="http://schemas.microsoft.com/office/drawing/2014/main" id="{069A522D-0AF0-3C73-9C7A-71220CCACD0E}"/>
                  </a:ext>
                </a:extLst>
              </p:cNvPr>
              <p:cNvSpPr/>
              <p:nvPr/>
            </p:nvSpPr>
            <p:spPr>
              <a:xfrm>
                <a:off x="809625" y="2447925"/>
                <a:ext cx="1623900" cy="468000"/>
              </a:xfrm>
              <a:prstGeom prst="homePlate">
                <a:avLst>
                  <a:gd name="adj" fmla="val 50000"/>
                </a:avLst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/>
              </a:p>
            </p:txBody>
          </p:sp>
          <p:cxnSp>
            <p:nvCxnSpPr>
              <p:cNvPr id="25" name="Google Shape;874;p43">
                <a:extLst>
                  <a:ext uri="{FF2B5EF4-FFF2-40B4-BE49-F238E27FC236}">
                    <a16:creationId xmlns:a16="http://schemas.microsoft.com/office/drawing/2014/main" id="{E5BB839D-2226-8308-A2B1-14080A59CDC2}"/>
                  </a:ext>
                </a:extLst>
              </p:cNvPr>
              <p:cNvCxnSpPr/>
              <p:nvPr/>
            </p:nvCxnSpPr>
            <p:spPr>
              <a:xfrm>
                <a:off x="818826" y="2915931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" name="Google Shape;875;p43">
              <a:extLst>
                <a:ext uri="{FF2B5EF4-FFF2-40B4-BE49-F238E27FC236}">
                  <a16:creationId xmlns:a16="http://schemas.microsoft.com/office/drawing/2014/main" id="{39B5C1CC-0F80-4762-82D0-D9F6803CEFF9}"/>
                </a:ext>
              </a:extLst>
            </p:cNvPr>
            <p:cNvGrpSpPr/>
            <p:nvPr/>
          </p:nvGrpSpPr>
          <p:grpSpPr>
            <a:xfrm>
              <a:off x="3755228" y="2476500"/>
              <a:ext cx="1623900" cy="1706422"/>
              <a:chOff x="3755228" y="2447925"/>
              <a:chExt cx="1623900" cy="1706422"/>
            </a:xfrm>
          </p:grpSpPr>
          <p:sp>
            <p:nvSpPr>
              <p:cNvPr id="22" name="Google Shape;876;p43">
                <a:extLst>
                  <a:ext uri="{FF2B5EF4-FFF2-40B4-BE49-F238E27FC236}">
                    <a16:creationId xmlns:a16="http://schemas.microsoft.com/office/drawing/2014/main" id="{463AA88C-1E75-75AF-7FF0-FD6C16794B97}"/>
                  </a:ext>
                </a:extLst>
              </p:cNvPr>
              <p:cNvSpPr/>
              <p:nvPr/>
            </p:nvSpPr>
            <p:spPr>
              <a:xfrm>
                <a:off x="3755228" y="2447925"/>
                <a:ext cx="1623900" cy="468000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/>
              </a:p>
            </p:txBody>
          </p:sp>
          <p:cxnSp>
            <p:nvCxnSpPr>
              <p:cNvPr id="23" name="Google Shape;877;p43">
                <a:extLst>
                  <a:ext uri="{FF2B5EF4-FFF2-40B4-BE49-F238E27FC236}">
                    <a16:creationId xmlns:a16="http://schemas.microsoft.com/office/drawing/2014/main" id="{0C9A24BB-D1E7-CA04-46D1-6364D3F5AD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69108" y="2915931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9" name="Google Shape;882;p43">
              <a:extLst>
                <a:ext uri="{FF2B5EF4-FFF2-40B4-BE49-F238E27FC236}">
                  <a16:creationId xmlns:a16="http://schemas.microsoft.com/office/drawing/2014/main" id="{B07CADB7-3EB3-23DC-2072-4BECE57C71CC}"/>
                </a:ext>
              </a:extLst>
            </p:cNvPr>
            <p:cNvSpPr txBox="1"/>
            <p:nvPr/>
          </p:nvSpPr>
          <p:spPr>
            <a:xfrm>
              <a:off x="1064237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600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Step 1</a:t>
              </a:r>
              <a:endParaRPr sz="1600"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10" name="Google Shape;883;p43">
              <a:extLst>
                <a:ext uri="{FF2B5EF4-FFF2-40B4-BE49-F238E27FC236}">
                  <a16:creationId xmlns:a16="http://schemas.microsoft.com/office/drawing/2014/main" id="{82C48981-9CA9-29CC-AF05-6170CE2B05D1}"/>
                </a:ext>
              </a:extLst>
            </p:cNvPr>
            <p:cNvSpPr txBox="1"/>
            <p:nvPr/>
          </p:nvSpPr>
          <p:spPr>
            <a:xfrm>
              <a:off x="2537054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Step 2</a:t>
              </a:r>
              <a:endParaRPr sz="1600"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11" name="Google Shape;884;p43">
              <a:extLst>
                <a:ext uri="{FF2B5EF4-FFF2-40B4-BE49-F238E27FC236}">
                  <a16:creationId xmlns:a16="http://schemas.microsoft.com/office/drawing/2014/main" id="{8EB6C665-8C3E-1126-3B37-A94CC119272A}"/>
                </a:ext>
              </a:extLst>
            </p:cNvPr>
            <p:cNvSpPr txBox="1"/>
            <p:nvPr/>
          </p:nvSpPr>
          <p:spPr>
            <a:xfrm>
              <a:off x="4009855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Step 3</a:t>
              </a:r>
              <a:endParaRPr sz="1600"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13" name="Google Shape;887;p43">
              <a:extLst>
                <a:ext uri="{FF2B5EF4-FFF2-40B4-BE49-F238E27FC236}">
                  <a16:creationId xmlns:a16="http://schemas.microsoft.com/office/drawing/2014/main" id="{D4450838-D668-2EA4-FDE0-69F6540EC2CD}"/>
                </a:ext>
              </a:extLst>
            </p:cNvPr>
            <p:cNvSpPr txBox="1"/>
            <p:nvPr/>
          </p:nvSpPr>
          <p:spPr>
            <a:xfrm>
              <a:off x="2340438" y="1151856"/>
              <a:ext cx="1566000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600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Reverse Transformation</a:t>
              </a:r>
              <a:endParaRPr sz="16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" name="Google Shape;888;p43">
                  <a:extLst>
                    <a:ext uri="{FF2B5EF4-FFF2-40B4-BE49-F238E27FC236}">
                      <a16:creationId xmlns:a16="http://schemas.microsoft.com/office/drawing/2014/main" id="{A7250D9B-A7BA-02CE-7468-FECCA611EE8A}"/>
                    </a:ext>
                  </a:extLst>
                </p:cNvPr>
                <p:cNvSpPr txBox="1"/>
                <p:nvPr/>
              </p:nvSpPr>
              <p:spPr>
                <a:xfrm>
                  <a:off x="2340438" y="1556768"/>
                  <a:ext cx="1899600" cy="5421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91425" tIns="91425" rIns="91425" bIns="91425" anchor="t" anchorCtr="0">
                  <a:noAutofit/>
                </a:bodyPr>
                <a:lstStyle/>
                <a:p>
                  <a:pPr marL="0" lvl="0" indent="0" algn="l" rtl="0">
                    <a:spcBef>
                      <a:spcPts val="600"/>
                    </a:spcBef>
                    <a:spcAft>
                      <a:spcPts val="0"/>
                    </a:spcAft>
                    <a:buNone/>
                  </a:pPr>
                  <a:r>
                    <a:rPr lang="en-US" sz="1050">
                      <a:latin typeface="Montserrat"/>
                      <a:ea typeface="Montserrat"/>
                      <a:cs typeface="Montserrat"/>
                      <a:sym typeface="Montserrat"/>
                    </a:rPr>
                    <a:t>Reverse transformed margin score to dollar value</a:t>
                  </a:r>
                </a:p>
                <a:p>
                  <a:pPr marL="0" lvl="0" indent="0" algn="l" rtl="0">
                    <a:spcBef>
                      <a:spcPts val="600"/>
                    </a:spcBef>
                    <a:spcAft>
                      <a:spcPts val="0"/>
                    </a:spcAft>
                    <a:buNone/>
                  </a:pPr>
                  <a:endParaRPr lang="en-US" sz="1050" b="0" i="1">
                    <a:latin typeface="Cambria Math" panose="02040503050406030204" pitchFamily="18" charset="0"/>
                    <a:sym typeface="Montserrat"/>
                  </a:endParaRPr>
                </a:p>
                <a:p>
                  <a:pPr marL="0" lvl="0" indent="0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</m:ctrlPr>
                          </m:sSubPr>
                          <m:e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𝑃</m:t>
                            </m:r>
                          </m:e>
                          <m:sub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𝑚𝑎𝑟𝑔𝑖𝑛</m:t>
                            </m:r>
                          </m:sub>
                        </m:sSub>
                        <m:r>
                          <a:rPr lang="en-US" sz="1050" b="0" i="1" smtClean="0">
                            <a:latin typeface="Cambria Math" panose="02040503050406030204" pitchFamily="18" charset="0"/>
                            <a:sym typeface="Montserrat"/>
                          </a:rPr>
                          <m:t>=</m:t>
                        </m:r>
                        <m:sSup>
                          <m:sSupPr>
                            <m:ctrlP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</m:ctrlPr>
                          </m:sSupPr>
                          <m:e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10</m:t>
                            </m:r>
                          </m:e>
                          <m:sup>
                            <m:r>
                              <m:rPr>
                                <m:sty m:val="p"/>
                              </m:rPr>
                              <a:rPr lang="en-US" sz="1050" b="0" i="0" smtClean="0">
                                <a:latin typeface="Cambria Math" panose="02040503050406030204" pitchFamily="18" charset="0"/>
                                <a:sym typeface="Montserrat"/>
                              </a:rPr>
                              <m:t>log</m:t>
                            </m:r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⁡_</m:t>
                            </m:r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𝑚𝑎𝑟𝑔𝑖𝑛</m:t>
                            </m:r>
                          </m:sup>
                        </m:sSup>
                        <m:r>
                          <a:rPr lang="en-US" sz="1050" b="0" i="1" smtClean="0">
                            <a:latin typeface="Cambria Math" panose="02040503050406030204" pitchFamily="18" charset="0"/>
                            <a:sym typeface="Montserrat"/>
                          </a:rPr>
                          <m:t>−25,000</m:t>
                        </m:r>
                      </m:oMath>
                    </m:oMathPara>
                  </a14:m>
                  <a:endParaRPr sz="1050">
                    <a:latin typeface="Montserrat"/>
                    <a:ea typeface="Montserrat"/>
                    <a:cs typeface="Montserrat"/>
                    <a:sym typeface="Montserrat"/>
                  </a:endParaRPr>
                </a:p>
              </p:txBody>
            </p:sp>
          </mc:Choice>
          <mc:Fallback>
            <p:sp>
              <p:nvSpPr>
                <p:cNvPr id="15" name="Google Shape;888;p43">
                  <a:extLst>
                    <a:ext uri="{FF2B5EF4-FFF2-40B4-BE49-F238E27FC236}">
                      <a16:creationId xmlns:a16="http://schemas.microsoft.com/office/drawing/2014/main" id="{A7250D9B-A7BA-02CE-7468-FECCA611EE8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40438" y="1556768"/>
                  <a:ext cx="1899600" cy="542100"/>
                </a:xfrm>
                <a:prstGeom prst="rect">
                  <a:avLst/>
                </a:prstGeom>
                <a:blipFill>
                  <a:blip r:embed="rId6"/>
                  <a:stretch>
                    <a:fillRect r="-484" b="-4717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" name="Google Shape;891;p43">
              <a:extLst>
                <a:ext uri="{FF2B5EF4-FFF2-40B4-BE49-F238E27FC236}">
                  <a16:creationId xmlns:a16="http://schemas.microsoft.com/office/drawing/2014/main" id="{E10FC880-98B0-C17D-C3F3-0E45C649A852}"/>
                </a:ext>
              </a:extLst>
            </p:cNvPr>
            <p:cNvSpPr txBox="1"/>
            <p:nvPr/>
          </p:nvSpPr>
          <p:spPr>
            <a:xfrm>
              <a:off x="840836" y="2971648"/>
              <a:ext cx="1566000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600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Churn Modeling &amp;</a:t>
              </a: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600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Margin Modeling</a:t>
              </a:r>
              <a:endParaRPr sz="16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19" name="Google Shape;892;p43">
              <a:extLst>
                <a:ext uri="{FF2B5EF4-FFF2-40B4-BE49-F238E27FC236}">
                  <a16:creationId xmlns:a16="http://schemas.microsoft.com/office/drawing/2014/main" id="{DA3F573B-BCC4-3AFB-34CC-AA178D6BC6FB}"/>
                </a:ext>
              </a:extLst>
            </p:cNvPr>
            <p:cNvSpPr txBox="1"/>
            <p:nvPr/>
          </p:nvSpPr>
          <p:spPr>
            <a:xfrm>
              <a:off x="828027" y="3526397"/>
              <a:ext cx="1565997" cy="542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latin typeface="Montserrat"/>
                  <a:ea typeface="Montserrat"/>
                  <a:cs typeface="Montserrat"/>
                  <a:sym typeface="Montserrat"/>
                </a:rPr>
                <a:t>Obtained churn score and margin score</a:t>
              </a:r>
            </a:p>
          </p:txBody>
        </p:sp>
        <p:sp>
          <p:nvSpPr>
            <p:cNvPr id="20" name="Google Shape;893;p43">
              <a:extLst>
                <a:ext uri="{FF2B5EF4-FFF2-40B4-BE49-F238E27FC236}">
                  <a16:creationId xmlns:a16="http://schemas.microsoft.com/office/drawing/2014/main" id="{6865283C-2E9F-D8A1-17E3-119CE1F8D93F}"/>
                </a:ext>
              </a:extLst>
            </p:cNvPr>
            <p:cNvSpPr txBox="1"/>
            <p:nvPr/>
          </p:nvSpPr>
          <p:spPr>
            <a:xfrm>
              <a:off x="3782844" y="2963000"/>
              <a:ext cx="1798237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600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Calculate CFV</a:t>
              </a:r>
              <a:endParaRPr sz="1600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1" name="Google Shape;894;p43">
                  <a:extLst>
                    <a:ext uri="{FF2B5EF4-FFF2-40B4-BE49-F238E27FC236}">
                      <a16:creationId xmlns:a16="http://schemas.microsoft.com/office/drawing/2014/main" id="{C5FA20F4-6416-CF98-D475-12B5B25BF20D}"/>
                    </a:ext>
                  </a:extLst>
                </p:cNvPr>
                <p:cNvSpPr txBox="1"/>
                <p:nvPr/>
              </p:nvSpPr>
              <p:spPr>
                <a:xfrm>
                  <a:off x="3812270" y="3310778"/>
                  <a:ext cx="1899600" cy="8949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91425" tIns="91425" rIns="91425" bIns="91425" anchor="t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en-US" sz="1050">
                      <a:latin typeface="Montserrat"/>
                      <a:ea typeface="Montserrat"/>
                      <a:cs typeface="Montserrat"/>
                      <a:sym typeface="Montserrat"/>
                    </a:rPr>
                    <a:t>1-year, 2-year, and 3-year CFVs are calculated based on the following formula:</a:t>
                  </a:r>
                </a:p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n-US" sz="1050">
                    <a:latin typeface="Montserrat"/>
                    <a:ea typeface="Montserrat"/>
                    <a:cs typeface="Montserrat"/>
                    <a:sym typeface="Montserrat"/>
                  </a:endParaRPr>
                </a:p>
                <a:p>
                  <a:pPr lvl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50" i="1" smtClean="0">
                                <a:latin typeface="Cambria Math" panose="02040503050406030204" pitchFamily="18" charset="0"/>
                                <a:sym typeface="Montserrat"/>
                              </a:rPr>
                            </m:ctrlPr>
                          </m:sSubPr>
                          <m:e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𝐶𝐿𝑉</m:t>
                            </m:r>
                          </m:e>
                          <m:sub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𝑗</m:t>
                            </m:r>
                          </m:sub>
                        </m:sSub>
                        <m:r>
                          <a:rPr lang="en-US" sz="1050" b="0" i="1" smtClean="0">
                            <a:latin typeface="Cambria Math" panose="02040503050406030204" pitchFamily="18" charset="0"/>
                            <a:sym typeface="Montserrat"/>
                          </a:rPr>
                          <m:t>=</m:t>
                        </m:r>
                        <m:sSub>
                          <m:sSubPr>
                            <m:ctrlP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</m:ctrlPr>
                          </m:sSubPr>
                          <m:e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050" b="0" i="1" smtClean="0">
                                <a:latin typeface="Cambria Math" panose="02040503050406030204" pitchFamily="18" charset="0"/>
                                <a:sym typeface="Montserrat"/>
                              </a:rPr>
                              <m:t>𝑗</m:t>
                            </m:r>
                          </m:sub>
                        </m:sSub>
                        <m:r>
                          <a:rPr lang="en-US" sz="105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Montserrat"/>
                          </a:rPr>
                          <m:t>×</m:t>
                        </m:r>
                        <m:d>
                          <m:dPr>
                            <m:ctrlPr>
                              <a:rPr lang="en-US" sz="105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Montserrat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sz="105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Montserrat"/>
                                  </a:rPr>
                                </m:ctrlPr>
                              </m:fPr>
                              <m:num>
                                <m:r>
                                  <a:rPr lang="en-US" sz="105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Montserrat"/>
                                  </a:rPr>
                                  <m:t>1−</m:t>
                                </m:r>
                                <m:sSub>
                                  <m:sSubPr>
                                    <m:ctrlP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  <m:t>𝑗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en-US" sz="105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Montserrat"/>
                                  </a:rPr>
                                  <m:t>𝑑</m:t>
                                </m:r>
                                <m:r>
                                  <a:rPr lang="en-US" sz="105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sym typeface="Montserrat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  <m:t>𝑐</m:t>
                                    </m:r>
                                  </m:e>
                                  <m:sub>
                                    <m:r>
                                      <a:rPr lang="en-US" sz="105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sym typeface="Montserrat"/>
                                      </a:rPr>
                                      <m:t>𝑗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oMath>
                    </m:oMathPara>
                  </a14:m>
                  <a:endParaRPr lang="en-US" sz="1050">
                    <a:latin typeface="Montserrat"/>
                    <a:ea typeface="Montserrat"/>
                    <a:cs typeface="Montserrat"/>
                    <a:sym typeface="Montserrat"/>
                  </a:endParaRPr>
                </a:p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50">
                    <a:latin typeface="Montserrat"/>
                    <a:ea typeface="Montserrat"/>
                    <a:cs typeface="Montserrat"/>
                    <a:sym typeface="Montserrat"/>
                  </a:endParaRPr>
                </a:p>
              </p:txBody>
            </p:sp>
          </mc:Choice>
          <mc:Fallback>
            <p:sp>
              <p:nvSpPr>
                <p:cNvPr id="21" name="Google Shape;894;p43">
                  <a:extLst>
                    <a:ext uri="{FF2B5EF4-FFF2-40B4-BE49-F238E27FC236}">
                      <a16:creationId xmlns:a16="http://schemas.microsoft.com/office/drawing/2014/main" id="{C5FA20F4-6416-CF98-D475-12B5B25BF20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12270" y="3310778"/>
                  <a:ext cx="1899600" cy="894900"/>
                </a:xfrm>
                <a:prstGeom prst="rect">
                  <a:avLst/>
                </a:prstGeom>
                <a:blipFill>
                  <a:blip r:embed="rId7"/>
                  <a:stretch>
                    <a:fillRect b="-6857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300591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B47BD-DE85-AF6A-EE28-F9ACE22EE4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2D47116-F609-33A7-688D-A3FC441CE0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D47116-F609-33A7-688D-A3FC441CE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D48318E4-0C62-6D40-A2EB-5B725434D279}"/>
              </a:ext>
            </a:extLst>
          </p:cNvPr>
          <p:cNvSpPr txBox="1">
            <a:spLocks/>
          </p:cNvSpPr>
          <p:nvPr/>
        </p:nvSpPr>
        <p:spPr>
          <a:xfrm>
            <a:off x="637570" y="97538"/>
            <a:ext cx="7884206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ustomer Future Value: 1-Year Value vs 3-Year Value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BF474D-7446-FC3B-5C9A-1C7B8BB265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2933D0-7586-6263-EB67-91E03E2611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572" y="1565000"/>
            <a:ext cx="3653628" cy="287185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D60BA4-BEE4-C91E-3C8C-64601E9B1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2802" y="1565000"/>
            <a:ext cx="3619656" cy="287185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Google Shape;1635;p44">
            <a:extLst>
              <a:ext uri="{FF2B5EF4-FFF2-40B4-BE49-F238E27FC236}">
                <a16:creationId xmlns:a16="http://schemas.microsoft.com/office/drawing/2014/main" id="{C108B2B6-3C27-69FE-AE47-DB7702F78085}"/>
              </a:ext>
            </a:extLst>
          </p:cNvPr>
          <p:cNvSpPr txBox="1"/>
          <p:nvPr/>
        </p:nvSpPr>
        <p:spPr>
          <a:xfrm flipH="1">
            <a:off x="637571" y="4535719"/>
            <a:ext cx="3476227" cy="3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dk1"/>
                </a:solidFill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CFV Distribution – 1 Year</a:t>
            </a:r>
          </a:p>
        </p:txBody>
      </p:sp>
      <p:sp>
        <p:nvSpPr>
          <p:cNvPr id="4" name="Google Shape;1635;p44">
            <a:extLst>
              <a:ext uri="{FF2B5EF4-FFF2-40B4-BE49-F238E27FC236}">
                <a16:creationId xmlns:a16="http://schemas.microsoft.com/office/drawing/2014/main" id="{725AC535-4650-0657-B4F5-7DB06599F1AA}"/>
              </a:ext>
            </a:extLst>
          </p:cNvPr>
          <p:cNvSpPr txBox="1"/>
          <p:nvPr/>
        </p:nvSpPr>
        <p:spPr>
          <a:xfrm flipH="1">
            <a:off x="4996229" y="4535438"/>
            <a:ext cx="3476227" cy="3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dk1"/>
                </a:solidFill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CFV Distribution – 3 Yea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7ABFA4-6CF1-ADE1-DC04-100D8F4D1601}"/>
              </a:ext>
            </a:extLst>
          </p:cNvPr>
          <p:cNvSpPr/>
          <p:nvPr/>
        </p:nvSpPr>
        <p:spPr>
          <a:xfrm>
            <a:off x="5853600" y="3326400"/>
            <a:ext cx="1576800" cy="1209038"/>
          </a:xfrm>
          <a:prstGeom prst="rect">
            <a:avLst/>
          </a:prstGeom>
          <a:noFill/>
          <a:ln w="19050"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48B22C-09C8-7A60-129D-32199F42F730}"/>
              </a:ext>
            </a:extLst>
          </p:cNvPr>
          <p:cNvSpPr/>
          <p:nvPr/>
        </p:nvSpPr>
        <p:spPr>
          <a:xfrm>
            <a:off x="1130400" y="1466879"/>
            <a:ext cx="439200" cy="3068099"/>
          </a:xfrm>
          <a:prstGeom prst="rect">
            <a:avLst/>
          </a:prstGeom>
          <a:noFill/>
          <a:ln w="19050"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Google Shape;1635;p44">
            <a:extLst>
              <a:ext uri="{FF2B5EF4-FFF2-40B4-BE49-F238E27FC236}">
                <a16:creationId xmlns:a16="http://schemas.microsoft.com/office/drawing/2014/main" id="{DBA46D26-9D97-5822-3246-F1B68029B6D4}"/>
              </a:ext>
            </a:extLst>
          </p:cNvPr>
          <p:cNvSpPr txBox="1"/>
          <p:nvPr/>
        </p:nvSpPr>
        <p:spPr>
          <a:xfrm flipH="1">
            <a:off x="637570" y="805689"/>
            <a:ext cx="7834885" cy="532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Customer value increases as the length of relationship with the company increases. Increasing customer loyalty can help generate long-term value. </a:t>
            </a:r>
          </a:p>
        </p:txBody>
      </p:sp>
    </p:spTree>
    <p:extLst>
      <p:ext uri="{BB962C8B-B14F-4D97-AF65-F5344CB8AC3E}">
        <p14:creationId xmlns:p14="http://schemas.microsoft.com/office/powerpoint/2010/main" val="4078416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407;p34">
            <a:extLst>
              <a:ext uri="{FF2B5EF4-FFF2-40B4-BE49-F238E27FC236}">
                <a16:creationId xmlns:a16="http://schemas.microsoft.com/office/drawing/2014/main" id="{8D00B77E-1094-F6A8-A1A3-B7C3F59051E4}"/>
              </a:ext>
            </a:extLst>
          </p:cNvPr>
          <p:cNvSpPr txBox="1">
            <a:spLocks/>
          </p:cNvSpPr>
          <p:nvPr/>
        </p:nvSpPr>
        <p:spPr>
          <a:xfrm>
            <a:off x="735900" y="15398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>
                <a:solidFill>
                  <a:schemeClr val="accent2">
                    <a:lumMod val="10000"/>
                  </a:schemeClr>
                </a:solidFill>
              </a:rPr>
              <a:t>Why do we need to understand Customer Lifetime Value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928BF29-6F05-BF67-2C59-A87F2660FBE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</a:t>
            </a:fld>
            <a:endParaRPr lang="e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48FFB6-4418-84E2-2573-B4B11D9BEB66}"/>
              </a:ext>
            </a:extLst>
          </p:cNvPr>
          <p:cNvSpPr txBox="1"/>
          <p:nvPr/>
        </p:nvSpPr>
        <p:spPr>
          <a:xfrm>
            <a:off x="0" y="468748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[1] https://www.zendesk.com/blog/customer-churn-rate/#:~:text=According%20to%20the%20Zendesk%20Customer,all%20resulting%20in%20customer%20churn</a:t>
            </a:r>
          </a:p>
          <a:p>
            <a:r>
              <a:rPr lang="en-US" sz="600"/>
              <a:t>[2] https://www.forbes.com/sites/forbesbusinesscouncil/2022/12/12/customer-retention-versus-customer-acquisition/?sh=67b707a91c7d</a:t>
            </a:r>
          </a:p>
          <a:p>
            <a:r>
              <a:rPr lang="en-US" sz="600"/>
              <a:t>[3] https://www.forbes.com/sites/sap/2019/09/12/why-and-how-companies-should-calculate-customer-lifetime-value/?sh=49937efd459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809876-03D1-4F85-CC9F-6A6F5B111837}"/>
              </a:ext>
            </a:extLst>
          </p:cNvPr>
          <p:cNvGrpSpPr/>
          <p:nvPr/>
        </p:nvGrpSpPr>
        <p:grpSpPr>
          <a:xfrm>
            <a:off x="735900" y="1269219"/>
            <a:ext cx="1511022" cy="2459576"/>
            <a:chOff x="735900" y="1269219"/>
            <a:chExt cx="1511022" cy="2459576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D989F56-9176-DA09-62BD-24445A7971EC}"/>
                </a:ext>
              </a:extLst>
            </p:cNvPr>
            <p:cNvGrpSpPr/>
            <p:nvPr/>
          </p:nvGrpSpPr>
          <p:grpSpPr>
            <a:xfrm>
              <a:off x="735900" y="1269219"/>
              <a:ext cx="1511022" cy="2459576"/>
              <a:chOff x="3972509" y="3581233"/>
              <a:chExt cx="3667026" cy="6412959"/>
            </a:xfrm>
          </p:grpSpPr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9167E2CB-FD57-4B10-3B1D-A94AEF0C3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2509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E2D908CF-A6B3-DAE0-F221-9DA443961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833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FEDFFEC-19C7-99E4-ED32-0CC83A36F6A4}"/>
                  </a:ext>
                </a:extLst>
              </p:cNvPr>
              <p:cNvSpPr txBox="1"/>
              <p:nvPr/>
            </p:nvSpPr>
            <p:spPr>
              <a:xfrm>
                <a:off x="4180747" y="7589293"/>
                <a:ext cx="3338035" cy="2404899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Average Churn Rate for B&amp;M Retailers</a:t>
                </a:r>
                <a:r>
                  <a:rPr lang="en-US" sz="700" baseline="100000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[1]</a:t>
                </a:r>
                <a:endParaRPr lang="en-US" baseline="100000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F08F8A7-53CD-0862-BA93-ABEA23E2CB57}"/>
                </a:ext>
              </a:extLst>
            </p:cNvPr>
            <p:cNvGrpSpPr/>
            <p:nvPr/>
          </p:nvGrpSpPr>
          <p:grpSpPr>
            <a:xfrm>
              <a:off x="1005597" y="1689174"/>
              <a:ext cx="980001" cy="707218"/>
              <a:chOff x="1005597" y="1689174"/>
              <a:chExt cx="980001" cy="707218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71A1A608-2C81-4CB7-2AE1-49A426A57F6B}"/>
                  </a:ext>
                </a:extLst>
              </p:cNvPr>
              <p:cNvSpPr txBox="1"/>
              <p:nvPr/>
            </p:nvSpPr>
            <p:spPr>
              <a:xfrm>
                <a:off x="1005597" y="2088615"/>
                <a:ext cx="980001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>
                    <a:latin typeface="Montserrat" panose="00000500000000000000" pitchFamily="2" charset="0"/>
                  </a:rPr>
                  <a:t>10%-25%</a:t>
                </a:r>
                <a:endParaRPr lang="en-US"/>
              </a:p>
            </p:txBody>
          </p:sp>
          <p:pic>
            <p:nvPicPr>
              <p:cNvPr id="1026" name="Picture 2" descr="Churn Rate Icons - Free SVG &amp; PNG Churn Rate Images - Noun ...">
                <a:extLst>
                  <a:ext uri="{FF2B5EF4-FFF2-40B4-BE49-F238E27FC236}">
                    <a16:creationId xmlns:a16="http://schemas.microsoft.com/office/drawing/2014/main" id="{5B98622D-7AA3-014A-C059-4C3BB4A45C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0979" y="1689174"/>
                <a:ext cx="436911" cy="4369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1E130AF-8721-E2D7-F8F6-F0ACA09EEB47}"/>
              </a:ext>
            </a:extLst>
          </p:cNvPr>
          <p:cNvGrpSpPr/>
          <p:nvPr/>
        </p:nvGrpSpPr>
        <p:grpSpPr>
          <a:xfrm>
            <a:off x="2776031" y="1269219"/>
            <a:ext cx="1511022" cy="2881344"/>
            <a:chOff x="2776031" y="1269219"/>
            <a:chExt cx="1511022" cy="2881344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CA47C5B-6FF5-EC81-F606-0247BA3DF4EC}"/>
                </a:ext>
              </a:extLst>
            </p:cNvPr>
            <p:cNvGrpSpPr/>
            <p:nvPr/>
          </p:nvGrpSpPr>
          <p:grpSpPr>
            <a:xfrm>
              <a:off x="2776031" y="1269219"/>
              <a:ext cx="1511022" cy="2881344"/>
              <a:chOff x="7165927" y="3581233"/>
              <a:chExt cx="3667026" cy="7512653"/>
            </a:xfrm>
          </p:grpSpPr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D3D5E2EE-149A-130D-2D52-08105C1685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27" y="3581233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15C519E3-F083-DC3D-EB49-63526000E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1251" y="4054840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C447AF3-E4FC-2DB5-6ADB-936FA338B947}"/>
                  </a:ext>
                </a:extLst>
              </p:cNvPr>
              <p:cNvSpPr txBox="1"/>
              <p:nvPr/>
            </p:nvSpPr>
            <p:spPr>
              <a:xfrm>
                <a:off x="7210785" y="7565517"/>
                <a:ext cx="3620792" cy="3528369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Cost of Acquiring New Customers vs Retaining Existing Customers</a:t>
                </a:r>
                <a:r>
                  <a:rPr lang="en-US" sz="700" baseline="100000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[2]</a:t>
                </a: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D6611C9-7137-4F74-D578-E13EA2905503}"/>
                </a:ext>
              </a:extLst>
            </p:cNvPr>
            <p:cNvSpPr txBox="1"/>
            <p:nvPr/>
          </p:nvSpPr>
          <p:spPr>
            <a:xfrm>
              <a:off x="3053728" y="2133366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latin typeface="Montserrat" panose="00000500000000000000" pitchFamily="2" charset="0"/>
                </a:rPr>
                <a:t>5</a:t>
              </a:r>
              <a:r>
                <a:rPr lang="en-US" sz="1400" b="1">
                  <a:latin typeface="Montserrat" panose="00000500000000000000" pitchFamily="2" charset="0"/>
                </a:rPr>
                <a:t>x – 7x</a:t>
              </a:r>
              <a:endParaRPr lang="en-US"/>
            </a:p>
          </p:txBody>
        </p:sp>
        <p:pic>
          <p:nvPicPr>
            <p:cNvPr id="1028" name="Picture 4" descr="Cost per acquisition - Free business and finance icons">
              <a:extLst>
                <a:ext uri="{FF2B5EF4-FFF2-40B4-BE49-F238E27FC236}">
                  <a16:creationId xmlns:a16="http://schemas.microsoft.com/office/drawing/2014/main" id="{612CA862-BAA2-16E9-229C-2B5F87851D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093" y="1589360"/>
              <a:ext cx="626333" cy="626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770FF9-5328-AB58-CB40-6A292BF36803}"/>
              </a:ext>
            </a:extLst>
          </p:cNvPr>
          <p:cNvGrpSpPr/>
          <p:nvPr/>
        </p:nvGrpSpPr>
        <p:grpSpPr>
          <a:xfrm>
            <a:off x="4816162" y="1305604"/>
            <a:ext cx="1511022" cy="2701964"/>
            <a:chOff x="4816162" y="1305604"/>
            <a:chExt cx="1511022" cy="270196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4A5936B-6465-F2DB-F0B0-2B0EB9A02D9F}"/>
                </a:ext>
              </a:extLst>
            </p:cNvPr>
            <p:cNvGrpSpPr/>
            <p:nvPr/>
          </p:nvGrpSpPr>
          <p:grpSpPr>
            <a:xfrm>
              <a:off x="4816162" y="1305604"/>
              <a:ext cx="1511022" cy="2701964"/>
              <a:chOff x="10357629" y="3510979"/>
              <a:chExt cx="3667026" cy="7044952"/>
            </a:xfrm>
          </p:grpSpPr>
          <p:sp>
            <p:nvSpPr>
              <p:cNvPr id="19" name="Freeform 29">
                <a:extLst>
                  <a:ext uri="{FF2B5EF4-FFF2-40B4-BE49-F238E27FC236}">
                    <a16:creationId xmlns:a16="http://schemas.microsoft.com/office/drawing/2014/main" id="{06416CF6-A4D0-5E18-BAA9-FFE3CE4B06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57629" y="3510979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0" name="Freeform 30">
                <a:extLst>
                  <a:ext uri="{FF2B5EF4-FFF2-40B4-BE49-F238E27FC236}">
                    <a16:creationId xmlns:a16="http://schemas.microsoft.com/office/drawing/2014/main" id="{12D521EC-CE24-3446-D3B4-85D69E0E3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32953" y="3984586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ABFB8E1-F4F9-4DF0-6E38-CFA2D675144B}"/>
                  </a:ext>
                </a:extLst>
              </p:cNvPr>
              <p:cNvSpPr txBox="1"/>
              <p:nvPr/>
            </p:nvSpPr>
            <p:spPr>
              <a:xfrm>
                <a:off x="10514530" y="7589294"/>
                <a:ext cx="3510125" cy="2966637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Value generated in 2-5 Years timeframe vs Year 1</a:t>
                </a:r>
                <a:r>
                  <a:rPr lang="en-US" sz="700" baseline="100000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[3]</a:t>
                </a:r>
                <a:endParaRPr lang="en-US" baseline="100000">
                  <a:solidFill>
                    <a:schemeClr val="bg1">
                      <a:lumMod val="50000"/>
                    </a:schemeClr>
                  </a:solidFill>
                  <a:latin typeface="Montserrat" panose="00000500000000000000" pitchFamily="2" charset="0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AFC1279-FC81-A2EF-7A77-173CBFB4AC94}"/>
                </a:ext>
              </a:extLst>
            </p:cNvPr>
            <p:cNvSpPr txBox="1"/>
            <p:nvPr/>
          </p:nvSpPr>
          <p:spPr>
            <a:xfrm>
              <a:off x="5081389" y="2140797"/>
              <a:ext cx="98000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/>
                <a:t>2x</a:t>
              </a:r>
            </a:p>
          </p:txBody>
        </p:sp>
        <p:pic>
          <p:nvPicPr>
            <p:cNvPr id="1030" name="Picture 6" descr="Value Icon - Free PNG &amp; SVG 691629 - Noun Project">
              <a:extLst>
                <a:ext uri="{FF2B5EF4-FFF2-40B4-BE49-F238E27FC236}">
                  <a16:creationId xmlns:a16="http://schemas.microsoft.com/office/drawing/2014/main" id="{F12F3C6A-7408-8777-88CB-2010A8DB78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2789" y="1716948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C2FAA2E-D641-326B-5757-41EE72BBFA41}"/>
              </a:ext>
            </a:extLst>
          </p:cNvPr>
          <p:cNvGrpSpPr/>
          <p:nvPr/>
        </p:nvGrpSpPr>
        <p:grpSpPr>
          <a:xfrm>
            <a:off x="6710400" y="1319076"/>
            <a:ext cx="1762058" cy="2459576"/>
            <a:chOff x="6710400" y="1319076"/>
            <a:chExt cx="1762058" cy="245957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40C57D8-9104-5504-1BFD-C4905C59FCA0}"/>
                </a:ext>
              </a:extLst>
            </p:cNvPr>
            <p:cNvGrpSpPr/>
            <p:nvPr/>
          </p:nvGrpSpPr>
          <p:grpSpPr>
            <a:xfrm>
              <a:off x="6710400" y="1319076"/>
              <a:ext cx="1762058" cy="2459576"/>
              <a:chOff x="16390408" y="3581232"/>
              <a:chExt cx="4276253" cy="6412959"/>
            </a:xfrm>
          </p:grpSpPr>
          <p:sp>
            <p:nvSpPr>
              <p:cNvPr id="3" name="Freeform 29">
                <a:extLst>
                  <a:ext uri="{FF2B5EF4-FFF2-40B4-BE49-F238E27FC236}">
                    <a16:creationId xmlns:a16="http://schemas.microsoft.com/office/drawing/2014/main" id="{6FBA7A78-83C8-CB87-216A-2B0B62BA1E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44466" y="3581232"/>
                <a:ext cx="3667026" cy="3998207"/>
              </a:xfrm>
              <a:custGeom>
                <a:avLst/>
                <a:gdLst>
                  <a:gd name="T0" fmla="*/ 120 w 240"/>
                  <a:gd name="T1" fmla="*/ 262 h 262"/>
                  <a:gd name="T2" fmla="*/ 96 w 240"/>
                  <a:gd name="T3" fmla="*/ 255 h 262"/>
                  <a:gd name="T4" fmla="*/ 24 w 240"/>
                  <a:gd name="T5" fmla="*/ 214 h 262"/>
                  <a:gd name="T6" fmla="*/ 0 w 240"/>
                  <a:gd name="T7" fmla="*/ 172 h 262"/>
                  <a:gd name="T8" fmla="*/ 0 w 240"/>
                  <a:gd name="T9" fmla="*/ 89 h 262"/>
                  <a:gd name="T10" fmla="*/ 24 w 240"/>
                  <a:gd name="T11" fmla="*/ 48 h 262"/>
                  <a:gd name="T12" fmla="*/ 96 w 240"/>
                  <a:gd name="T13" fmla="*/ 7 h 262"/>
                  <a:gd name="T14" fmla="*/ 120 w 240"/>
                  <a:gd name="T15" fmla="*/ 0 h 262"/>
                  <a:gd name="T16" fmla="*/ 144 w 240"/>
                  <a:gd name="T17" fmla="*/ 7 h 262"/>
                  <a:gd name="T18" fmla="*/ 216 w 240"/>
                  <a:gd name="T19" fmla="*/ 48 h 262"/>
                  <a:gd name="T20" fmla="*/ 240 w 240"/>
                  <a:gd name="T21" fmla="*/ 89 h 262"/>
                  <a:gd name="T22" fmla="*/ 240 w 240"/>
                  <a:gd name="T23" fmla="*/ 172 h 262"/>
                  <a:gd name="T24" fmla="*/ 216 w 240"/>
                  <a:gd name="T25" fmla="*/ 214 h 262"/>
                  <a:gd name="T26" fmla="*/ 144 w 240"/>
                  <a:gd name="T27" fmla="*/ 255 h 262"/>
                  <a:gd name="T28" fmla="*/ 120 w 240"/>
                  <a:gd name="T29" fmla="*/ 262 h 262"/>
                  <a:gd name="T30" fmla="*/ 120 w 240"/>
                  <a:gd name="T31" fmla="*/ 2 h 262"/>
                  <a:gd name="T32" fmla="*/ 97 w 240"/>
                  <a:gd name="T33" fmla="*/ 8 h 262"/>
                  <a:gd name="T34" fmla="*/ 25 w 240"/>
                  <a:gd name="T35" fmla="*/ 49 h 262"/>
                  <a:gd name="T36" fmla="*/ 2 w 240"/>
                  <a:gd name="T37" fmla="*/ 89 h 262"/>
                  <a:gd name="T38" fmla="*/ 2 w 240"/>
                  <a:gd name="T39" fmla="*/ 172 h 262"/>
                  <a:gd name="T40" fmla="*/ 25 w 240"/>
                  <a:gd name="T41" fmla="*/ 213 h 262"/>
                  <a:gd name="T42" fmla="*/ 97 w 240"/>
                  <a:gd name="T43" fmla="*/ 254 h 262"/>
                  <a:gd name="T44" fmla="*/ 120 w 240"/>
                  <a:gd name="T45" fmla="*/ 260 h 262"/>
                  <a:gd name="T46" fmla="*/ 143 w 240"/>
                  <a:gd name="T47" fmla="*/ 254 h 262"/>
                  <a:gd name="T48" fmla="*/ 215 w 240"/>
                  <a:gd name="T49" fmla="*/ 213 h 262"/>
                  <a:gd name="T50" fmla="*/ 238 w 240"/>
                  <a:gd name="T51" fmla="*/ 172 h 262"/>
                  <a:gd name="T52" fmla="*/ 238 w 240"/>
                  <a:gd name="T53" fmla="*/ 89 h 262"/>
                  <a:gd name="T54" fmla="*/ 215 w 240"/>
                  <a:gd name="T55" fmla="*/ 49 h 262"/>
                  <a:gd name="T56" fmla="*/ 143 w 240"/>
                  <a:gd name="T57" fmla="*/ 8 h 262"/>
                  <a:gd name="T58" fmla="*/ 120 w 240"/>
                  <a:gd name="T59" fmla="*/ 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62">
                    <a:moveTo>
                      <a:pt x="120" y="262"/>
                    </a:moveTo>
                    <a:cubicBezTo>
                      <a:pt x="112" y="262"/>
                      <a:pt x="103" y="259"/>
                      <a:pt x="96" y="255"/>
                    </a:cubicBezTo>
                    <a:cubicBezTo>
                      <a:pt x="24" y="214"/>
                      <a:pt x="24" y="214"/>
                      <a:pt x="24" y="214"/>
                    </a:cubicBezTo>
                    <a:cubicBezTo>
                      <a:pt x="10" y="206"/>
                      <a:pt x="0" y="189"/>
                      <a:pt x="0" y="172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73"/>
                      <a:pt x="10" y="56"/>
                      <a:pt x="24" y="4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3" y="2"/>
                      <a:pt x="112" y="0"/>
                      <a:pt x="120" y="0"/>
                    </a:cubicBezTo>
                    <a:cubicBezTo>
                      <a:pt x="129" y="0"/>
                      <a:pt x="137" y="2"/>
                      <a:pt x="144" y="7"/>
                    </a:cubicBezTo>
                    <a:cubicBezTo>
                      <a:pt x="216" y="48"/>
                      <a:pt x="216" y="48"/>
                      <a:pt x="216" y="48"/>
                    </a:cubicBezTo>
                    <a:cubicBezTo>
                      <a:pt x="230" y="56"/>
                      <a:pt x="240" y="73"/>
                      <a:pt x="240" y="89"/>
                    </a:cubicBezTo>
                    <a:cubicBezTo>
                      <a:pt x="240" y="172"/>
                      <a:pt x="240" y="172"/>
                      <a:pt x="240" y="172"/>
                    </a:cubicBezTo>
                    <a:cubicBezTo>
                      <a:pt x="240" y="189"/>
                      <a:pt x="230" y="206"/>
                      <a:pt x="216" y="214"/>
                    </a:cubicBezTo>
                    <a:cubicBezTo>
                      <a:pt x="144" y="255"/>
                      <a:pt x="144" y="255"/>
                      <a:pt x="144" y="255"/>
                    </a:cubicBezTo>
                    <a:cubicBezTo>
                      <a:pt x="137" y="259"/>
                      <a:pt x="129" y="262"/>
                      <a:pt x="120" y="262"/>
                    </a:cubicBezTo>
                    <a:close/>
                    <a:moveTo>
                      <a:pt x="120" y="2"/>
                    </a:moveTo>
                    <a:cubicBezTo>
                      <a:pt x="112" y="2"/>
                      <a:pt x="104" y="4"/>
                      <a:pt x="97" y="8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11" y="57"/>
                      <a:pt x="2" y="73"/>
                      <a:pt x="2" y="89"/>
                    </a:cubicBezTo>
                    <a:cubicBezTo>
                      <a:pt x="2" y="172"/>
                      <a:pt x="2" y="172"/>
                      <a:pt x="2" y="172"/>
                    </a:cubicBezTo>
                    <a:cubicBezTo>
                      <a:pt x="2" y="188"/>
                      <a:pt x="11" y="205"/>
                      <a:pt x="25" y="213"/>
                    </a:cubicBezTo>
                    <a:cubicBezTo>
                      <a:pt x="97" y="254"/>
                      <a:pt x="97" y="254"/>
                      <a:pt x="97" y="254"/>
                    </a:cubicBezTo>
                    <a:cubicBezTo>
                      <a:pt x="104" y="258"/>
                      <a:pt x="112" y="260"/>
                      <a:pt x="120" y="260"/>
                    </a:cubicBezTo>
                    <a:cubicBezTo>
                      <a:pt x="128" y="260"/>
                      <a:pt x="136" y="258"/>
                      <a:pt x="143" y="254"/>
                    </a:cubicBezTo>
                    <a:cubicBezTo>
                      <a:pt x="215" y="213"/>
                      <a:pt x="215" y="213"/>
                      <a:pt x="215" y="213"/>
                    </a:cubicBezTo>
                    <a:cubicBezTo>
                      <a:pt x="229" y="205"/>
                      <a:pt x="238" y="188"/>
                      <a:pt x="238" y="172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8" y="73"/>
                      <a:pt x="229" y="57"/>
                      <a:pt x="215" y="49"/>
                    </a:cubicBezTo>
                    <a:cubicBezTo>
                      <a:pt x="143" y="8"/>
                      <a:pt x="143" y="8"/>
                      <a:pt x="143" y="8"/>
                    </a:cubicBezTo>
                    <a:cubicBezTo>
                      <a:pt x="136" y="4"/>
                      <a:pt x="128" y="2"/>
                      <a:pt x="120" y="2"/>
                    </a:cubicBezTo>
                    <a:close/>
                  </a:path>
                </a:pathLst>
              </a:custGeom>
              <a:solidFill>
                <a:srgbClr val="7C7C7B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4" name="Freeform 30">
                <a:extLst>
                  <a:ext uri="{FF2B5EF4-FFF2-40B4-BE49-F238E27FC236}">
                    <a16:creationId xmlns:a16="http://schemas.microsoft.com/office/drawing/2014/main" id="{0060669F-F91A-AFFA-FEFC-0005EC27C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9790" y="4054839"/>
                <a:ext cx="2718095" cy="3052709"/>
              </a:xfrm>
              <a:custGeom>
                <a:avLst/>
                <a:gdLst>
                  <a:gd name="T0" fmla="*/ 89 w 178"/>
                  <a:gd name="T1" fmla="*/ 200 h 200"/>
                  <a:gd name="T2" fmla="*/ 81 w 178"/>
                  <a:gd name="T3" fmla="*/ 197 h 200"/>
                  <a:gd name="T4" fmla="*/ 9 w 178"/>
                  <a:gd name="T5" fmla="*/ 156 h 200"/>
                  <a:gd name="T6" fmla="*/ 0 w 178"/>
                  <a:gd name="T7" fmla="*/ 141 h 200"/>
                  <a:gd name="T8" fmla="*/ 0 w 178"/>
                  <a:gd name="T9" fmla="*/ 58 h 200"/>
                  <a:gd name="T10" fmla="*/ 9 w 178"/>
                  <a:gd name="T11" fmla="*/ 44 h 200"/>
                  <a:gd name="T12" fmla="*/ 81 w 178"/>
                  <a:gd name="T13" fmla="*/ 2 h 200"/>
                  <a:gd name="T14" fmla="*/ 89 w 178"/>
                  <a:gd name="T15" fmla="*/ 0 h 200"/>
                  <a:gd name="T16" fmla="*/ 97 w 178"/>
                  <a:gd name="T17" fmla="*/ 2 h 200"/>
                  <a:gd name="T18" fmla="*/ 169 w 178"/>
                  <a:gd name="T19" fmla="*/ 44 h 200"/>
                  <a:gd name="T20" fmla="*/ 178 w 178"/>
                  <a:gd name="T21" fmla="*/ 58 h 200"/>
                  <a:gd name="T22" fmla="*/ 178 w 178"/>
                  <a:gd name="T23" fmla="*/ 141 h 200"/>
                  <a:gd name="T24" fmla="*/ 169 w 178"/>
                  <a:gd name="T25" fmla="*/ 156 h 200"/>
                  <a:gd name="T26" fmla="*/ 97 w 178"/>
                  <a:gd name="T27" fmla="*/ 197 h 200"/>
                  <a:gd name="T28" fmla="*/ 89 w 178"/>
                  <a:gd name="T29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8" h="200">
                    <a:moveTo>
                      <a:pt x="89" y="200"/>
                    </a:moveTo>
                    <a:cubicBezTo>
                      <a:pt x="86" y="200"/>
                      <a:pt x="83" y="199"/>
                      <a:pt x="81" y="197"/>
                    </a:cubicBezTo>
                    <a:cubicBezTo>
                      <a:pt x="9" y="156"/>
                      <a:pt x="9" y="156"/>
                      <a:pt x="9" y="156"/>
                    </a:cubicBezTo>
                    <a:cubicBezTo>
                      <a:pt x="4" y="153"/>
                      <a:pt x="0" y="147"/>
                      <a:pt x="0" y="141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3"/>
                      <a:pt x="4" y="47"/>
                      <a:pt x="9" y="44"/>
                    </a:cubicBezTo>
                    <a:cubicBezTo>
                      <a:pt x="81" y="2"/>
                      <a:pt x="81" y="2"/>
                      <a:pt x="81" y="2"/>
                    </a:cubicBezTo>
                    <a:cubicBezTo>
                      <a:pt x="83" y="1"/>
                      <a:pt x="86" y="0"/>
                      <a:pt x="89" y="0"/>
                    </a:cubicBezTo>
                    <a:cubicBezTo>
                      <a:pt x="92" y="0"/>
                      <a:pt x="95" y="1"/>
                      <a:pt x="97" y="2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74" y="47"/>
                      <a:pt x="178" y="53"/>
                      <a:pt x="178" y="58"/>
                    </a:cubicBezTo>
                    <a:cubicBezTo>
                      <a:pt x="178" y="141"/>
                      <a:pt x="178" y="141"/>
                      <a:pt x="178" y="141"/>
                    </a:cubicBezTo>
                    <a:cubicBezTo>
                      <a:pt x="178" y="147"/>
                      <a:pt x="174" y="153"/>
                      <a:pt x="169" y="156"/>
                    </a:cubicBezTo>
                    <a:cubicBezTo>
                      <a:pt x="97" y="197"/>
                      <a:pt x="97" y="197"/>
                      <a:pt x="97" y="197"/>
                    </a:cubicBezTo>
                    <a:cubicBezTo>
                      <a:pt x="95" y="199"/>
                      <a:pt x="92" y="200"/>
                      <a:pt x="89" y="20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A62886E0-6321-8280-7EA7-6D1E6DF204CC}"/>
                  </a:ext>
                </a:extLst>
              </p:cNvPr>
              <p:cNvSpPr txBox="1"/>
              <p:nvPr/>
            </p:nvSpPr>
            <p:spPr>
              <a:xfrm>
                <a:off x="16390408" y="7589292"/>
                <a:ext cx="4276253" cy="2404899"/>
              </a:xfrm>
              <a:prstGeom prst="rect">
                <a:avLst/>
              </a:prstGeom>
              <a:noFill/>
            </p:spPr>
            <p:txBody>
              <a:bodyPr wrap="square" lIns="59996" tIns="29998" rIns="59996" bIns="29998" rtlCol="0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bg1">
                        <a:lumMod val="50000"/>
                      </a:schemeClr>
                    </a:solidFill>
                    <a:latin typeface="Montserrat" panose="00000500000000000000" pitchFamily="2" charset="0"/>
                  </a:rPr>
                  <a:t>Can we estimate Potential Future Customer Value???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40F5CAC-B813-2E0A-E947-B870ED8926FA}"/>
                </a:ext>
              </a:extLst>
            </p:cNvPr>
            <p:cNvSpPr txBox="1"/>
            <p:nvPr/>
          </p:nvSpPr>
          <p:spPr>
            <a:xfrm>
              <a:off x="7121802" y="2192285"/>
              <a:ext cx="98000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>
                  <a:latin typeface="Montserrat" panose="00000500000000000000" pitchFamily="2" charset="0"/>
                </a:rPr>
                <a:t>?</a:t>
              </a:r>
              <a:endParaRPr lang="en-US" sz="1800"/>
            </a:p>
          </p:txBody>
        </p:sp>
        <p:pic>
          <p:nvPicPr>
            <p:cNvPr id="1032" name="Picture 8" descr="Customer Value Icons - Free SVG &amp; PNG Customer Value Images - Noun Project">
              <a:extLst>
                <a:ext uri="{FF2B5EF4-FFF2-40B4-BE49-F238E27FC236}">
                  <a16:creationId xmlns:a16="http://schemas.microsoft.com/office/drawing/2014/main" id="{3C6DF03E-1F65-866E-92F7-C0DC1B1212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2051" y="1647162"/>
              <a:ext cx="558756" cy="558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224019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3A8E60-4E4E-B908-6A9F-4C959E1837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8CDE238-7461-B4FC-06F6-FC46D520B6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211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CDE238-7461-B4FC-06F6-FC46D520B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884533A-B136-8105-3807-96FC4D524C4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1174" y="1704528"/>
            <a:ext cx="8306783" cy="867222"/>
          </a:xfrm>
        </p:spPr>
        <p:txBody>
          <a:bodyPr vert="horz"/>
          <a:lstStyle/>
          <a:p>
            <a:r>
              <a:rPr lang="en-US" sz="4800"/>
              <a:t>CUSTOMER SEGMENT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1E8B15-49A6-EAE9-0631-DC4F589736A3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C92AEC7-1B2D-DCAC-E7E0-0B9663489085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0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426403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CF20D-15EB-652F-9CF3-6E3463F09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2A58CF0-BD42-B432-9B1F-608842A01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A58CF0-BD42-B432-9B1F-608842A014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826C0A73-11F2-F70D-31BC-E06BC61D8945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ustomers can be segmented and prioritized based on Margin and Retention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1FCE9D-6A89-82C7-46EA-72738AA9BD4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1</a:t>
            </a:fld>
            <a:endParaRPr lang="en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BFB7327-A65A-87D2-581E-427A42DF8668}"/>
              </a:ext>
            </a:extLst>
          </p:cNvPr>
          <p:cNvGrpSpPr/>
          <p:nvPr/>
        </p:nvGrpSpPr>
        <p:grpSpPr>
          <a:xfrm>
            <a:off x="2232340" y="967710"/>
            <a:ext cx="4231420" cy="3872218"/>
            <a:chOff x="1821459" y="-164325"/>
            <a:chExt cx="4970491" cy="4987071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A3B04BF6-4EA8-08E7-7504-409D649D2F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813" y="2099450"/>
              <a:ext cx="2265362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6D5282CF-E439-4943-5407-A8EBA1AF6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75" y="-164325"/>
              <a:ext cx="2263775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25" name="Line 13">
              <a:extLst>
                <a:ext uri="{FF2B5EF4-FFF2-40B4-BE49-F238E27FC236}">
                  <a16:creationId xmlns:a16="http://schemas.microsoft.com/office/drawing/2014/main" id="{648BA966-E100-47FC-DA43-727064A7C5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62800" y="-157976"/>
              <a:ext cx="0" cy="448786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" name="Line 14">
              <a:extLst>
                <a:ext uri="{FF2B5EF4-FFF2-40B4-BE49-F238E27FC236}">
                  <a16:creationId xmlns:a16="http://schemas.microsoft.com/office/drawing/2014/main" id="{8C04DF95-7BC9-A4AB-6B4B-2E596BD4424A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4526588" y="2220100"/>
              <a:ext cx="0" cy="44894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43" name="Text Box 21">
              <a:extLst>
                <a:ext uri="{FF2B5EF4-FFF2-40B4-BE49-F238E27FC236}">
                  <a16:creationId xmlns:a16="http://schemas.microsoft.com/office/drawing/2014/main" id="{9A44DEE1-1AD1-46A6-8896-B9ED16254E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2117" y="4545273"/>
              <a:ext cx="689173" cy="277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Margin</a:t>
              </a:r>
            </a:p>
          </p:txBody>
        </p:sp>
        <p:sp>
          <p:nvSpPr>
            <p:cNvPr id="45" name="Text Box 22">
              <a:extLst>
                <a:ext uri="{FF2B5EF4-FFF2-40B4-BE49-F238E27FC236}">
                  <a16:creationId xmlns:a16="http://schemas.microsoft.com/office/drawing/2014/main" id="{A03145E3-6E0F-DEC6-EB56-783DF04109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99217" y="2039347"/>
              <a:ext cx="2097558" cy="253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Retention Likelihood</a:t>
              </a:r>
              <a:endParaRPr lang="en-US" altLang="en-US" sz="1400" b="0">
                <a:solidFill>
                  <a:schemeClr val="bg2">
                    <a:lumMod val="50000"/>
                  </a:schemeClr>
                </a:solidFill>
                <a:latin typeface="Alata" panose="020B0604020202020204" charset="0"/>
              </a:endParaRPr>
            </a:p>
          </p:txBody>
        </p:sp>
      </p:grpSp>
      <p:sp>
        <p:nvSpPr>
          <p:cNvPr id="54" name="Rectangle 1">
            <a:extLst>
              <a:ext uri="{FF2B5EF4-FFF2-40B4-BE49-F238E27FC236}">
                <a16:creationId xmlns:a16="http://schemas.microsoft.com/office/drawing/2014/main" id="{3E34A4C5-CF61-2F2D-F8C8-829E691873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4284" y="1091711"/>
            <a:ext cx="1817688" cy="15813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oyal Low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45%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sz="900" b="0" i="0">
                <a:solidFill>
                  <a:srgbClr val="000000"/>
                </a:solidFill>
                <a:latin typeface="Montserrat" panose="00000500000000000000" pitchFamily="2" charset="0"/>
              </a:rPr>
              <a:t>$ 450 Avg 3-Year CFV</a:t>
            </a:r>
            <a:endParaRPr lang="en-US" altLang="en-US" sz="900" b="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9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55" name="Rectangle 7">
            <a:extLst>
              <a:ext uri="{FF2B5EF4-FFF2-40B4-BE49-F238E27FC236}">
                <a16:creationId xmlns:a16="http://schemas.microsoft.com/office/drawing/2014/main" id="{6BE2E20C-742F-64D4-19B6-5E8EF03C07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5789" y="1091711"/>
            <a:ext cx="1817687" cy="158132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oyal Big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2%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$2200 Avg 3-Year CFV</a:t>
            </a:r>
          </a:p>
        </p:txBody>
      </p:sp>
      <p:sp>
        <p:nvSpPr>
          <p:cNvPr id="56" name="Rectangle 8">
            <a:extLst>
              <a:ext uri="{FF2B5EF4-FFF2-40B4-BE49-F238E27FC236}">
                <a16:creationId xmlns:a16="http://schemas.microsoft.com/office/drawing/2014/main" id="{0E093429-2E0B-D463-08B2-454F6E3A3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4284" y="2725421"/>
            <a:ext cx="1817688" cy="1731826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Disengaged Low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3%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$47 Avg 3-Year CFV</a:t>
            </a:r>
          </a:p>
        </p:txBody>
      </p:sp>
      <p:sp>
        <p:nvSpPr>
          <p:cNvPr id="57" name="Rectangle 9">
            <a:extLst>
              <a:ext uri="{FF2B5EF4-FFF2-40B4-BE49-F238E27FC236}">
                <a16:creationId xmlns:a16="http://schemas.microsoft.com/office/drawing/2014/main" id="{8E7CD8E8-098D-2A59-8EE4-9864EE4BB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772" y="2725420"/>
            <a:ext cx="1817687" cy="17318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Unhappy High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9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10%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900" b="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$1100 Avg 3-Year CFV</a:t>
            </a:r>
          </a:p>
        </p:txBody>
      </p:sp>
    </p:spTree>
    <p:extLst>
      <p:ext uri="{BB962C8B-B14F-4D97-AF65-F5344CB8AC3E}">
        <p14:creationId xmlns:p14="http://schemas.microsoft.com/office/powerpoint/2010/main" val="11618724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CE2A68-D5FF-6A43-B308-C13CC1BC2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7F30DE4A-BFA6-9B44-6A78-EDB07C843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56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30DE4A-BFA6-9B44-6A78-EDB07C843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A69DF033-5A89-C24A-59AC-1A40B7057136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Loyal Big Spenders: High Margin – High Retention (Group 1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000245-5B13-BD59-4B36-07FDF1CF5FF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2</a:t>
            </a:fld>
            <a:endParaRPr lang="en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95F51C4-6495-5CD1-FD15-89253D97C0F9}"/>
              </a:ext>
            </a:extLst>
          </p:cNvPr>
          <p:cNvGrpSpPr/>
          <p:nvPr/>
        </p:nvGrpSpPr>
        <p:grpSpPr>
          <a:xfrm>
            <a:off x="740076" y="974910"/>
            <a:ext cx="4231420" cy="3872218"/>
            <a:chOff x="1821459" y="-164325"/>
            <a:chExt cx="4970491" cy="4987071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EEF3B4AF-949C-5A2C-0248-E4AEA3EEC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813" y="2099450"/>
              <a:ext cx="2265362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8F57A53B-D749-4B0B-A19E-791821C2D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75" y="-164325"/>
              <a:ext cx="2263775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25" name="Line 13">
              <a:extLst>
                <a:ext uri="{FF2B5EF4-FFF2-40B4-BE49-F238E27FC236}">
                  <a16:creationId xmlns:a16="http://schemas.microsoft.com/office/drawing/2014/main" id="{B06B8537-8368-B569-1746-3FB21B728D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62800" y="-157976"/>
              <a:ext cx="0" cy="448786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" name="Line 14">
              <a:extLst>
                <a:ext uri="{FF2B5EF4-FFF2-40B4-BE49-F238E27FC236}">
                  <a16:creationId xmlns:a16="http://schemas.microsoft.com/office/drawing/2014/main" id="{60898135-094A-A64A-F7F5-2C06A27F6A65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4526588" y="2220100"/>
              <a:ext cx="0" cy="44894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43" name="Text Box 21">
              <a:extLst>
                <a:ext uri="{FF2B5EF4-FFF2-40B4-BE49-F238E27FC236}">
                  <a16:creationId xmlns:a16="http://schemas.microsoft.com/office/drawing/2014/main" id="{852E9A1A-B17C-3989-0F6B-ADAC82E1AC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2117" y="4545273"/>
              <a:ext cx="689173" cy="277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Margin</a:t>
              </a:r>
            </a:p>
          </p:txBody>
        </p:sp>
        <p:sp>
          <p:nvSpPr>
            <p:cNvPr id="45" name="Text Box 22">
              <a:extLst>
                <a:ext uri="{FF2B5EF4-FFF2-40B4-BE49-F238E27FC236}">
                  <a16:creationId xmlns:a16="http://schemas.microsoft.com/office/drawing/2014/main" id="{5332C7FA-932F-0A8D-FC06-C947224E54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99217" y="2039347"/>
              <a:ext cx="2097558" cy="253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Retention Likelihood</a:t>
              </a:r>
              <a:endParaRPr lang="en-US" altLang="en-US" sz="1400" b="0">
                <a:solidFill>
                  <a:schemeClr val="bg2">
                    <a:lumMod val="50000"/>
                  </a:schemeClr>
                </a:solidFill>
                <a:latin typeface="Alata" panose="020B060402020202020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FF313A-3823-414C-5DB5-9D380DEF148E}"/>
              </a:ext>
            </a:extLst>
          </p:cNvPr>
          <p:cNvGrpSpPr/>
          <p:nvPr/>
        </p:nvGrpSpPr>
        <p:grpSpPr>
          <a:xfrm>
            <a:off x="4811212" y="1070292"/>
            <a:ext cx="4074141" cy="1636264"/>
            <a:chOff x="4811212" y="1070292"/>
            <a:chExt cx="4074141" cy="163626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214011D-4FB1-ABEE-6415-A35C20B4CAAD}"/>
                </a:ext>
              </a:extLst>
            </p:cNvPr>
            <p:cNvCxnSpPr>
              <a:cxnSpLocks/>
            </p:cNvCxnSpPr>
            <p:nvPr/>
          </p:nvCxnSpPr>
          <p:spPr>
            <a:xfrm>
              <a:off x="4811212" y="1888424"/>
              <a:ext cx="1071188" cy="1147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: Rounded Corners 45">
              <a:extLst>
                <a:ext uri="{FF2B5EF4-FFF2-40B4-BE49-F238E27FC236}">
                  <a16:creationId xmlns:a16="http://schemas.microsoft.com/office/drawing/2014/main" id="{FA486285-85CE-19F7-F98B-34DF72348331}"/>
                </a:ext>
              </a:extLst>
            </p:cNvPr>
            <p:cNvSpPr/>
            <p:nvPr/>
          </p:nvSpPr>
          <p:spPr>
            <a:xfrm>
              <a:off x="5668671" y="1070292"/>
              <a:ext cx="3216682" cy="1636264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Lowest Churn Rate (5%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est 3-Year CFV ($ 2200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 Income Grou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75% Customers in Silver + Gold Tiers</a:t>
              </a:r>
            </a:p>
          </p:txBody>
        </p:sp>
      </p:grpSp>
      <p:sp>
        <p:nvSpPr>
          <p:cNvPr id="13" name="Rectangle 1">
            <a:extLst>
              <a:ext uri="{FF2B5EF4-FFF2-40B4-BE49-F238E27FC236}">
                <a16:creationId xmlns:a16="http://schemas.microsoft.com/office/drawing/2014/main" id="{FB3C763B-FB45-DCBC-6A4C-8BD302236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1089297"/>
            <a:ext cx="1817688" cy="15813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Low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45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607817BC-1ED1-39FF-2BA1-9B7956C0B8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3524" y="1089297"/>
            <a:ext cx="1817687" cy="158132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oyal Big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2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F141E32F-B7FB-A1A4-57FA-FF4E0FCBC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2723007"/>
            <a:ext cx="1817688" cy="1731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Disengaged Low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4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3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1AD18380-5EA1-9FC9-7484-CE2A4191C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0507" y="2723006"/>
            <a:ext cx="1817687" cy="17318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Unhappy High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10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7735387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7E864-23F9-2F12-3193-00DC10476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A6EC44C-816D-C3E0-F809-05D9A7BB15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84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EC44C-816D-C3E0-F809-05D9A7BB1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>
            <a:extLst>
              <a:ext uri="{FF2B5EF4-FFF2-40B4-BE49-F238E27FC236}">
                <a16:creationId xmlns:a16="http://schemas.microsoft.com/office/drawing/2014/main" id="{4946D128-8E64-6ABF-83BC-711738512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3524" y="1089297"/>
            <a:ext cx="1817687" cy="1581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Big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2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FE79A1F7-8A04-78E7-3E3F-6422E8E7D564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Loyal Low Spenders: High Retention &amp; Low Margin (Group 2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A4D2BE-6906-7B9C-DC26-FAE09FCBC7E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3</a:t>
            </a:fld>
            <a:endParaRPr lang="en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30AD85F-F088-22B7-8281-2FED45C389F8}"/>
              </a:ext>
            </a:extLst>
          </p:cNvPr>
          <p:cNvGrpSpPr/>
          <p:nvPr/>
        </p:nvGrpSpPr>
        <p:grpSpPr>
          <a:xfrm>
            <a:off x="740076" y="974910"/>
            <a:ext cx="4231420" cy="3872218"/>
            <a:chOff x="1821459" y="-164325"/>
            <a:chExt cx="4970491" cy="4987071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68221F68-CE11-37C5-61F3-0D737BC16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813" y="2099450"/>
              <a:ext cx="2265362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74E9B325-FE42-20DF-C262-A657734A1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75" y="-164325"/>
              <a:ext cx="2263775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25" name="Line 13">
              <a:extLst>
                <a:ext uri="{FF2B5EF4-FFF2-40B4-BE49-F238E27FC236}">
                  <a16:creationId xmlns:a16="http://schemas.microsoft.com/office/drawing/2014/main" id="{C8B71564-731E-FCD7-03AF-67951D0915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62800" y="-157976"/>
              <a:ext cx="0" cy="448786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" name="Line 14">
              <a:extLst>
                <a:ext uri="{FF2B5EF4-FFF2-40B4-BE49-F238E27FC236}">
                  <a16:creationId xmlns:a16="http://schemas.microsoft.com/office/drawing/2014/main" id="{AA3B81E7-2627-2A26-3761-4AD88E95F47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4526588" y="2220100"/>
              <a:ext cx="0" cy="44894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43" name="Text Box 21">
              <a:extLst>
                <a:ext uri="{FF2B5EF4-FFF2-40B4-BE49-F238E27FC236}">
                  <a16:creationId xmlns:a16="http://schemas.microsoft.com/office/drawing/2014/main" id="{41AD5845-99A6-4A8A-2884-30767CDCDBF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2117" y="4545273"/>
              <a:ext cx="689173" cy="277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Margin</a:t>
              </a:r>
            </a:p>
          </p:txBody>
        </p:sp>
        <p:sp>
          <p:nvSpPr>
            <p:cNvPr id="45" name="Text Box 22">
              <a:extLst>
                <a:ext uri="{FF2B5EF4-FFF2-40B4-BE49-F238E27FC236}">
                  <a16:creationId xmlns:a16="http://schemas.microsoft.com/office/drawing/2014/main" id="{1D3123F3-C58D-C511-6BA5-BBA9A9C76D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99217" y="2039347"/>
              <a:ext cx="2097558" cy="253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Retention Likelihood</a:t>
              </a:r>
              <a:endParaRPr lang="en-US" altLang="en-US" sz="1400" b="0">
                <a:solidFill>
                  <a:schemeClr val="bg2">
                    <a:lumMod val="50000"/>
                  </a:schemeClr>
                </a:solidFill>
                <a:latin typeface="Alata" panose="020B060402020202020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AFCE13-6210-DDF0-AA44-8B6102BFA3F6}"/>
              </a:ext>
            </a:extLst>
          </p:cNvPr>
          <p:cNvGrpSpPr/>
          <p:nvPr/>
        </p:nvGrpSpPr>
        <p:grpSpPr>
          <a:xfrm>
            <a:off x="2949708" y="1070292"/>
            <a:ext cx="5935645" cy="1636264"/>
            <a:chOff x="2949708" y="1070292"/>
            <a:chExt cx="5935645" cy="163626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C5FE1B1-430D-9475-B697-B0A682B0F5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708" y="1889571"/>
              <a:ext cx="2932692" cy="1"/>
            </a:xfrm>
            <a:prstGeom prst="lin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: Rounded Corners 45">
              <a:extLst>
                <a:ext uri="{FF2B5EF4-FFF2-40B4-BE49-F238E27FC236}">
                  <a16:creationId xmlns:a16="http://schemas.microsoft.com/office/drawing/2014/main" id="{957F8758-D5EE-E518-371A-4D73E0096360}"/>
                </a:ext>
              </a:extLst>
            </p:cNvPr>
            <p:cNvSpPr/>
            <p:nvPr/>
          </p:nvSpPr>
          <p:spPr>
            <a:xfrm>
              <a:off x="5668671" y="1070292"/>
              <a:ext cx="3216682" cy="1636264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Low Churn Rate (9%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Second Lowest 3-Year CFV ($ 450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Low Income Grou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80% Customers in Bronze Tier</a:t>
              </a:r>
            </a:p>
          </p:txBody>
        </p:sp>
      </p:grpSp>
      <p:sp>
        <p:nvSpPr>
          <p:cNvPr id="13" name="Rectangle 1">
            <a:extLst>
              <a:ext uri="{FF2B5EF4-FFF2-40B4-BE49-F238E27FC236}">
                <a16:creationId xmlns:a16="http://schemas.microsoft.com/office/drawing/2014/main" id="{E6E9176E-644A-8EB5-60D1-DA82EFAAB5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1089297"/>
            <a:ext cx="1817688" cy="15813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Loyal Low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45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AA305EB7-1BEA-B847-5148-699B93694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2723007"/>
            <a:ext cx="1817688" cy="1731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Disengaged Low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4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3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EE12FAB4-9B87-968F-9993-CC3E4C72EF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0507" y="2723006"/>
            <a:ext cx="1817687" cy="17318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Unhappy High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10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309938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40C114-4DC6-8F74-8B5E-48E024D469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547A26C-916B-4B2D-6164-163D7F9663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47A26C-916B-4B2D-6164-163D7F9663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735748B9-85B1-92D3-BFAF-5F19310808FF}"/>
              </a:ext>
            </a:extLst>
          </p:cNvPr>
          <p:cNvSpPr txBox="1">
            <a:spLocks/>
          </p:cNvSpPr>
          <p:nvPr/>
        </p:nvSpPr>
        <p:spPr>
          <a:xfrm>
            <a:off x="740075" y="97538"/>
            <a:ext cx="7946721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Unhappy High Value Customers: High Margin – Low Retention Rate (Group 3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C7D256-F5AE-E3F7-7519-557AE1EEC8F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4</a:t>
            </a:fld>
            <a:endParaRPr lang="en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9AF524C-5CD5-03B2-5416-52248AFEE7DE}"/>
              </a:ext>
            </a:extLst>
          </p:cNvPr>
          <p:cNvGrpSpPr/>
          <p:nvPr/>
        </p:nvGrpSpPr>
        <p:grpSpPr>
          <a:xfrm>
            <a:off x="740076" y="974910"/>
            <a:ext cx="4231420" cy="3872218"/>
            <a:chOff x="1821459" y="-164325"/>
            <a:chExt cx="4970491" cy="4987071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2B904AA9-A6FF-D1D5-EE4F-5BD9AC8849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813" y="2099450"/>
              <a:ext cx="2265362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BFFA818B-71B9-1EA3-E7AE-901720215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75" y="-164325"/>
              <a:ext cx="2263775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25" name="Line 13">
              <a:extLst>
                <a:ext uri="{FF2B5EF4-FFF2-40B4-BE49-F238E27FC236}">
                  <a16:creationId xmlns:a16="http://schemas.microsoft.com/office/drawing/2014/main" id="{B23C4925-6500-D669-CF76-3D8FE8F4FF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62800" y="-157976"/>
              <a:ext cx="0" cy="448786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" name="Line 14">
              <a:extLst>
                <a:ext uri="{FF2B5EF4-FFF2-40B4-BE49-F238E27FC236}">
                  <a16:creationId xmlns:a16="http://schemas.microsoft.com/office/drawing/2014/main" id="{2FB36101-4DC2-1484-783C-11D7AEA6D0F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4526588" y="2220100"/>
              <a:ext cx="0" cy="44894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43" name="Text Box 21">
              <a:extLst>
                <a:ext uri="{FF2B5EF4-FFF2-40B4-BE49-F238E27FC236}">
                  <a16:creationId xmlns:a16="http://schemas.microsoft.com/office/drawing/2014/main" id="{57176D58-999F-E73B-C7FB-6E220E7E65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2117" y="4545273"/>
              <a:ext cx="689173" cy="277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Margin</a:t>
              </a:r>
            </a:p>
          </p:txBody>
        </p:sp>
        <p:sp>
          <p:nvSpPr>
            <p:cNvPr id="45" name="Text Box 22">
              <a:extLst>
                <a:ext uri="{FF2B5EF4-FFF2-40B4-BE49-F238E27FC236}">
                  <a16:creationId xmlns:a16="http://schemas.microsoft.com/office/drawing/2014/main" id="{C7991BC5-5B5C-8F3F-3200-8491B30709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99217" y="2039347"/>
              <a:ext cx="2097558" cy="253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Retention Likelihood</a:t>
              </a:r>
              <a:endParaRPr lang="en-US" altLang="en-US" sz="1400" b="0">
                <a:solidFill>
                  <a:schemeClr val="bg2">
                    <a:lumMod val="50000"/>
                  </a:schemeClr>
                </a:solidFill>
                <a:latin typeface="Alata" panose="020B060402020202020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BC7674-ADD9-818B-C355-6A71A8F77B6E}"/>
              </a:ext>
            </a:extLst>
          </p:cNvPr>
          <p:cNvGrpSpPr/>
          <p:nvPr/>
        </p:nvGrpSpPr>
        <p:grpSpPr>
          <a:xfrm>
            <a:off x="4818195" y="2793344"/>
            <a:ext cx="4074358" cy="1636264"/>
            <a:chOff x="4818195" y="1104517"/>
            <a:chExt cx="4074358" cy="163626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8DA1325-29E7-76F1-05D9-C4990336C2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18195" y="1909703"/>
              <a:ext cx="1093005" cy="1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: Rounded Corners 45">
              <a:extLst>
                <a:ext uri="{FF2B5EF4-FFF2-40B4-BE49-F238E27FC236}">
                  <a16:creationId xmlns:a16="http://schemas.microsoft.com/office/drawing/2014/main" id="{BD767CFF-2AC9-AD85-160E-6A80E6D0EFEE}"/>
                </a:ext>
              </a:extLst>
            </p:cNvPr>
            <p:cNvSpPr/>
            <p:nvPr/>
          </p:nvSpPr>
          <p:spPr>
            <a:xfrm>
              <a:off x="5675871" y="1104517"/>
              <a:ext cx="3216682" cy="1636264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rgbClr val="FFE3EE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 Churn Rate (38%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 Spenders. $1100 3-Year CFV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Mostly middle-aged customer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est % of Platinum + Diamond Customers</a:t>
              </a:r>
            </a:p>
          </p:txBody>
        </p:sp>
      </p:grpSp>
      <p:sp>
        <p:nvSpPr>
          <p:cNvPr id="6" name="Rectangle 1">
            <a:extLst>
              <a:ext uri="{FF2B5EF4-FFF2-40B4-BE49-F238E27FC236}">
                <a16:creationId xmlns:a16="http://schemas.microsoft.com/office/drawing/2014/main" id="{3B680511-A171-8BD0-8C07-33C41E812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1089297"/>
            <a:ext cx="1817688" cy="15813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Low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45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907A95-1414-4194-CD97-C10C394B4E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3524" y="1089297"/>
            <a:ext cx="1817687" cy="1581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Big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2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29F635D5-CE2A-6CA3-80B1-49039C9E8C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2723007"/>
            <a:ext cx="1817688" cy="1731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Disengaged Low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4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3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A771CCC4-E95F-19A4-1B3F-F592B891D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0507" y="2723006"/>
            <a:ext cx="1817687" cy="17318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Unhappy High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10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37815302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E93CF6-9CE6-39F9-257A-21EF109DE0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244B8D3-B251-8959-4F84-153B58F486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802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44B8D3-B251-8959-4F84-153B58F48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>
            <a:extLst>
              <a:ext uri="{FF2B5EF4-FFF2-40B4-BE49-F238E27FC236}">
                <a16:creationId xmlns:a16="http://schemas.microsoft.com/office/drawing/2014/main" id="{B9C1AB0F-AD30-A6DF-E464-582A449736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0507" y="2723006"/>
            <a:ext cx="1817687" cy="17318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Unhappy High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10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32B95CDE-5588-14A8-82BC-5FB622BAF64F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High-Risk Low Value Customers: Low Margin – Low Retention Rate (Group 4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A09A23-F5B0-5E4C-14D6-35D24B9EF152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5</a:t>
            </a:fld>
            <a:endParaRPr lang="en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BEF902F-2A0A-0A66-2198-03A2C1784E6A}"/>
              </a:ext>
            </a:extLst>
          </p:cNvPr>
          <p:cNvGrpSpPr/>
          <p:nvPr/>
        </p:nvGrpSpPr>
        <p:grpSpPr>
          <a:xfrm>
            <a:off x="740076" y="974910"/>
            <a:ext cx="4231420" cy="3872218"/>
            <a:chOff x="1821459" y="-164325"/>
            <a:chExt cx="4970491" cy="4987071"/>
          </a:xfrm>
        </p:grpSpPr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id="{20417DEC-CBCD-4696-D677-12571DA55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813" y="2099450"/>
              <a:ext cx="2265362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F60ACA0A-DA26-D97E-956C-6F048FF7D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8175" y="-164325"/>
              <a:ext cx="2263775" cy="22637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spcAft>
                  <a:spcPct val="50000"/>
                </a:spcAft>
                <a:buClr>
                  <a:schemeClr val="accent2"/>
                </a:buClr>
                <a:buFont typeface="Wingdings" panose="05000000000000000000" pitchFamily="2" charset="2"/>
                <a:buChar char="•"/>
                <a:defRPr sz="1600" b="1" i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233363" indent="-233363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68313" indent="-220663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690563" indent="-228600">
                <a:spcAft>
                  <a:spcPct val="50000"/>
                </a:spcAft>
                <a:buClr>
                  <a:schemeClr val="accent2"/>
                </a:buClr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920750" indent="-228600"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3779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8351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2923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74955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400"/>
            </a:p>
          </p:txBody>
        </p:sp>
        <p:sp>
          <p:nvSpPr>
            <p:cNvPr id="25" name="Line 13">
              <a:extLst>
                <a:ext uri="{FF2B5EF4-FFF2-40B4-BE49-F238E27FC236}">
                  <a16:creationId xmlns:a16="http://schemas.microsoft.com/office/drawing/2014/main" id="{A31031BC-7968-5D8B-CBA4-67290089A7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62800" y="-157976"/>
              <a:ext cx="0" cy="448786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" name="Line 14">
              <a:extLst>
                <a:ext uri="{FF2B5EF4-FFF2-40B4-BE49-F238E27FC236}">
                  <a16:creationId xmlns:a16="http://schemas.microsoft.com/office/drawing/2014/main" id="{E799CC30-AFF1-95F5-D859-7C47BACEAAB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4526588" y="2220100"/>
              <a:ext cx="0" cy="44894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43" name="Text Box 21">
              <a:extLst>
                <a:ext uri="{FF2B5EF4-FFF2-40B4-BE49-F238E27FC236}">
                  <a16:creationId xmlns:a16="http://schemas.microsoft.com/office/drawing/2014/main" id="{8F533663-AE96-DFEB-56E4-32EF760E26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2117" y="4545273"/>
              <a:ext cx="689173" cy="277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Margin</a:t>
              </a:r>
            </a:p>
          </p:txBody>
        </p:sp>
        <p:sp>
          <p:nvSpPr>
            <p:cNvPr id="45" name="Text Box 22">
              <a:extLst>
                <a:ext uri="{FF2B5EF4-FFF2-40B4-BE49-F238E27FC236}">
                  <a16:creationId xmlns:a16="http://schemas.microsoft.com/office/drawing/2014/main" id="{7E344233-6562-978A-71B5-E322E319D6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99217" y="2039347"/>
              <a:ext cx="2097558" cy="2530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00">
                  <a:solidFill>
                    <a:schemeClr val="bg2">
                      <a:lumMod val="50000"/>
                    </a:schemeClr>
                  </a:solidFill>
                  <a:latin typeface="Alata" panose="020B0604020202020204" charset="0"/>
                </a:rPr>
                <a:t>Retention Likelihood</a:t>
              </a:r>
              <a:endParaRPr lang="en-US" altLang="en-US" sz="1400" b="0">
                <a:solidFill>
                  <a:schemeClr val="bg2">
                    <a:lumMod val="50000"/>
                  </a:schemeClr>
                </a:solidFill>
                <a:latin typeface="Alata" panose="020B060402020202020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5791432-8F79-7166-4956-AE98CB6A3A55}"/>
              </a:ext>
            </a:extLst>
          </p:cNvPr>
          <p:cNvGrpSpPr/>
          <p:nvPr/>
        </p:nvGrpSpPr>
        <p:grpSpPr>
          <a:xfrm>
            <a:off x="2949708" y="2670617"/>
            <a:ext cx="5942845" cy="1961066"/>
            <a:chOff x="2949708" y="981790"/>
            <a:chExt cx="5942845" cy="1961066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81685FB-A517-8F02-BCFD-6B319F7873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9708" y="1909703"/>
              <a:ext cx="2961492" cy="4"/>
            </a:xfrm>
            <a:prstGeom prst="line">
              <a:avLst/>
            </a:prstGeom>
            <a:solidFill>
              <a:srgbClr val="F39CC1"/>
            </a:solidFill>
            <a:ln w="28575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ectangle: Rounded Corners 45">
              <a:extLst>
                <a:ext uri="{FF2B5EF4-FFF2-40B4-BE49-F238E27FC236}">
                  <a16:creationId xmlns:a16="http://schemas.microsoft.com/office/drawing/2014/main" id="{60AF6B45-E07B-B142-C8CD-26705792F959}"/>
                </a:ext>
              </a:extLst>
            </p:cNvPr>
            <p:cNvSpPr/>
            <p:nvPr/>
          </p:nvSpPr>
          <p:spPr>
            <a:xfrm>
              <a:off x="5675871" y="981790"/>
              <a:ext cx="3216682" cy="1961066"/>
            </a:xfrm>
            <a:custGeom>
              <a:avLst/>
              <a:gdLst>
                <a:gd name="connsiteX0" fmla="*/ 0 w 2017524"/>
                <a:gd name="connsiteY0" fmla="*/ 88861 h 1094753"/>
                <a:gd name="connsiteX1" fmla="*/ 88861 w 2017524"/>
                <a:gd name="connsiteY1" fmla="*/ 0 h 1094753"/>
                <a:gd name="connsiteX2" fmla="*/ 1928663 w 2017524"/>
                <a:gd name="connsiteY2" fmla="*/ 0 h 1094753"/>
                <a:gd name="connsiteX3" fmla="*/ 2017524 w 2017524"/>
                <a:gd name="connsiteY3" fmla="*/ 88861 h 1094753"/>
                <a:gd name="connsiteX4" fmla="*/ 2017524 w 2017524"/>
                <a:gd name="connsiteY4" fmla="*/ 1005892 h 1094753"/>
                <a:gd name="connsiteX5" fmla="*/ 1928663 w 2017524"/>
                <a:gd name="connsiteY5" fmla="*/ 1094753 h 1094753"/>
                <a:gd name="connsiteX6" fmla="*/ 88861 w 2017524"/>
                <a:gd name="connsiteY6" fmla="*/ 1094753 h 1094753"/>
                <a:gd name="connsiteX7" fmla="*/ 0 w 2017524"/>
                <a:gd name="connsiteY7" fmla="*/ 1005892 h 1094753"/>
                <a:gd name="connsiteX8" fmla="*/ 0 w 2017524"/>
                <a:gd name="connsiteY8" fmla="*/ 88861 h 1094753"/>
                <a:gd name="connsiteX0" fmla="*/ 12 w 2017536"/>
                <a:gd name="connsiteY0" fmla="*/ 88861 h 1095103"/>
                <a:gd name="connsiteX1" fmla="*/ 88873 w 2017536"/>
                <a:gd name="connsiteY1" fmla="*/ 0 h 1095103"/>
                <a:gd name="connsiteX2" fmla="*/ 1928675 w 2017536"/>
                <a:gd name="connsiteY2" fmla="*/ 0 h 1095103"/>
                <a:gd name="connsiteX3" fmla="*/ 2017536 w 2017536"/>
                <a:gd name="connsiteY3" fmla="*/ 88861 h 1095103"/>
                <a:gd name="connsiteX4" fmla="*/ 2017536 w 2017536"/>
                <a:gd name="connsiteY4" fmla="*/ 1005892 h 1095103"/>
                <a:gd name="connsiteX5" fmla="*/ 1928675 w 2017536"/>
                <a:gd name="connsiteY5" fmla="*/ 1094753 h 1095103"/>
                <a:gd name="connsiteX6" fmla="*/ 88873 w 2017536"/>
                <a:gd name="connsiteY6" fmla="*/ 1094753 h 1095103"/>
                <a:gd name="connsiteX7" fmla="*/ 12 w 2017536"/>
                <a:gd name="connsiteY7" fmla="*/ 1005892 h 1095103"/>
                <a:gd name="connsiteX8" fmla="*/ 12 w 2017536"/>
                <a:gd name="connsiteY8" fmla="*/ 88861 h 1095103"/>
                <a:gd name="connsiteX0" fmla="*/ 751 w 2018275"/>
                <a:gd name="connsiteY0" fmla="*/ 88861 h 1094849"/>
                <a:gd name="connsiteX1" fmla="*/ 89612 w 2018275"/>
                <a:gd name="connsiteY1" fmla="*/ 0 h 1094849"/>
                <a:gd name="connsiteX2" fmla="*/ 1929414 w 2018275"/>
                <a:gd name="connsiteY2" fmla="*/ 0 h 1094849"/>
                <a:gd name="connsiteX3" fmla="*/ 2018275 w 2018275"/>
                <a:gd name="connsiteY3" fmla="*/ 88861 h 1094849"/>
                <a:gd name="connsiteX4" fmla="*/ 2018275 w 2018275"/>
                <a:gd name="connsiteY4" fmla="*/ 1005892 h 1094849"/>
                <a:gd name="connsiteX5" fmla="*/ 1929414 w 2018275"/>
                <a:gd name="connsiteY5" fmla="*/ 1094753 h 1094849"/>
                <a:gd name="connsiteX6" fmla="*/ 89612 w 2018275"/>
                <a:gd name="connsiteY6" fmla="*/ 1094753 h 1094849"/>
                <a:gd name="connsiteX7" fmla="*/ 751 w 2018275"/>
                <a:gd name="connsiteY7" fmla="*/ 1005892 h 1094849"/>
                <a:gd name="connsiteX8" fmla="*/ 751 w 2018275"/>
                <a:gd name="connsiteY8" fmla="*/ 88861 h 1094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8275" h="1094849">
                  <a:moveTo>
                    <a:pt x="751" y="88861"/>
                  </a:moveTo>
                  <a:cubicBezTo>
                    <a:pt x="751" y="39784"/>
                    <a:pt x="40535" y="0"/>
                    <a:pt x="89612" y="0"/>
                  </a:cubicBezTo>
                  <a:lnTo>
                    <a:pt x="1929414" y="0"/>
                  </a:lnTo>
                  <a:cubicBezTo>
                    <a:pt x="1978491" y="0"/>
                    <a:pt x="2018275" y="39784"/>
                    <a:pt x="2018275" y="88861"/>
                  </a:cubicBezTo>
                  <a:lnTo>
                    <a:pt x="2018275" y="1005892"/>
                  </a:lnTo>
                  <a:cubicBezTo>
                    <a:pt x="2018275" y="1054969"/>
                    <a:pt x="1978491" y="1094753"/>
                    <a:pt x="1929414" y="1094753"/>
                  </a:cubicBezTo>
                  <a:lnTo>
                    <a:pt x="89612" y="1094753"/>
                  </a:lnTo>
                  <a:cubicBezTo>
                    <a:pt x="-14233" y="1097134"/>
                    <a:pt x="751" y="1054969"/>
                    <a:pt x="751" y="1005892"/>
                  </a:cubicBezTo>
                  <a:lnTo>
                    <a:pt x="751" y="88861"/>
                  </a:lnTo>
                  <a:close/>
                </a:path>
              </a:pathLst>
            </a:custGeom>
            <a:solidFill>
              <a:srgbClr val="F39CC1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Highest Churn Rate (76%)</a:t>
              </a:r>
            </a:p>
            <a:p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Mostly younger aged customer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Similar Avg Purchase Amount to Loyal Low Spender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>
                <a:solidFill>
                  <a:srgbClr val="000000"/>
                </a:solidFill>
                <a:latin typeface="Montserrat" panose="000005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00000"/>
                  </a:solidFill>
                  <a:latin typeface="Montserrat" panose="00000500000000000000" pitchFamily="2" charset="0"/>
                </a:rPr>
                <a:t>Last purchase was 7 months back on average</a:t>
              </a:r>
            </a:p>
          </p:txBody>
        </p:sp>
      </p:grpSp>
      <p:sp>
        <p:nvSpPr>
          <p:cNvPr id="6" name="Rectangle 1">
            <a:extLst>
              <a:ext uri="{FF2B5EF4-FFF2-40B4-BE49-F238E27FC236}">
                <a16:creationId xmlns:a16="http://schemas.microsoft.com/office/drawing/2014/main" id="{6AA486EA-E8C7-B547-3A8A-4DAF5DC95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1089297"/>
            <a:ext cx="1817688" cy="15813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Low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45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21423E-89D7-8D73-AC08-7C905EBE7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3524" y="1089297"/>
            <a:ext cx="1817687" cy="1581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Loyal Big Spend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200" i="0">
              <a:solidFill>
                <a:schemeClr val="bg1">
                  <a:lumMod val="85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22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00" i="0">
                <a:solidFill>
                  <a:schemeClr val="bg1">
                    <a:lumMod val="85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30CC86D3-330D-213B-E3AF-FFABB5566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019" y="2723007"/>
            <a:ext cx="1817688" cy="1731826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Disengaged Low Value Customers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1400" i="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</a:endParaRP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23% </a:t>
            </a:r>
          </a:p>
          <a:p>
            <a:pPr algn="ctr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1050" i="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</a:rPr>
              <a:t>Customers</a:t>
            </a:r>
          </a:p>
        </p:txBody>
      </p:sp>
    </p:spTree>
    <p:extLst>
      <p:ext uri="{BB962C8B-B14F-4D97-AF65-F5344CB8AC3E}">
        <p14:creationId xmlns:p14="http://schemas.microsoft.com/office/powerpoint/2010/main" val="22511457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E0970-CAFB-3086-9EA5-1C5F1DC0E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094BE0B-7FFA-D0C8-7B0C-019EA83763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4BE0B-7FFA-D0C8-7B0C-019EA8376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5CA0E3FF-A1CA-4794-8C1A-5CA21E8F7CE5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ustomer Segments vs Subscription Tie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F58489-1F6D-0312-46E1-4758B82B890C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6</a:t>
            </a:fld>
            <a:endParaRPr lang="e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FEADBF9-E4E6-6CBB-6682-BFBA5DE838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112" y="1495997"/>
            <a:ext cx="8521776" cy="2151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B0BAAB2-85F5-E847-DF4C-282BA7728ACC}"/>
              </a:ext>
            </a:extLst>
          </p:cNvPr>
          <p:cNvSpPr/>
          <p:nvPr/>
        </p:nvSpPr>
        <p:spPr>
          <a:xfrm>
            <a:off x="6098400" y="2829600"/>
            <a:ext cx="2664000" cy="319938"/>
          </a:xfrm>
          <a:prstGeom prst="rect">
            <a:avLst/>
          </a:prstGeom>
          <a:noFill/>
          <a:ln w="28575">
            <a:solidFill>
              <a:srgbClr val="00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07D920-EB9C-036A-6095-38F8A111A1FA}"/>
              </a:ext>
            </a:extLst>
          </p:cNvPr>
          <p:cNvSpPr/>
          <p:nvPr/>
        </p:nvSpPr>
        <p:spPr>
          <a:xfrm>
            <a:off x="3348000" y="2001162"/>
            <a:ext cx="2575680" cy="295638"/>
          </a:xfrm>
          <a:prstGeom prst="rect">
            <a:avLst/>
          </a:prstGeom>
          <a:noFill/>
          <a:ln w="28575">
            <a:solidFill>
              <a:srgbClr val="00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862E1E-2B7E-10FF-9C1F-2C1DA64979CD}"/>
              </a:ext>
            </a:extLst>
          </p:cNvPr>
          <p:cNvSpPr/>
          <p:nvPr/>
        </p:nvSpPr>
        <p:spPr>
          <a:xfrm>
            <a:off x="1953120" y="2409531"/>
            <a:ext cx="2575680" cy="295638"/>
          </a:xfrm>
          <a:prstGeom prst="rect">
            <a:avLst/>
          </a:prstGeom>
          <a:noFill/>
          <a:ln w="28575">
            <a:solidFill>
              <a:srgbClr val="00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F718F10-F920-B64B-5D6C-3F744CE9CCC7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3240960" y="2705169"/>
            <a:ext cx="0" cy="1151390"/>
          </a:xfrm>
          <a:prstGeom prst="straightConnector1">
            <a:avLst/>
          </a:prstGeom>
          <a:ln w="190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144F1AB-8990-820F-E678-205230A2F85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7430400" y="3149538"/>
            <a:ext cx="2910" cy="790002"/>
          </a:xfrm>
          <a:prstGeom prst="straightConnector1">
            <a:avLst/>
          </a:prstGeom>
          <a:ln w="190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FB97731-B8AF-8DE9-D001-0779BBAA0633}"/>
              </a:ext>
            </a:extLst>
          </p:cNvPr>
          <p:cNvCxnSpPr>
            <a:cxnSpLocks/>
            <a:stCxn id="23" idx="0"/>
            <a:endCxn id="25" idx="2"/>
          </p:cNvCxnSpPr>
          <p:nvPr/>
        </p:nvCxnSpPr>
        <p:spPr>
          <a:xfrm flipH="1" flipV="1">
            <a:off x="4630924" y="1383265"/>
            <a:ext cx="4916" cy="617897"/>
          </a:xfrm>
          <a:prstGeom prst="straightConnector1">
            <a:avLst/>
          </a:prstGeom>
          <a:ln w="190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1636;p44">
            <a:extLst>
              <a:ext uri="{FF2B5EF4-FFF2-40B4-BE49-F238E27FC236}">
                <a16:creationId xmlns:a16="http://schemas.microsoft.com/office/drawing/2014/main" id="{9FF9132F-EC03-3D25-4631-75C631673617}"/>
              </a:ext>
            </a:extLst>
          </p:cNvPr>
          <p:cNvSpPr txBox="1"/>
          <p:nvPr/>
        </p:nvSpPr>
        <p:spPr>
          <a:xfrm flipH="1">
            <a:off x="5299200" y="3939540"/>
            <a:ext cx="3593340" cy="110735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Unhappy High Value customers have the highest proportion of Platinum and Diamond Customers. 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Group has high churn rate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Higher tiers might have lower value for money</a:t>
            </a:r>
          </a:p>
          <a:p>
            <a:pPr lvl="0" rtl="0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4" name="Google Shape;1636;p44">
            <a:extLst>
              <a:ext uri="{FF2B5EF4-FFF2-40B4-BE49-F238E27FC236}">
                <a16:creationId xmlns:a16="http://schemas.microsoft.com/office/drawing/2014/main" id="{A812E8B6-293F-F253-5596-DCCB5A7E650D}"/>
              </a:ext>
            </a:extLst>
          </p:cNvPr>
          <p:cNvSpPr txBox="1"/>
          <p:nvPr/>
        </p:nvSpPr>
        <p:spPr>
          <a:xfrm flipH="1">
            <a:off x="746400" y="3856558"/>
            <a:ext cx="3886799" cy="79000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Opportunity for up-selling 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Move these customers to Silver &amp; Gold Tiers through up-selling and cross-selling</a:t>
            </a:r>
          </a:p>
        </p:txBody>
      </p:sp>
      <p:sp>
        <p:nvSpPr>
          <p:cNvPr id="25" name="Google Shape;1636;p44">
            <a:extLst>
              <a:ext uri="{FF2B5EF4-FFF2-40B4-BE49-F238E27FC236}">
                <a16:creationId xmlns:a16="http://schemas.microsoft.com/office/drawing/2014/main" id="{10391AD0-F046-B268-E2EC-41757A8EA5E2}"/>
              </a:ext>
            </a:extLst>
          </p:cNvPr>
          <p:cNvSpPr txBox="1"/>
          <p:nvPr/>
        </p:nvSpPr>
        <p:spPr>
          <a:xfrm flipH="1">
            <a:off x="1768924" y="773318"/>
            <a:ext cx="5724001" cy="60994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Opportunity for moving these customers to Platinum and Diamond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 Identify issues with Platinum and Diamond before running up-selling campaigns</a:t>
            </a:r>
          </a:p>
          <a:p>
            <a:pPr lvl="0" rtl="0">
              <a:spcBef>
                <a:spcPts val="0"/>
              </a:spcBef>
              <a:spcAft>
                <a:spcPts val="0"/>
              </a:spcAft>
            </a:pPr>
            <a:endParaRPr lang="en-US" sz="1000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1367996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4364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07975" y="1515976"/>
            <a:ext cx="7715250" cy="996824"/>
          </a:xfrm>
        </p:spPr>
        <p:txBody>
          <a:bodyPr vert="horz"/>
          <a:lstStyle/>
          <a:p>
            <a:pPr algn="ctr"/>
            <a:r>
              <a:rPr lang="en-US" sz="5400"/>
              <a:t>RECOMMENDAT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848025" y="25141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BFD4DE-5080-3797-4944-5B38A6175CD8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7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69567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71E23F1A-A85D-1E54-EBD1-9CAF3586F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8DF76B-BB1C-17D2-C460-A867010187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76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DF76B-BB1C-17D2-C460-A86701018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9A85601-A2FE-0CC6-AB00-9646363A5B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8484" y="86363"/>
            <a:ext cx="8061960" cy="593206"/>
          </a:xfrm>
        </p:spPr>
        <p:txBody>
          <a:bodyPr vert="horz"/>
          <a:lstStyle/>
          <a:p>
            <a:r>
              <a:rPr lang="en-US" sz="1600">
                <a:solidFill>
                  <a:srgbClr val="000000"/>
                </a:solidFill>
              </a:rPr>
              <a:t>Recommended Actions – Estimated Immediate Impact vs. Implementation Effo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3907EC6-7BF9-A465-B50D-B8331288EAEF}"/>
              </a:ext>
            </a:extLst>
          </p:cNvPr>
          <p:cNvGrpSpPr/>
          <p:nvPr/>
        </p:nvGrpSpPr>
        <p:grpSpPr>
          <a:xfrm>
            <a:off x="167640" y="961523"/>
            <a:ext cx="8656318" cy="3717779"/>
            <a:chOff x="167640" y="961523"/>
            <a:chExt cx="8656318" cy="371777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EFBD4F2-754C-19C5-31D9-486B3AF5ED2F}"/>
                </a:ext>
              </a:extLst>
            </p:cNvPr>
            <p:cNvGrpSpPr/>
            <p:nvPr/>
          </p:nvGrpSpPr>
          <p:grpSpPr>
            <a:xfrm>
              <a:off x="167640" y="961523"/>
              <a:ext cx="8656318" cy="3717779"/>
              <a:chOff x="160020" y="1091063"/>
              <a:chExt cx="8656318" cy="371777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74BEBE5-5086-2B36-26B0-BE281B8B6D25}"/>
                  </a:ext>
                </a:extLst>
              </p:cNvPr>
              <p:cNvGrpSpPr/>
              <p:nvPr/>
            </p:nvGrpSpPr>
            <p:grpSpPr>
              <a:xfrm>
                <a:off x="160020" y="1091063"/>
                <a:ext cx="8656318" cy="3717779"/>
                <a:chOff x="-19886" y="1119418"/>
                <a:chExt cx="8775960" cy="3781554"/>
              </a:xfrm>
            </p:grpSpPr>
            <p:graphicFrame>
              <p:nvGraphicFramePr>
                <p:cNvPr id="16" name="Google Shape;1711;p48">
                  <a:extLst>
                    <a:ext uri="{FF2B5EF4-FFF2-40B4-BE49-F238E27FC236}">
                      <a16:creationId xmlns:a16="http://schemas.microsoft.com/office/drawing/2014/main" id="{58BF5606-59F7-83C1-A8D0-D7A36E7164B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334008543"/>
                    </p:ext>
                  </p:extLst>
                </p:nvPr>
              </p:nvGraphicFramePr>
              <p:xfrm>
                <a:off x="1665686" y="1216618"/>
                <a:ext cx="5743323" cy="3262814"/>
              </p:xfrm>
              <a:graphic>
                <a:graphicData uri="http://schemas.openxmlformats.org/drawingml/2006/table">
                  <a:tbl>
                    <a:tblPr>
                      <a:noFill/>
                      <a:tableStyleId>{3C5361E7-DA70-4391-9E19-CDB0772468EE}</a:tableStyleId>
                    </a:tblPr>
                    <a:tblGrid>
                      <a:gridCol w="2746438">
                        <a:extLst>
                          <a:ext uri="{9D8B030D-6E8A-4147-A177-3AD203B41FA5}">
                            <a16:colId xmlns:a16="http://schemas.microsoft.com/office/drawing/2014/main" val="20001"/>
                          </a:ext>
                        </a:extLst>
                      </a:gridCol>
                      <a:gridCol w="2918587">
                        <a:extLst>
                          <a:ext uri="{9D8B030D-6E8A-4147-A177-3AD203B41FA5}">
                            <a16:colId xmlns:a16="http://schemas.microsoft.com/office/drawing/2014/main" val="20002"/>
                          </a:ext>
                        </a:extLst>
                      </a:gridCol>
                    </a:tblGrid>
                    <a:tr h="1548816">
                      <a:tc>
                        <a:txBody>
                          <a:bodyPr/>
                          <a:lstStyle/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300" b="1">
                                <a:solidFill>
                                  <a:schemeClr val="bg2">
                                    <a:lumMod val="50000"/>
                                  </a:schemeClr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Immediate Focus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300" b="1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>
                                <a:srgbClr val="000000"/>
                              </a:buClr>
                              <a:buSzTx/>
                              <a:buFont typeface="Arial"/>
                              <a:buNone/>
                              <a:tabLst/>
                              <a:defRPr/>
                            </a:pPr>
                            <a:r>
                              <a:rPr lang="en-US" sz="1100" b="0" i="0">
                                <a:solidFill>
                                  <a:schemeClr val="dk2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Targeted Promotion/Coupon Campaigns – Focused on Retaining At Risk Groups</a:t>
                            </a:r>
                            <a:endParaRPr lang="en-US" sz="1200" b="0" i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</a:txBody>
                        <a:tcPr marL="91425" marR="91425" marT="91425" marB="91425">
                          <a:lnL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L>
                          <a:lnR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R>
                          <a:lnT w="19050" cap="flat" cmpd="sng" algn="ctr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T>
                          <a:lnB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B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</a:tcPr>
                      </a:tc>
                      <a:tc>
                        <a:txBody>
                          <a:bodyPr/>
                          <a:lstStyle/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300" b="1">
                                <a:solidFill>
                                  <a:srgbClr val="000000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Medium Term Initiatives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300" b="1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>
                                <a:srgbClr val="000000"/>
                              </a:buClr>
                              <a:buSzTx/>
                              <a:buFont typeface="Arial"/>
                              <a:buNone/>
                              <a:tabLst/>
                              <a:defRPr/>
                            </a:pPr>
                            <a:r>
                              <a:rPr lang="en-US" sz="1100" b="0">
                                <a:solidFill>
                                  <a:schemeClr val="dk2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Identify Issues &amp; Product/Service Development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300" b="1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>
                                <a:srgbClr val="000000"/>
                              </a:buClr>
                              <a:buSzTx/>
                              <a:buFont typeface="Arial"/>
                              <a:buNone/>
                              <a:tabLst/>
                              <a:defRPr/>
                            </a:pPr>
                            <a:r>
                              <a:rPr lang="en-US" sz="1100" b="0">
                                <a:solidFill>
                                  <a:schemeClr val="dk2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Cross-Selling and Up-Selling</a:t>
                            </a:r>
                          </a:p>
                        </a:txBody>
                        <a:tcPr marL="91425" marR="91425" marT="91425" marB="91425">
                          <a:lnL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L>
                          <a:lnR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R>
                          <a:lnT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T>
                          <a:lnB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B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2"/>
                        </a:ext>
                      </a:extLst>
                    </a:tr>
                    <a:tr h="1658971">
                      <a:tc>
                        <a:txBody>
                          <a:bodyPr/>
                          <a:lstStyle/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300" b="1">
                                <a:solidFill>
                                  <a:srgbClr val="000000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Major Projects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300" b="1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100" b="0">
                                <a:solidFill>
                                  <a:schemeClr val="dk2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Loyalty Program Implementation focused on High Value Groups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</a:txBody>
                        <a:tcPr marL="91425" marR="91425" marT="91425" marB="91425">
                          <a:lnL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L>
                          <a:lnR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R>
                          <a:lnT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T>
                          <a:lnB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B>
                          <a:solidFill>
                            <a:schemeClr val="bg1">
                              <a:lumMod val="95000"/>
                            </a:schemeClr>
                          </a:solidFill>
                        </a:tcPr>
                      </a:tc>
                      <a:tc>
                        <a:txBody>
                          <a:bodyPr/>
                          <a:lstStyle/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300" b="1">
                                <a:solidFill>
                                  <a:schemeClr val="bg2">
                                    <a:lumMod val="50000"/>
                                  </a:schemeClr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Long Term Strategies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3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r>
                              <a:rPr lang="en-US" sz="1100" b="0">
                                <a:solidFill>
                                  <a:schemeClr val="dk2"/>
                                </a:solidFill>
                                <a:latin typeface="Montserrat"/>
                                <a:ea typeface="Montserrat"/>
                                <a:cs typeface="Montserrat"/>
                                <a:sym typeface="Montserrat"/>
                              </a:rPr>
                              <a:t>Customer Feedback Loop &amp; Continuous Improvement Plan</a:t>
                            </a: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  <a:p>
                            <a:pPr marL="0" lvl="0" indent="0" algn="ctr" rtl="0"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None/>
                            </a:pPr>
                            <a:endParaRPr lang="en-US" sz="1100" b="0">
                              <a:solidFill>
                                <a:schemeClr val="dk2"/>
                              </a:solidFill>
                              <a:latin typeface="Montserrat"/>
                              <a:ea typeface="Montserrat"/>
                              <a:cs typeface="Montserrat"/>
                              <a:sym typeface="Montserrat"/>
                            </a:endParaRPr>
                          </a:p>
                        </a:txBody>
                        <a:tcPr marL="91425" marR="91425" marT="91425" marB="91425">
                          <a:lnL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L>
                          <a:lnR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R>
                          <a:lnT w="38100" cap="flat" cmpd="sng" algn="ctr">
                            <a:solidFill>
                              <a:schemeClr val="bg1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T>
                          <a:lnB w="19050" cap="flat" cmpd="sng">
                            <a:solidFill>
                              <a:schemeClr val="lt1"/>
                            </a:solidFill>
                            <a:prstDash val="solid"/>
                            <a:round/>
                            <a:headEnd type="none" w="sm" len="sm"/>
                            <a:tailEnd type="none" w="sm" len="sm"/>
                          </a:lnB>
                          <a:solidFill>
                            <a:schemeClr val="bg1">
                              <a:lumMod val="95000"/>
                            </a:schemeClr>
                          </a:solidFill>
                        </a:tcPr>
                      </a:tc>
                      <a:extLst>
                        <a:ext uri="{0D108BD9-81ED-4DB2-BD59-A6C34878D82A}">
                          <a16:rowId xmlns:a16="http://schemas.microsoft.com/office/drawing/2014/main" val="10003"/>
                        </a:ext>
                      </a:extLst>
                    </a:tr>
                  </a:tbl>
                </a:graphicData>
              </a:graphic>
            </p:graphicFrame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AE05CC04-ED58-D87F-116A-84622CCC0C0F}"/>
                    </a:ext>
                  </a:extLst>
                </p:cNvPr>
                <p:cNvGrpSpPr/>
                <p:nvPr/>
              </p:nvGrpSpPr>
              <p:grpSpPr>
                <a:xfrm>
                  <a:off x="-19886" y="1119418"/>
                  <a:ext cx="8775960" cy="3781554"/>
                  <a:chOff x="-19886" y="1119418"/>
                  <a:chExt cx="8775960" cy="3781554"/>
                </a:xfrm>
              </p:grpSpPr>
              <p:sp>
                <p:nvSpPr>
                  <p:cNvPr id="10" name="Google Shape;2094;p57">
                    <a:extLst>
                      <a:ext uri="{FF2B5EF4-FFF2-40B4-BE49-F238E27FC236}">
                        <a16:creationId xmlns:a16="http://schemas.microsoft.com/office/drawing/2014/main" id="{CEF91F9E-763F-0571-05E6-17DE46DFA68A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-19886" y="1119418"/>
                    <a:ext cx="1409709" cy="412750"/>
                  </a:xfrm>
                  <a:prstGeom prst="rect">
                    <a:avLst/>
                  </a:prstGeom>
                </p:spPr>
                <p:txBody>
                  <a:bodyPr spcFirstLastPara="1" wrap="square" lIns="91425" tIns="91425" rIns="91425" bIns="91425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algn="r">
                      <a:spcAft>
                        <a:spcPts val="1200"/>
                      </a:spcAft>
                    </a:pPr>
                    <a:r>
                      <a:rPr lang="en-US" sz="1000" b="1">
                        <a:latin typeface="Montserrat" panose="00000500000000000000" pitchFamily="2" charset="0"/>
                      </a:rPr>
                      <a:t>Estimated Immediate Impact</a:t>
                    </a:r>
                  </a:p>
                </p:txBody>
              </p:sp>
              <p:sp>
                <p:nvSpPr>
                  <p:cNvPr id="12" name="Google Shape;2094;p57">
                    <a:extLst>
                      <a:ext uri="{FF2B5EF4-FFF2-40B4-BE49-F238E27FC236}">
                        <a16:creationId xmlns:a16="http://schemas.microsoft.com/office/drawing/2014/main" id="{5D287E9E-CE9F-2CF0-B449-FFB980D5B914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7427938" y="4488222"/>
                    <a:ext cx="1328136" cy="412750"/>
                  </a:xfrm>
                  <a:prstGeom prst="rect">
                    <a:avLst/>
                  </a:prstGeom>
                </p:spPr>
                <p:txBody>
                  <a:bodyPr spcFirstLastPara="1" wrap="square" lIns="91425" tIns="91425" rIns="91425" bIns="91425" anchor="t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>
                      <a:spcAft>
                        <a:spcPts val="1200"/>
                      </a:spcAft>
                    </a:pPr>
                    <a:r>
                      <a:rPr lang="en-US" sz="1000" b="1">
                        <a:latin typeface="Montserrat" panose="00000500000000000000" pitchFamily="2" charset="0"/>
                      </a:rPr>
                      <a:t>Implementation Effort</a:t>
                    </a:r>
                  </a:p>
                </p:txBody>
              </p:sp>
            </p:grpSp>
          </p:grpSp>
          <p:sp>
            <p:nvSpPr>
              <p:cNvPr id="28" name="Flowchart: Manual Operation 937">
                <a:extLst>
                  <a:ext uri="{FF2B5EF4-FFF2-40B4-BE49-F238E27FC236}">
                    <a16:creationId xmlns:a16="http://schemas.microsoft.com/office/drawing/2014/main" id="{607B22DA-4D1A-F114-6F64-3C5C05E47054}"/>
                  </a:ext>
                </a:extLst>
              </p:cNvPr>
              <p:cNvSpPr/>
              <p:nvPr/>
            </p:nvSpPr>
            <p:spPr>
              <a:xfrm flipH="1">
                <a:off x="1493681" y="1186624"/>
                <a:ext cx="220196" cy="3385376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10000 w 10000"/>
                  <a:gd name="connsiteY1" fmla="*/ 0 h 10000"/>
                  <a:gd name="connsiteX2" fmla="*/ 8000 w 10000"/>
                  <a:gd name="connsiteY2" fmla="*/ 10000 h 10000"/>
                  <a:gd name="connsiteX3" fmla="*/ 2000 w 10000"/>
                  <a:gd name="connsiteY3" fmla="*/ 10000 h 10000"/>
                  <a:gd name="connsiteX4" fmla="*/ 0 w 10000"/>
                  <a:gd name="connsiteY4" fmla="*/ 0 h 10000"/>
                  <a:gd name="connsiteX0" fmla="*/ 0 w 15187"/>
                  <a:gd name="connsiteY0" fmla="*/ 0 h 10000"/>
                  <a:gd name="connsiteX1" fmla="*/ 15187 w 15187"/>
                  <a:gd name="connsiteY1" fmla="*/ 0 h 10000"/>
                  <a:gd name="connsiteX2" fmla="*/ 13187 w 15187"/>
                  <a:gd name="connsiteY2" fmla="*/ 10000 h 10000"/>
                  <a:gd name="connsiteX3" fmla="*/ 7187 w 15187"/>
                  <a:gd name="connsiteY3" fmla="*/ 10000 h 10000"/>
                  <a:gd name="connsiteX4" fmla="*/ 0 w 15187"/>
                  <a:gd name="connsiteY4" fmla="*/ 0 h 10000"/>
                  <a:gd name="connsiteX0" fmla="*/ 0 w 19621"/>
                  <a:gd name="connsiteY0" fmla="*/ 0 h 10000"/>
                  <a:gd name="connsiteX1" fmla="*/ 19621 w 19621"/>
                  <a:gd name="connsiteY1" fmla="*/ 0 h 10000"/>
                  <a:gd name="connsiteX2" fmla="*/ 13187 w 19621"/>
                  <a:gd name="connsiteY2" fmla="*/ 10000 h 10000"/>
                  <a:gd name="connsiteX3" fmla="*/ 7187 w 19621"/>
                  <a:gd name="connsiteY3" fmla="*/ 10000 h 10000"/>
                  <a:gd name="connsiteX4" fmla="*/ 0 w 19621"/>
                  <a:gd name="connsiteY4" fmla="*/ 0 h 10000"/>
                  <a:gd name="connsiteX0" fmla="*/ 0 w 24424"/>
                  <a:gd name="connsiteY0" fmla="*/ 0 h 10000"/>
                  <a:gd name="connsiteX1" fmla="*/ 24424 w 24424"/>
                  <a:gd name="connsiteY1" fmla="*/ 0 h 10000"/>
                  <a:gd name="connsiteX2" fmla="*/ 13187 w 24424"/>
                  <a:gd name="connsiteY2" fmla="*/ 10000 h 10000"/>
                  <a:gd name="connsiteX3" fmla="*/ 7187 w 24424"/>
                  <a:gd name="connsiteY3" fmla="*/ 10000 h 10000"/>
                  <a:gd name="connsiteX4" fmla="*/ 0 w 24424"/>
                  <a:gd name="connsiteY4" fmla="*/ 0 h 10000"/>
                  <a:gd name="connsiteX0" fmla="*/ 0 w 27544"/>
                  <a:gd name="connsiteY0" fmla="*/ 0 h 10000"/>
                  <a:gd name="connsiteX1" fmla="*/ 27544 w 27544"/>
                  <a:gd name="connsiteY1" fmla="*/ 4 h 10000"/>
                  <a:gd name="connsiteX2" fmla="*/ 13187 w 27544"/>
                  <a:gd name="connsiteY2" fmla="*/ 10000 h 10000"/>
                  <a:gd name="connsiteX3" fmla="*/ 7187 w 27544"/>
                  <a:gd name="connsiteY3" fmla="*/ 10000 h 10000"/>
                  <a:gd name="connsiteX4" fmla="*/ 0 w 27544"/>
                  <a:gd name="connsiteY4" fmla="*/ 0 h 10000"/>
                  <a:gd name="connsiteX0" fmla="*/ 0 w 31109"/>
                  <a:gd name="connsiteY0" fmla="*/ 0 h 10000"/>
                  <a:gd name="connsiteX1" fmla="*/ 31109 w 31109"/>
                  <a:gd name="connsiteY1" fmla="*/ 4 h 10000"/>
                  <a:gd name="connsiteX2" fmla="*/ 16752 w 31109"/>
                  <a:gd name="connsiteY2" fmla="*/ 10000 h 10000"/>
                  <a:gd name="connsiteX3" fmla="*/ 10752 w 31109"/>
                  <a:gd name="connsiteY3" fmla="*/ 10000 h 10000"/>
                  <a:gd name="connsiteX4" fmla="*/ 0 w 31109"/>
                  <a:gd name="connsiteY4" fmla="*/ 0 h 10000"/>
                  <a:gd name="connsiteX0" fmla="*/ 0 w 41210"/>
                  <a:gd name="connsiteY0" fmla="*/ 0 h 10000"/>
                  <a:gd name="connsiteX1" fmla="*/ 41210 w 41210"/>
                  <a:gd name="connsiteY1" fmla="*/ 4 h 10000"/>
                  <a:gd name="connsiteX2" fmla="*/ 16752 w 41210"/>
                  <a:gd name="connsiteY2" fmla="*/ 10000 h 10000"/>
                  <a:gd name="connsiteX3" fmla="*/ 10752 w 41210"/>
                  <a:gd name="connsiteY3" fmla="*/ 10000 h 10000"/>
                  <a:gd name="connsiteX4" fmla="*/ 0 w 41210"/>
                  <a:gd name="connsiteY4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10" h="10000">
                    <a:moveTo>
                      <a:pt x="0" y="0"/>
                    </a:moveTo>
                    <a:lnTo>
                      <a:pt x="41210" y="4"/>
                    </a:lnTo>
                    <a:lnTo>
                      <a:pt x="16752" y="10000"/>
                    </a:lnTo>
                    <a:lnTo>
                      <a:pt x="10752" y="1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8B156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" name="Flowchart: Manual Operation 937">
              <a:extLst>
                <a:ext uri="{FF2B5EF4-FFF2-40B4-BE49-F238E27FC236}">
                  <a16:creationId xmlns:a16="http://schemas.microsoft.com/office/drawing/2014/main" id="{54921DFF-C5A9-5922-B5F9-B9C4390D2A68}"/>
                </a:ext>
              </a:extLst>
            </p:cNvPr>
            <p:cNvSpPr/>
            <p:nvPr/>
          </p:nvSpPr>
          <p:spPr>
            <a:xfrm rot="5400000">
              <a:off x="4452085" y="1596091"/>
              <a:ext cx="239830" cy="588386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5187"/>
                <a:gd name="connsiteY0" fmla="*/ 0 h 10000"/>
                <a:gd name="connsiteX1" fmla="*/ 15187 w 15187"/>
                <a:gd name="connsiteY1" fmla="*/ 0 h 10000"/>
                <a:gd name="connsiteX2" fmla="*/ 13187 w 15187"/>
                <a:gd name="connsiteY2" fmla="*/ 10000 h 10000"/>
                <a:gd name="connsiteX3" fmla="*/ 7187 w 15187"/>
                <a:gd name="connsiteY3" fmla="*/ 10000 h 10000"/>
                <a:gd name="connsiteX4" fmla="*/ 0 w 15187"/>
                <a:gd name="connsiteY4" fmla="*/ 0 h 10000"/>
                <a:gd name="connsiteX0" fmla="*/ 0 w 19621"/>
                <a:gd name="connsiteY0" fmla="*/ 0 h 10000"/>
                <a:gd name="connsiteX1" fmla="*/ 19621 w 19621"/>
                <a:gd name="connsiteY1" fmla="*/ 0 h 10000"/>
                <a:gd name="connsiteX2" fmla="*/ 13187 w 19621"/>
                <a:gd name="connsiteY2" fmla="*/ 10000 h 10000"/>
                <a:gd name="connsiteX3" fmla="*/ 7187 w 19621"/>
                <a:gd name="connsiteY3" fmla="*/ 10000 h 10000"/>
                <a:gd name="connsiteX4" fmla="*/ 0 w 19621"/>
                <a:gd name="connsiteY4" fmla="*/ 0 h 10000"/>
                <a:gd name="connsiteX0" fmla="*/ 0 w 24424"/>
                <a:gd name="connsiteY0" fmla="*/ 0 h 10000"/>
                <a:gd name="connsiteX1" fmla="*/ 24424 w 24424"/>
                <a:gd name="connsiteY1" fmla="*/ 0 h 10000"/>
                <a:gd name="connsiteX2" fmla="*/ 13187 w 24424"/>
                <a:gd name="connsiteY2" fmla="*/ 10000 h 10000"/>
                <a:gd name="connsiteX3" fmla="*/ 7187 w 24424"/>
                <a:gd name="connsiteY3" fmla="*/ 10000 h 10000"/>
                <a:gd name="connsiteX4" fmla="*/ 0 w 24424"/>
                <a:gd name="connsiteY4" fmla="*/ 0 h 10000"/>
                <a:gd name="connsiteX0" fmla="*/ 0 w 27544"/>
                <a:gd name="connsiteY0" fmla="*/ 0 h 10000"/>
                <a:gd name="connsiteX1" fmla="*/ 27544 w 27544"/>
                <a:gd name="connsiteY1" fmla="*/ 4 h 10000"/>
                <a:gd name="connsiteX2" fmla="*/ 13187 w 27544"/>
                <a:gd name="connsiteY2" fmla="*/ 10000 h 10000"/>
                <a:gd name="connsiteX3" fmla="*/ 7187 w 27544"/>
                <a:gd name="connsiteY3" fmla="*/ 10000 h 10000"/>
                <a:gd name="connsiteX4" fmla="*/ 0 w 27544"/>
                <a:gd name="connsiteY4" fmla="*/ 0 h 10000"/>
                <a:gd name="connsiteX0" fmla="*/ 0 w 31109"/>
                <a:gd name="connsiteY0" fmla="*/ 0 h 10000"/>
                <a:gd name="connsiteX1" fmla="*/ 31109 w 31109"/>
                <a:gd name="connsiteY1" fmla="*/ 4 h 10000"/>
                <a:gd name="connsiteX2" fmla="*/ 16752 w 31109"/>
                <a:gd name="connsiteY2" fmla="*/ 10000 h 10000"/>
                <a:gd name="connsiteX3" fmla="*/ 10752 w 31109"/>
                <a:gd name="connsiteY3" fmla="*/ 10000 h 10000"/>
                <a:gd name="connsiteX4" fmla="*/ 0 w 31109"/>
                <a:gd name="connsiteY4" fmla="*/ 0 h 10000"/>
                <a:gd name="connsiteX0" fmla="*/ 0 w 41210"/>
                <a:gd name="connsiteY0" fmla="*/ 0 h 10000"/>
                <a:gd name="connsiteX1" fmla="*/ 41210 w 41210"/>
                <a:gd name="connsiteY1" fmla="*/ 4 h 10000"/>
                <a:gd name="connsiteX2" fmla="*/ 16752 w 41210"/>
                <a:gd name="connsiteY2" fmla="*/ 10000 h 10000"/>
                <a:gd name="connsiteX3" fmla="*/ 10752 w 41210"/>
                <a:gd name="connsiteY3" fmla="*/ 10000 h 10000"/>
                <a:gd name="connsiteX4" fmla="*/ 0 w 4121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0" h="10000">
                  <a:moveTo>
                    <a:pt x="0" y="0"/>
                  </a:moveTo>
                  <a:lnTo>
                    <a:pt x="41210" y="4"/>
                  </a:lnTo>
                  <a:lnTo>
                    <a:pt x="16752" y="10000"/>
                  </a:lnTo>
                  <a:lnTo>
                    <a:pt x="10752" y="1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8B15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D016C5-6BD8-773C-CB70-F47503104AC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8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330309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227DB06-7750-440B-8A64-2FC404B60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253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7DB06-7750-440B-8A64-2FC404B60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1229C0D4-8A0A-01CA-E960-B1C763FAA21F}"/>
              </a:ext>
            </a:extLst>
          </p:cNvPr>
          <p:cNvGrpSpPr/>
          <p:nvPr/>
        </p:nvGrpSpPr>
        <p:grpSpPr>
          <a:xfrm>
            <a:off x="575020" y="1098784"/>
            <a:ext cx="8212519" cy="3562228"/>
            <a:chOff x="809625" y="1246613"/>
            <a:chExt cx="6194738" cy="2996586"/>
          </a:xfrm>
        </p:grpSpPr>
        <p:grpSp>
          <p:nvGrpSpPr>
            <p:cNvPr id="866" name="Google Shape;866;p43"/>
            <p:cNvGrpSpPr/>
            <p:nvPr/>
          </p:nvGrpSpPr>
          <p:grpSpPr>
            <a:xfrm>
              <a:off x="2282427" y="1246613"/>
              <a:ext cx="1623900" cy="1697887"/>
              <a:chOff x="2282427" y="1218038"/>
              <a:chExt cx="1623900" cy="1697887"/>
            </a:xfrm>
          </p:grpSpPr>
          <p:sp>
            <p:nvSpPr>
              <p:cNvPr id="867" name="Google Shape;867;p43"/>
              <p:cNvSpPr/>
              <p:nvPr/>
            </p:nvSpPr>
            <p:spPr>
              <a:xfrm>
                <a:off x="2282427" y="2447925"/>
                <a:ext cx="1623900" cy="468000"/>
              </a:xfrm>
              <a:prstGeom prst="chevron">
                <a:avLst>
                  <a:gd name="adj" fmla="val 50000"/>
                </a:avLst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868" name="Google Shape;868;p43"/>
              <p:cNvCxnSpPr/>
              <p:nvPr/>
            </p:nvCxnSpPr>
            <p:spPr>
              <a:xfrm>
                <a:off x="2291733" y="1218038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69" name="Google Shape;869;p43"/>
            <p:cNvGrpSpPr/>
            <p:nvPr/>
          </p:nvGrpSpPr>
          <p:grpSpPr>
            <a:xfrm>
              <a:off x="5228030" y="1251752"/>
              <a:ext cx="1623900" cy="1692748"/>
              <a:chOff x="5228030" y="1223177"/>
              <a:chExt cx="1623900" cy="1692748"/>
            </a:xfrm>
          </p:grpSpPr>
          <p:sp>
            <p:nvSpPr>
              <p:cNvPr id="870" name="Google Shape;870;p43"/>
              <p:cNvSpPr/>
              <p:nvPr/>
            </p:nvSpPr>
            <p:spPr>
              <a:xfrm>
                <a:off x="5228030" y="2447925"/>
                <a:ext cx="1623900" cy="468000"/>
              </a:xfrm>
              <a:prstGeom prst="chevron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871" name="Google Shape;871;p43"/>
              <p:cNvCxnSpPr/>
              <p:nvPr/>
            </p:nvCxnSpPr>
            <p:spPr>
              <a:xfrm>
                <a:off x="5237303" y="1223177"/>
                <a:ext cx="0" cy="1238417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72" name="Google Shape;872;p43"/>
            <p:cNvGrpSpPr/>
            <p:nvPr/>
          </p:nvGrpSpPr>
          <p:grpSpPr>
            <a:xfrm>
              <a:off x="809625" y="2476500"/>
              <a:ext cx="1623900" cy="1706422"/>
              <a:chOff x="809625" y="2447925"/>
              <a:chExt cx="1623900" cy="1706422"/>
            </a:xfrm>
          </p:grpSpPr>
          <p:sp>
            <p:nvSpPr>
              <p:cNvPr id="873" name="Google Shape;873;p43"/>
              <p:cNvSpPr/>
              <p:nvPr/>
            </p:nvSpPr>
            <p:spPr>
              <a:xfrm>
                <a:off x="809625" y="2447925"/>
                <a:ext cx="1623900" cy="468000"/>
              </a:xfrm>
              <a:prstGeom prst="homePlate">
                <a:avLst>
                  <a:gd name="adj" fmla="val 50000"/>
                </a:avLst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874" name="Google Shape;874;p43"/>
              <p:cNvCxnSpPr/>
              <p:nvPr/>
            </p:nvCxnSpPr>
            <p:spPr>
              <a:xfrm>
                <a:off x="818826" y="2915931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grpSp>
          <p:nvGrpSpPr>
            <p:cNvPr id="875" name="Google Shape;875;p43"/>
            <p:cNvGrpSpPr/>
            <p:nvPr/>
          </p:nvGrpSpPr>
          <p:grpSpPr>
            <a:xfrm>
              <a:off x="3755228" y="2476500"/>
              <a:ext cx="1623900" cy="1706422"/>
              <a:chOff x="3755228" y="2447925"/>
              <a:chExt cx="1623900" cy="1706422"/>
            </a:xfrm>
          </p:grpSpPr>
          <p:sp>
            <p:nvSpPr>
              <p:cNvPr id="876" name="Google Shape;876;p43"/>
              <p:cNvSpPr/>
              <p:nvPr/>
            </p:nvSpPr>
            <p:spPr>
              <a:xfrm>
                <a:off x="3755228" y="2447925"/>
                <a:ext cx="1623900" cy="468000"/>
              </a:xfrm>
              <a:prstGeom prst="chevron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877" name="Google Shape;877;p43"/>
              <p:cNvCxnSpPr>
                <a:cxnSpLocks/>
              </p:cNvCxnSpPr>
              <p:nvPr/>
            </p:nvCxnSpPr>
            <p:spPr>
              <a:xfrm>
                <a:off x="3769108" y="2915931"/>
                <a:ext cx="0" cy="1238416"/>
              </a:xfrm>
              <a:prstGeom prst="straightConnector1">
                <a:avLst/>
              </a:prstGeom>
              <a:noFill/>
              <a:ln w="190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882" name="Google Shape;882;p43"/>
            <p:cNvSpPr txBox="1"/>
            <p:nvPr/>
          </p:nvSpPr>
          <p:spPr>
            <a:xfrm>
              <a:off x="1064237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Phase 1</a:t>
              </a:r>
              <a:endParaRPr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83" name="Google Shape;883;p43"/>
            <p:cNvSpPr txBox="1"/>
            <p:nvPr/>
          </p:nvSpPr>
          <p:spPr>
            <a:xfrm>
              <a:off x="2537054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Phase 2</a:t>
              </a:r>
              <a:endParaRPr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84" name="Google Shape;884;p43"/>
            <p:cNvSpPr txBox="1"/>
            <p:nvPr/>
          </p:nvSpPr>
          <p:spPr>
            <a:xfrm>
              <a:off x="4009855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lt1"/>
                  </a:solidFill>
                  <a:latin typeface="Alata"/>
                  <a:ea typeface="Alata"/>
                  <a:cs typeface="Alata"/>
                  <a:sym typeface="Alata"/>
                </a:rPr>
                <a:t>Phase 3</a:t>
              </a:r>
              <a:endParaRPr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85" name="Google Shape;885;p43"/>
            <p:cNvSpPr txBox="1"/>
            <p:nvPr/>
          </p:nvSpPr>
          <p:spPr>
            <a:xfrm>
              <a:off x="5482655" y="2514600"/>
              <a:ext cx="1369500" cy="25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Phase 4</a:t>
              </a:r>
              <a:endParaRPr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87" name="Google Shape;887;p43"/>
            <p:cNvSpPr txBox="1"/>
            <p:nvPr/>
          </p:nvSpPr>
          <p:spPr>
            <a:xfrm>
              <a:off x="2340438" y="1246613"/>
              <a:ext cx="1731281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Medium Term Initiatives</a:t>
              </a:r>
              <a:endParaRPr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88" name="Google Shape;888;p43"/>
            <p:cNvSpPr txBox="1"/>
            <p:nvPr/>
          </p:nvSpPr>
          <p:spPr>
            <a:xfrm>
              <a:off x="2340438" y="1581311"/>
              <a:ext cx="2618097" cy="542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Action: </a:t>
              </a:r>
            </a:p>
            <a:p>
              <a:pPr marL="171450" lvl="0" indent="-171450" algn="l" rtl="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Cross-Selling and Up-Sell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Identify Issues &amp; Product/Service Development</a:t>
              </a:r>
            </a:p>
            <a:p>
              <a:endParaRPr lang="en-US" sz="1000" b="1">
                <a:latin typeface="Montserrat"/>
                <a:ea typeface="Montserrat"/>
                <a:cs typeface="Montserrat"/>
                <a:sym typeface="Montserrat"/>
              </a:endParaRPr>
            </a:p>
            <a:p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Target Groups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High Value (Groups 1 and 2)</a:t>
              </a:r>
              <a:endParaRPr lang="en-US" sz="1000" b="1"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889" name="Google Shape;889;p43"/>
            <p:cNvSpPr txBox="1"/>
            <p:nvPr/>
          </p:nvSpPr>
          <p:spPr>
            <a:xfrm>
              <a:off x="5285930" y="1258890"/>
              <a:ext cx="1566000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Long Term Initiatives</a:t>
              </a:r>
              <a:endParaRPr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90" name="Google Shape;890;p43"/>
            <p:cNvSpPr txBox="1"/>
            <p:nvPr/>
          </p:nvSpPr>
          <p:spPr>
            <a:xfrm>
              <a:off x="5285930" y="1629890"/>
              <a:ext cx="1718433" cy="673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Action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Feedback &amp; Continuous Improvement Loop</a:t>
              </a:r>
              <a:b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</a:br>
              <a:b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Target Groups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All Groups</a:t>
              </a:r>
              <a:endParaRPr lang="en-US" sz="1000" b="1"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891" name="Google Shape;891;p43"/>
            <p:cNvSpPr txBox="1"/>
            <p:nvPr/>
          </p:nvSpPr>
          <p:spPr>
            <a:xfrm>
              <a:off x="840836" y="2971648"/>
              <a:ext cx="1566000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Immediate Focus</a:t>
              </a:r>
              <a:endParaRPr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92" name="Google Shape;892;p43"/>
            <p:cNvSpPr txBox="1"/>
            <p:nvPr/>
          </p:nvSpPr>
          <p:spPr>
            <a:xfrm>
              <a:off x="828027" y="3351295"/>
              <a:ext cx="1565997" cy="8919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Action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Targeted Promotion and Coupon Campaigns</a:t>
              </a:r>
              <a:b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</a:br>
              <a:b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Target Groups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Low Value (Groups 3 and 4)</a:t>
              </a:r>
              <a:endParaRPr lang="en-US" sz="1000" b="1"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893" name="Google Shape;893;p43"/>
            <p:cNvSpPr txBox="1"/>
            <p:nvPr/>
          </p:nvSpPr>
          <p:spPr>
            <a:xfrm>
              <a:off x="3782844" y="2963000"/>
              <a:ext cx="1798237" cy="352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chemeClr val="dk1"/>
                  </a:solidFill>
                  <a:latin typeface="Alata"/>
                  <a:ea typeface="Alata"/>
                  <a:cs typeface="Alata"/>
                  <a:sym typeface="Alata"/>
                </a:rPr>
                <a:t>Major Projects</a:t>
              </a:r>
              <a:endParaRPr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endParaRPr>
            </a:p>
          </p:txBody>
        </p:sp>
        <p:sp>
          <p:nvSpPr>
            <p:cNvPr id="894" name="Google Shape;894;p43"/>
            <p:cNvSpPr txBox="1"/>
            <p:nvPr/>
          </p:nvSpPr>
          <p:spPr>
            <a:xfrm>
              <a:off x="3812270" y="3348299"/>
              <a:ext cx="1899600" cy="89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Action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Loyalty Program targeted at High Value Groups</a:t>
              </a:r>
            </a:p>
            <a:p>
              <a:pPr marL="171450" lvl="0" indent="-171450" algn="l" rtl="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000">
                <a:latin typeface="Montserrat"/>
                <a:ea typeface="Montserrat"/>
                <a:cs typeface="Montserrat"/>
                <a:sym typeface="Montserrat"/>
              </a:endParaRPr>
            </a:p>
            <a:p>
              <a:pPr lvl="0" algn="l" rtl="0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latin typeface="Montserrat"/>
                  <a:ea typeface="Montserrat"/>
                  <a:cs typeface="Montserrat"/>
                  <a:sym typeface="Montserrat"/>
                </a:rPr>
                <a:t>Target Groups: </a:t>
              </a: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High Value Groups </a:t>
              </a:r>
            </a:p>
            <a:p>
              <a:pPr lvl="0" algn="l" rtl="0">
                <a:spcBef>
                  <a:spcPts val="0"/>
                </a:spcBef>
                <a:spcAft>
                  <a:spcPts val="0"/>
                </a:spcAft>
              </a:pPr>
              <a:r>
                <a:rPr lang="en-US" sz="1000">
                  <a:latin typeface="Montserrat"/>
                  <a:ea typeface="Montserrat"/>
                  <a:cs typeface="Montserrat"/>
                  <a:sym typeface="Montserrat"/>
                </a:rPr>
                <a:t>(Groups 3 and 4)</a:t>
              </a:r>
              <a:endParaRPr sz="1000"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91D5F9B-C8D5-6F93-74EF-FC1D6E1441F0}"/>
              </a:ext>
            </a:extLst>
          </p:cNvPr>
          <p:cNvSpPr txBox="1">
            <a:spLocks/>
          </p:cNvSpPr>
          <p:nvPr/>
        </p:nvSpPr>
        <p:spPr>
          <a:xfrm>
            <a:off x="786787" y="134528"/>
            <a:ext cx="7875577" cy="55062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>
                <a:solidFill>
                  <a:srgbClr val="000000"/>
                </a:solidFill>
              </a:rPr>
              <a:t>Phased Implementation Strategy &amp; Groups to Focus for Each Ph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84041-06CF-1494-D975-B05EBB98D03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57425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407;p34">
            <a:extLst>
              <a:ext uri="{FF2B5EF4-FFF2-40B4-BE49-F238E27FC236}">
                <a16:creationId xmlns:a16="http://schemas.microsoft.com/office/drawing/2014/main" id="{CF342439-28D6-2B04-293F-195E3E017756}"/>
              </a:ext>
            </a:extLst>
          </p:cNvPr>
          <p:cNvSpPr txBox="1">
            <a:spLocks/>
          </p:cNvSpPr>
          <p:nvPr/>
        </p:nvSpPr>
        <p:spPr>
          <a:xfrm>
            <a:off x="735900" y="15398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>
                <a:solidFill>
                  <a:schemeClr val="accent2">
                    <a:lumMod val="10000"/>
                  </a:schemeClr>
                </a:solidFill>
              </a:rPr>
              <a:t>Objective: What are we trying to solve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EB5F27-0F9F-30FA-1027-07590689C5A1}"/>
              </a:ext>
            </a:extLst>
          </p:cNvPr>
          <p:cNvGrpSpPr/>
          <p:nvPr/>
        </p:nvGrpSpPr>
        <p:grpSpPr>
          <a:xfrm>
            <a:off x="404294" y="963679"/>
            <a:ext cx="2746269" cy="1131898"/>
            <a:chOff x="1028271" y="1328327"/>
            <a:chExt cx="2841823" cy="1131898"/>
          </a:xfrm>
        </p:grpSpPr>
        <p:sp>
          <p:nvSpPr>
            <p:cNvPr id="62" name="TextBox 61"/>
            <p:cNvSpPr txBox="1"/>
            <p:nvPr/>
          </p:nvSpPr>
          <p:spPr>
            <a:xfrm>
              <a:off x="1028271" y="1328327"/>
              <a:ext cx="2658703" cy="637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17644">
                <a:spcBef>
                  <a:spcPct val="0"/>
                </a:spcBef>
                <a:defRPr/>
              </a:pPr>
              <a:r>
                <a:rPr lang="en-US" sz="3546" b="1">
                  <a:solidFill>
                    <a:schemeClr val="bg2"/>
                  </a:solidFill>
                  <a:latin typeface="Lato" panose="020F0502020204030203" pitchFamily="34" charset="0"/>
                  <a:ea typeface="Lato" panose="020F0502020204030203" pitchFamily="34" charset="0"/>
                </a:rPr>
                <a:t>26</a:t>
              </a:r>
              <a:r>
                <a:rPr lang="id-ID" sz="3546" b="1">
                  <a:solidFill>
                    <a:schemeClr val="bg2"/>
                  </a:solidFill>
                  <a:latin typeface="Lato" panose="020F0502020204030203" pitchFamily="34" charset="0"/>
                  <a:ea typeface="Lato" panose="020F0502020204030203" pitchFamily="34" charset="0"/>
                </a:rPr>
                <a:t>%</a:t>
              </a:r>
            </a:p>
          </p:txBody>
        </p:sp>
        <p:sp>
          <p:nvSpPr>
            <p:cNvPr id="65" name="Content Placeholder 2"/>
            <p:cNvSpPr txBox="1">
              <a:spLocks/>
            </p:cNvSpPr>
            <p:nvPr/>
          </p:nvSpPr>
          <p:spPr>
            <a:xfrm>
              <a:off x="1028271" y="1923468"/>
              <a:ext cx="2841823" cy="536757"/>
            </a:xfrm>
            <a:prstGeom prst="rect">
              <a:avLst/>
            </a:prstGeom>
          </p:spPr>
          <p:txBody>
            <a:bodyPr vert="horz" lIns="82330" tIns="41165" rIns="82330" bIns="41165" numCol="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>
                  <a:solidFill>
                    <a:srgbClr val="000000"/>
                  </a:solidFill>
                  <a:latin typeface="Montserrat" panose="00000500000000000000" pitchFamily="2" charset="0"/>
                </a:rPr>
                <a:t>Large proportion of the customers churn within the first one year of association</a:t>
              </a:r>
              <a:endParaRPr lang="en-US" sz="1200" baseline="500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3F55C44-5143-5B68-91D1-0CF2EB1E4525}"/>
              </a:ext>
            </a:extLst>
          </p:cNvPr>
          <p:cNvGrpSpPr/>
          <p:nvPr/>
        </p:nvGrpSpPr>
        <p:grpSpPr>
          <a:xfrm>
            <a:off x="454586" y="1204031"/>
            <a:ext cx="8689414" cy="3478061"/>
            <a:chOff x="454586" y="1287677"/>
            <a:chExt cx="8689414" cy="3478061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54586" y="4408606"/>
              <a:ext cx="3867651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  <a:gd name="connsiteX0" fmla="*/ 13595 w 13595"/>
                <a:gd name="connsiteY0" fmla="*/ 10000 h 10000"/>
                <a:gd name="connsiteX1" fmla="*/ 0 w 13595"/>
                <a:gd name="connsiteY1" fmla="*/ 10000 h 10000"/>
                <a:gd name="connsiteX2" fmla="*/ 3595 w 13595"/>
                <a:gd name="connsiteY2" fmla="*/ 0 h 10000"/>
                <a:gd name="connsiteX3" fmla="*/ 11799 w 13595"/>
                <a:gd name="connsiteY3" fmla="*/ 0 h 10000"/>
                <a:gd name="connsiteX4" fmla="*/ 13595 w 13595"/>
                <a:gd name="connsiteY4" fmla="*/ 10000 h 10000"/>
                <a:gd name="connsiteX0" fmla="*/ 48270 w 48270"/>
                <a:gd name="connsiteY0" fmla="*/ 10000 h 10000"/>
                <a:gd name="connsiteX1" fmla="*/ 34675 w 48270"/>
                <a:gd name="connsiteY1" fmla="*/ 10000 h 10000"/>
                <a:gd name="connsiteX2" fmla="*/ 0 w 48270"/>
                <a:gd name="connsiteY2" fmla="*/ 194 h 10000"/>
                <a:gd name="connsiteX3" fmla="*/ 46474 w 48270"/>
                <a:gd name="connsiteY3" fmla="*/ 0 h 10000"/>
                <a:gd name="connsiteX4" fmla="*/ 48270 w 48270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86 w 48856"/>
                <a:gd name="connsiteY2" fmla="*/ 194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856 w 48856"/>
                <a:gd name="connsiteY0" fmla="*/ 10000 h 10000"/>
                <a:gd name="connsiteX1" fmla="*/ 0 w 48856"/>
                <a:gd name="connsiteY1" fmla="*/ 9806 h 10000"/>
                <a:gd name="connsiteX2" fmla="*/ 501 w 48856"/>
                <a:gd name="connsiteY2" fmla="*/ 610 h 10000"/>
                <a:gd name="connsiteX3" fmla="*/ 47060 w 48856"/>
                <a:gd name="connsiteY3" fmla="*/ 0 h 10000"/>
                <a:gd name="connsiteX4" fmla="*/ 48856 w 48856"/>
                <a:gd name="connsiteY4" fmla="*/ 10000 h 10000"/>
                <a:gd name="connsiteX0" fmla="*/ 48414 w 48414"/>
                <a:gd name="connsiteY0" fmla="*/ 10000 h 10000"/>
                <a:gd name="connsiteX1" fmla="*/ 40 w 48414"/>
                <a:gd name="connsiteY1" fmla="*/ 9806 h 10000"/>
                <a:gd name="connsiteX2" fmla="*/ 59 w 48414"/>
                <a:gd name="connsiteY2" fmla="*/ 610 h 10000"/>
                <a:gd name="connsiteX3" fmla="*/ 46618 w 48414"/>
                <a:gd name="connsiteY3" fmla="*/ 0 h 10000"/>
                <a:gd name="connsiteX4" fmla="*/ 48414 w 48414"/>
                <a:gd name="connsiteY4" fmla="*/ 10000 h 10000"/>
                <a:gd name="connsiteX0" fmla="*/ 48449 w 48449"/>
                <a:gd name="connsiteY0" fmla="*/ 10000 h 10000"/>
                <a:gd name="connsiteX1" fmla="*/ 75 w 48449"/>
                <a:gd name="connsiteY1" fmla="*/ 9806 h 10000"/>
                <a:gd name="connsiteX2" fmla="*/ 94 w 48449"/>
                <a:gd name="connsiteY2" fmla="*/ 610 h 10000"/>
                <a:gd name="connsiteX3" fmla="*/ 46653 w 48449"/>
                <a:gd name="connsiteY3" fmla="*/ 0 h 10000"/>
                <a:gd name="connsiteX4" fmla="*/ 48449 w 48449"/>
                <a:gd name="connsiteY4" fmla="*/ 10000 h 10000"/>
                <a:gd name="connsiteX0" fmla="*/ 48378 w 48378"/>
                <a:gd name="connsiteY0" fmla="*/ 10000 h 10000"/>
                <a:gd name="connsiteX1" fmla="*/ 4 w 48378"/>
                <a:gd name="connsiteY1" fmla="*/ 9806 h 10000"/>
                <a:gd name="connsiteX2" fmla="*/ 23 w 48378"/>
                <a:gd name="connsiteY2" fmla="*/ 610 h 10000"/>
                <a:gd name="connsiteX3" fmla="*/ 46582 w 48378"/>
                <a:gd name="connsiteY3" fmla="*/ 0 h 10000"/>
                <a:gd name="connsiteX4" fmla="*/ 48378 w 48378"/>
                <a:gd name="connsiteY4" fmla="*/ 10000 h 10000"/>
                <a:gd name="connsiteX0" fmla="*/ 48375 w 48375"/>
                <a:gd name="connsiteY0" fmla="*/ 10000 h 10000"/>
                <a:gd name="connsiteX1" fmla="*/ 1 w 48375"/>
                <a:gd name="connsiteY1" fmla="*/ 9806 h 10000"/>
                <a:gd name="connsiteX2" fmla="*/ 20 w 48375"/>
                <a:gd name="connsiteY2" fmla="*/ 610 h 10000"/>
                <a:gd name="connsiteX3" fmla="*/ 46579 w 48375"/>
                <a:gd name="connsiteY3" fmla="*/ 0 h 10000"/>
                <a:gd name="connsiteX4" fmla="*/ 48375 w 48375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75" h="10000">
                  <a:moveTo>
                    <a:pt x="48375" y="10000"/>
                  </a:moveTo>
                  <a:lnTo>
                    <a:pt x="1" y="9806"/>
                  </a:lnTo>
                  <a:cubicBezTo>
                    <a:pt x="-2" y="6236"/>
                    <a:pt x="14" y="3648"/>
                    <a:pt x="20" y="610"/>
                  </a:cubicBezTo>
                  <a:lnTo>
                    <a:pt x="46579" y="0"/>
                  </a:lnTo>
                  <a:lnTo>
                    <a:pt x="48375" y="1000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091487" y="393070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73 w 1520"/>
                <a:gd name="T3" fmla="*/ 414 h 414"/>
                <a:gd name="T4" fmla="*/ 0 w 1520"/>
                <a:gd name="T5" fmla="*/ 0 h 414"/>
                <a:gd name="T6" fmla="*/ 1240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1240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4091487" y="3930705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161158" y="3453666"/>
              <a:ext cx="1316385" cy="356269"/>
            </a:xfrm>
            <a:custGeom>
              <a:avLst/>
              <a:gdLst>
                <a:gd name="T0" fmla="*/ 1526 w 1526"/>
                <a:gd name="T1" fmla="*/ 413 h 413"/>
                <a:gd name="T2" fmla="*/ 280 w 1526"/>
                <a:gd name="T3" fmla="*/ 413 h 413"/>
                <a:gd name="T4" fmla="*/ 0 w 1526"/>
                <a:gd name="T5" fmla="*/ 0 h 413"/>
                <a:gd name="T6" fmla="*/ 1246 w 1526"/>
                <a:gd name="T7" fmla="*/ 0 h 413"/>
                <a:gd name="T8" fmla="*/ 1526 w 1526"/>
                <a:gd name="T9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6" h="413">
                  <a:moveTo>
                    <a:pt x="1526" y="413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1246" y="0"/>
                  </a:lnTo>
                  <a:lnTo>
                    <a:pt x="1526" y="413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5161157" y="3453666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3 h 967"/>
                <a:gd name="T4" fmla="*/ 0 w 280"/>
                <a:gd name="T5" fmla="*/ 0 h 967"/>
                <a:gd name="T6" fmla="*/ 0 w 280"/>
                <a:gd name="T7" fmla="*/ 553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3"/>
                  </a:lnTo>
                  <a:lnTo>
                    <a:pt x="0" y="0"/>
                  </a:lnTo>
                  <a:lnTo>
                    <a:pt x="0" y="553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6236004" y="2975765"/>
              <a:ext cx="1311209" cy="357132"/>
            </a:xfrm>
            <a:custGeom>
              <a:avLst/>
              <a:gdLst>
                <a:gd name="T0" fmla="*/ 1520 w 1520"/>
                <a:gd name="T1" fmla="*/ 414 h 414"/>
                <a:gd name="T2" fmla="*/ 280 w 1520"/>
                <a:gd name="T3" fmla="*/ 414 h 414"/>
                <a:gd name="T4" fmla="*/ 0 w 1520"/>
                <a:gd name="T5" fmla="*/ 0 h 414"/>
                <a:gd name="T6" fmla="*/ 1247 w 1520"/>
                <a:gd name="T7" fmla="*/ 0 h 414"/>
                <a:gd name="T8" fmla="*/ 1520 w 1520"/>
                <a:gd name="T9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0" h="414">
                  <a:moveTo>
                    <a:pt x="1520" y="414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1247" y="0"/>
                  </a:lnTo>
                  <a:lnTo>
                    <a:pt x="1520" y="41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6236004" y="2975765"/>
              <a:ext cx="241539" cy="834170"/>
            </a:xfrm>
            <a:custGeom>
              <a:avLst/>
              <a:gdLst>
                <a:gd name="T0" fmla="*/ 280 w 280"/>
                <a:gd name="T1" fmla="*/ 967 h 967"/>
                <a:gd name="T2" fmla="*/ 280 w 280"/>
                <a:gd name="T3" fmla="*/ 414 h 967"/>
                <a:gd name="T4" fmla="*/ 0 w 280"/>
                <a:gd name="T5" fmla="*/ 0 h 967"/>
                <a:gd name="T6" fmla="*/ 0 w 280"/>
                <a:gd name="T7" fmla="*/ 554 h 967"/>
                <a:gd name="T8" fmla="*/ 280 w 280"/>
                <a:gd name="T9" fmla="*/ 967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967">
                  <a:moveTo>
                    <a:pt x="280" y="967"/>
                  </a:moveTo>
                  <a:lnTo>
                    <a:pt x="280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80" y="967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7311713" y="2497864"/>
              <a:ext cx="235500" cy="835033"/>
            </a:xfrm>
            <a:custGeom>
              <a:avLst/>
              <a:gdLst>
                <a:gd name="T0" fmla="*/ 273 w 273"/>
                <a:gd name="T1" fmla="*/ 968 h 968"/>
                <a:gd name="T2" fmla="*/ 273 w 273"/>
                <a:gd name="T3" fmla="*/ 414 h 968"/>
                <a:gd name="T4" fmla="*/ 0 w 273"/>
                <a:gd name="T5" fmla="*/ 0 h 968"/>
                <a:gd name="T6" fmla="*/ 0 w 273"/>
                <a:gd name="T7" fmla="*/ 554 h 968"/>
                <a:gd name="T8" fmla="*/ 273 w 273"/>
                <a:gd name="T9" fmla="*/ 968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968">
                  <a:moveTo>
                    <a:pt x="273" y="968"/>
                  </a:moveTo>
                  <a:lnTo>
                    <a:pt x="273" y="414"/>
                  </a:lnTo>
                  <a:lnTo>
                    <a:pt x="0" y="0"/>
                  </a:lnTo>
                  <a:lnTo>
                    <a:pt x="0" y="554"/>
                  </a:lnTo>
                  <a:lnTo>
                    <a:pt x="273" y="968"/>
                  </a:lnTo>
                  <a:close/>
                </a:path>
              </a:pathLst>
            </a:custGeom>
            <a:solidFill>
              <a:srgbClr val="7C7C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0881" tIns="15440" rIns="30881" bIns="15440" numCol="1" anchor="t" anchorCtr="0" compatLnSpc="1">
              <a:prstTxWarp prst="textNoShape">
                <a:avLst/>
              </a:prstTxWarp>
            </a:bodyPr>
            <a:lstStyle/>
            <a:p>
              <a:pPr defTabSz="617644"/>
              <a:endParaRPr lang="en-US" sz="1216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4350288" y="2878278"/>
              <a:ext cx="793628" cy="1265486"/>
              <a:chOff x="14500231" y="8396527"/>
              <a:chExt cx="1807738" cy="2882556"/>
            </a:xfrm>
            <a:solidFill>
              <a:schemeClr val="accent2"/>
            </a:solidFill>
          </p:grpSpPr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15101500" y="11121888"/>
                <a:ext cx="603234" cy="157195"/>
              </a:xfrm>
              <a:custGeom>
                <a:avLst/>
                <a:gdLst>
                  <a:gd name="T0" fmla="*/ 307 w 307"/>
                  <a:gd name="T1" fmla="*/ 80 h 80"/>
                  <a:gd name="T2" fmla="*/ 54 w 307"/>
                  <a:gd name="T3" fmla="*/ 80 h 80"/>
                  <a:gd name="T4" fmla="*/ 0 w 307"/>
                  <a:gd name="T5" fmla="*/ 0 h 80"/>
                  <a:gd name="T6" fmla="*/ 247 w 307"/>
                  <a:gd name="T7" fmla="*/ 0 h 80"/>
                  <a:gd name="T8" fmla="*/ 307 w 307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80">
                    <a:moveTo>
                      <a:pt x="307" y="80"/>
                    </a:moveTo>
                    <a:lnTo>
                      <a:pt x="54" y="80"/>
                    </a:lnTo>
                    <a:lnTo>
                      <a:pt x="0" y="0"/>
                    </a:lnTo>
                    <a:lnTo>
                      <a:pt x="247" y="0"/>
                    </a:lnTo>
                    <a:lnTo>
                      <a:pt x="307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5" name="Oval 24"/>
              <p:cNvSpPr>
                <a:spLocks noChangeArrowheads="1"/>
              </p:cNvSpPr>
              <p:nvPr/>
            </p:nvSpPr>
            <p:spPr bwMode="auto">
              <a:xfrm>
                <a:off x="14500231" y="8396527"/>
                <a:ext cx="1807738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15390345" y="9836822"/>
                <a:ext cx="25544" cy="1363663"/>
              </a:xfrm>
              <a:custGeom>
                <a:avLst/>
                <a:gdLst>
                  <a:gd name="T0" fmla="*/ 1 w 2"/>
                  <a:gd name="T1" fmla="*/ 104 h 104"/>
                  <a:gd name="T2" fmla="*/ 0 w 2"/>
                  <a:gd name="T3" fmla="*/ 102 h 104"/>
                  <a:gd name="T4" fmla="*/ 0 w 2"/>
                  <a:gd name="T5" fmla="*/ 1 h 104"/>
                  <a:gd name="T6" fmla="*/ 1 w 2"/>
                  <a:gd name="T7" fmla="*/ 0 h 104"/>
                  <a:gd name="T8" fmla="*/ 2 w 2"/>
                  <a:gd name="T9" fmla="*/ 1 h 104"/>
                  <a:gd name="T10" fmla="*/ 2 w 2"/>
                  <a:gd name="T11" fmla="*/ 102 h 104"/>
                  <a:gd name="T12" fmla="*/ 1 w 2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ubicBezTo>
                      <a:pt x="2" y="102"/>
                      <a:pt x="2" y="102"/>
                      <a:pt x="2" y="102"/>
                    </a:cubicBezTo>
                    <a:cubicBezTo>
                      <a:pt x="2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433320" y="2352043"/>
              <a:ext cx="787588" cy="1283602"/>
              <a:chOff x="19398808" y="6180082"/>
              <a:chExt cx="1793983" cy="2923821"/>
            </a:xfrm>
            <a:solidFill>
              <a:schemeClr val="accent4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9988288" y="8946708"/>
                <a:ext cx="601269" cy="157195"/>
              </a:xfrm>
              <a:custGeom>
                <a:avLst/>
                <a:gdLst>
                  <a:gd name="T0" fmla="*/ 306 w 306"/>
                  <a:gd name="T1" fmla="*/ 80 h 80"/>
                  <a:gd name="T2" fmla="*/ 60 w 306"/>
                  <a:gd name="T3" fmla="*/ 80 h 80"/>
                  <a:gd name="T4" fmla="*/ 0 w 306"/>
                  <a:gd name="T5" fmla="*/ 0 h 80"/>
                  <a:gd name="T6" fmla="*/ 253 w 306"/>
                  <a:gd name="T7" fmla="*/ 0 h 80"/>
                  <a:gd name="T8" fmla="*/ 306 w 306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0">
                    <a:moveTo>
                      <a:pt x="306" y="80"/>
                    </a:moveTo>
                    <a:lnTo>
                      <a:pt x="60" y="80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4" name="Oval 23"/>
              <p:cNvSpPr>
                <a:spLocks noChangeArrowheads="1"/>
              </p:cNvSpPr>
              <p:nvPr/>
            </p:nvSpPr>
            <p:spPr bwMode="auto">
              <a:xfrm>
                <a:off x="19398808" y="6180082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20275168" y="7687185"/>
                <a:ext cx="39299" cy="1363663"/>
              </a:xfrm>
              <a:custGeom>
                <a:avLst/>
                <a:gdLst>
                  <a:gd name="T0" fmla="*/ 1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1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1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1" y="104"/>
                    </a:moveTo>
                    <a:cubicBezTo>
                      <a:pt x="0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274570" y="3361344"/>
              <a:ext cx="793627" cy="1260307"/>
              <a:chOff x="12049959" y="9496889"/>
              <a:chExt cx="1807738" cy="2870767"/>
            </a:xfrm>
            <a:solidFill>
              <a:schemeClr val="accent1"/>
            </a:solidFill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12653194" y="12196707"/>
                <a:ext cx="601269" cy="170949"/>
              </a:xfrm>
              <a:custGeom>
                <a:avLst/>
                <a:gdLst>
                  <a:gd name="T0" fmla="*/ 306 w 306"/>
                  <a:gd name="T1" fmla="*/ 87 h 87"/>
                  <a:gd name="T2" fmla="*/ 60 w 306"/>
                  <a:gd name="T3" fmla="*/ 87 h 87"/>
                  <a:gd name="T4" fmla="*/ 0 w 306"/>
                  <a:gd name="T5" fmla="*/ 0 h 87"/>
                  <a:gd name="T6" fmla="*/ 253 w 306"/>
                  <a:gd name="T7" fmla="*/ 0 h 87"/>
                  <a:gd name="T8" fmla="*/ 306 w 306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6" h="87">
                    <a:moveTo>
                      <a:pt x="306" y="87"/>
                    </a:moveTo>
                    <a:lnTo>
                      <a:pt x="60" y="87"/>
                    </a:lnTo>
                    <a:lnTo>
                      <a:pt x="0" y="0"/>
                    </a:lnTo>
                    <a:lnTo>
                      <a:pt x="253" y="0"/>
                    </a:lnTo>
                    <a:lnTo>
                      <a:pt x="30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3" name="Oval 22"/>
              <p:cNvSpPr>
                <a:spLocks noChangeArrowheads="1"/>
              </p:cNvSpPr>
              <p:nvPr/>
            </p:nvSpPr>
            <p:spPr bwMode="auto">
              <a:xfrm>
                <a:off x="12049959" y="9496889"/>
                <a:ext cx="1807738" cy="180970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12914529" y="10950940"/>
                <a:ext cx="39299" cy="1351874"/>
              </a:xfrm>
              <a:custGeom>
                <a:avLst/>
                <a:gdLst>
                  <a:gd name="T0" fmla="*/ 1 w 3"/>
                  <a:gd name="T1" fmla="*/ 103 h 103"/>
                  <a:gd name="T2" fmla="*/ 0 w 3"/>
                  <a:gd name="T3" fmla="*/ 102 h 103"/>
                  <a:gd name="T4" fmla="*/ 0 w 3"/>
                  <a:gd name="T5" fmla="*/ 1 h 103"/>
                  <a:gd name="T6" fmla="*/ 1 w 3"/>
                  <a:gd name="T7" fmla="*/ 0 h 103"/>
                  <a:gd name="T8" fmla="*/ 3 w 3"/>
                  <a:gd name="T9" fmla="*/ 1 h 103"/>
                  <a:gd name="T10" fmla="*/ 3 w 3"/>
                  <a:gd name="T11" fmla="*/ 102 h 103"/>
                  <a:gd name="T12" fmla="*/ 1 w 3"/>
                  <a:gd name="T13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3">
                    <a:moveTo>
                      <a:pt x="1" y="103"/>
                    </a:moveTo>
                    <a:cubicBezTo>
                      <a:pt x="1" y="103"/>
                      <a:pt x="0" y="102"/>
                      <a:pt x="0" y="10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02"/>
                      <a:pt x="3" y="102"/>
                      <a:pt x="3" y="102"/>
                    </a:cubicBezTo>
                    <a:cubicBezTo>
                      <a:pt x="3" y="102"/>
                      <a:pt x="2" y="103"/>
                      <a:pt x="1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6474515" y="1849572"/>
              <a:ext cx="787587" cy="1272388"/>
              <a:chOff x="16948537" y="7294199"/>
              <a:chExt cx="1793983" cy="2898277"/>
            </a:xfrm>
            <a:solidFill>
              <a:schemeClr val="accent3"/>
            </a:solidFill>
          </p:grpSpPr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7551771" y="10035281"/>
                <a:ext cx="589480" cy="157195"/>
              </a:xfrm>
              <a:custGeom>
                <a:avLst/>
                <a:gdLst>
                  <a:gd name="T0" fmla="*/ 300 w 300"/>
                  <a:gd name="T1" fmla="*/ 80 h 80"/>
                  <a:gd name="T2" fmla="*/ 53 w 300"/>
                  <a:gd name="T3" fmla="*/ 80 h 80"/>
                  <a:gd name="T4" fmla="*/ 0 w 300"/>
                  <a:gd name="T5" fmla="*/ 0 h 80"/>
                  <a:gd name="T6" fmla="*/ 246 w 300"/>
                  <a:gd name="T7" fmla="*/ 0 h 80"/>
                  <a:gd name="T8" fmla="*/ 300 w 300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80">
                    <a:moveTo>
                      <a:pt x="300" y="80"/>
                    </a:moveTo>
                    <a:lnTo>
                      <a:pt x="53" y="80"/>
                    </a:lnTo>
                    <a:lnTo>
                      <a:pt x="0" y="0"/>
                    </a:lnTo>
                    <a:lnTo>
                      <a:pt x="246" y="0"/>
                    </a:lnTo>
                    <a:lnTo>
                      <a:pt x="30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2" name="Oval 21"/>
              <p:cNvSpPr>
                <a:spLocks noChangeArrowheads="1"/>
              </p:cNvSpPr>
              <p:nvPr/>
            </p:nvSpPr>
            <p:spPr bwMode="auto">
              <a:xfrm>
                <a:off x="16948537" y="7294199"/>
                <a:ext cx="1793983" cy="17959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17826862" y="8789513"/>
                <a:ext cx="39299" cy="1363663"/>
              </a:xfrm>
              <a:custGeom>
                <a:avLst/>
                <a:gdLst>
                  <a:gd name="T0" fmla="*/ 2 w 3"/>
                  <a:gd name="T1" fmla="*/ 104 h 104"/>
                  <a:gd name="T2" fmla="*/ 0 w 3"/>
                  <a:gd name="T3" fmla="*/ 103 h 104"/>
                  <a:gd name="T4" fmla="*/ 0 w 3"/>
                  <a:gd name="T5" fmla="*/ 2 h 104"/>
                  <a:gd name="T6" fmla="*/ 2 w 3"/>
                  <a:gd name="T7" fmla="*/ 0 h 104"/>
                  <a:gd name="T8" fmla="*/ 3 w 3"/>
                  <a:gd name="T9" fmla="*/ 2 h 104"/>
                  <a:gd name="T10" fmla="*/ 3 w 3"/>
                  <a:gd name="T11" fmla="*/ 103 h 104"/>
                  <a:gd name="T12" fmla="*/ 2 w 3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04">
                    <a:moveTo>
                      <a:pt x="2" y="104"/>
                    </a:moveTo>
                    <a:cubicBezTo>
                      <a:pt x="1" y="104"/>
                      <a:pt x="0" y="103"/>
                      <a:pt x="0" y="10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2" y="104"/>
                      <a:pt x="2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0881" tIns="15440" rIns="30881" bIns="15440" numCol="1" anchor="t" anchorCtr="0" compatLnSpc="1">
                <a:prstTxWarp prst="textNoShape">
                  <a:avLst/>
                </a:prstTxWarp>
              </a:bodyPr>
              <a:lstStyle/>
              <a:p>
                <a:pPr defTabSz="617644"/>
                <a:endParaRPr lang="en-US" sz="1216">
                  <a:solidFill>
                    <a:srgbClr val="FFFFFF"/>
                  </a:solidFill>
                  <a:latin typeface="Lato" panose="020F0502020204030203" pitchFamily="34" charset="0"/>
                </a:endParaRPr>
              </a:p>
            </p:txBody>
          </p:sp>
        </p:grpSp>
        <p:pic>
          <p:nvPicPr>
            <p:cNvPr id="73" name="Graphic 72" descr="Cycle with people outline">
              <a:extLst>
                <a:ext uri="{FF2B5EF4-FFF2-40B4-BE49-F238E27FC236}">
                  <a16:creationId xmlns:a16="http://schemas.microsoft.com/office/drawing/2014/main" id="{E2587364-05B4-6D36-FA2C-C20B9ECB7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395678" y="3473756"/>
              <a:ext cx="532246" cy="532246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7" name="Graphic 76" descr="Research with solid fill">
              <a:extLst>
                <a:ext uri="{FF2B5EF4-FFF2-40B4-BE49-F238E27FC236}">
                  <a16:creationId xmlns:a16="http://schemas.microsoft.com/office/drawing/2014/main" id="{F8091E5C-CD73-9563-9692-141B9B661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4457789" y="2993852"/>
              <a:ext cx="572735" cy="528148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9" name="Graphic 78" descr="Dollar outline">
              <a:extLst>
                <a:ext uri="{FF2B5EF4-FFF2-40B4-BE49-F238E27FC236}">
                  <a16:creationId xmlns:a16="http://schemas.microsoft.com/office/drawing/2014/main" id="{186FA772-F5BF-457B-7D4F-29B537ED7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542039" y="2456891"/>
              <a:ext cx="578765" cy="57876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7" name="Graphic 86" descr="Care with solid fill">
              <a:extLst>
                <a:ext uri="{FF2B5EF4-FFF2-40B4-BE49-F238E27FC236}">
                  <a16:creationId xmlns:a16="http://schemas.microsoft.com/office/drawing/2014/main" id="{0403B330-657A-CB51-5B48-43EBF186A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00437" y="1969348"/>
              <a:ext cx="534173" cy="534173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5ADDC03-0249-4716-8E6C-3239942F6AB0}"/>
                </a:ext>
              </a:extLst>
            </p:cNvPr>
            <p:cNvSpPr txBox="1"/>
            <p:nvPr/>
          </p:nvSpPr>
          <p:spPr>
            <a:xfrm>
              <a:off x="847247" y="3549988"/>
              <a:ext cx="24040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Understand Customer Behavior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3164F2F0-B672-D0C1-0CA6-835B8FAC7BE2}"/>
                </a:ext>
              </a:extLst>
            </p:cNvPr>
            <p:cNvSpPr txBox="1"/>
            <p:nvPr/>
          </p:nvSpPr>
          <p:spPr>
            <a:xfrm>
              <a:off x="1974487" y="2881261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Identify Churn Risk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A23BF5C-3046-C995-A82D-C4A3EB5129E0}"/>
                </a:ext>
              </a:extLst>
            </p:cNvPr>
            <p:cNvSpPr txBox="1"/>
            <p:nvPr/>
          </p:nvSpPr>
          <p:spPr>
            <a:xfrm>
              <a:off x="3090847" y="2356817"/>
              <a:ext cx="24735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Estimate Margin Value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BC77BBF-0397-EAC0-4ACB-CCC0EBC8B2AF}"/>
                </a:ext>
              </a:extLst>
            </p:cNvPr>
            <p:cNvSpPr txBox="1"/>
            <p:nvPr/>
          </p:nvSpPr>
          <p:spPr>
            <a:xfrm>
              <a:off x="4063483" y="1829993"/>
              <a:ext cx="24735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Calculate Customer Lifetime Valu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9724923-E93D-3D54-5493-7472CFCAC2C1}"/>
                </a:ext>
              </a:extLst>
            </p:cNvPr>
            <p:cNvSpPr txBox="1"/>
            <p:nvPr/>
          </p:nvSpPr>
          <p:spPr>
            <a:xfrm>
              <a:off x="5692111" y="1287677"/>
              <a:ext cx="21936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latin typeface="Montserrat" panose="00000500000000000000" pitchFamily="2" charset="0"/>
                </a:rPr>
                <a:t>Targeted Strategies </a:t>
              </a:r>
            </a:p>
            <a:p>
              <a:pPr algn="r"/>
              <a:r>
                <a:rPr lang="en-US" sz="1200">
                  <a:latin typeface="Montserrat" panose="00000500000000000000" pitchFamily="2" charset="0"/>
                </a:rPr>
                <a:t>for Customer Groups</a:t>
              </a: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8CCF092-B105-2151-4763-8583AF20202C}"/>
                </a:ext>
              </a:extLst>
            </p:cNvPr>
            <p:cNvSpPr/>
            <p:nvPr/>
          </p:nvSpPr>
          <p:spPr>
            <a:xfrm>
              <a:off x="7305633" y="2484051"/>
              <a:ext cx="1838367" cy="364057"/>
            </a:xfrm>
            <a:custGeom>
              <a:avLst/>
              <a:gdLst>
                <a:gd name="connsiteX0" fmla="*/ 0 w 1838367"/>
                <a:gd name="connsiteY0" fmla="*/ 0 h 364057"/>
                <a:gd name="connsiteX1" fmla="*/ 1315240 w 1838367"/>
                <a:gd name="connsiteY1" fmla="*/ 0 h 364057"/>
                <a:gd name="connsiteX2" fmla="*/ 1318554 w 1838367"/>
                <a:gd name="connsiteY2" fmla="*/ 0 h 364057"/>
                <a:gd name="connsiteX3" fmla="*/ 1366765 w 1838367"/>
                <a:gd name="connsiteY3" fmla="*/ 0 h 364057"/>
                <a:gd name="connsiteX4" fmla="*/ 1388460 w 1838367"/>
                <a:gd name="connsiteY4" fmla="*/ 0 h 364057"/>
                <a:gd name="connsiteX5" fmla="*/ 1838367 w 1838367"/>
                <a:gd name="connsiteY5" fmla="*/ 0 h 364057"/>
                <a:gd name="connsiteX6" fmla="*/ 1838367 w 1838367"/>
                <a:gd name="connsiteY6" fmla="*/ 364057 h 364057"/>
                <a:gd name="connsiteX7" fmla="*/ 1386713 w 1838367"/>
                <a:gd name="connsiteY7" fmla="*/ 364057 h 364057"/>
                <a:gd name="connsiteX8" fmla="*/ 1318554 w 1838367"/>
                <a:gd name="connsiteY8" fmla="*/ 364057 h 364057"/>
                <a:gd name="connsiteX9" fmla="*/ 1007967 w 1838367"/>
                <a:gd name="connsiteY9" fmla="*/ 364057 h 364057"/>
                <a:gd name="connsiteX10" fmla="*/ 239269 w 1838367"/>
                <a:gd name="connsiteY10" fmla="*/ 364057 h 364057"/>
                <a:gd name="connsiteX11" fmla="*/ 0 w 1838367"/>
                <a:gd name="connsiteY11" fmla="*/ 0 h 364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367" h="364057">
                  <a:moveTo>
                    <a:pt x="0" y="0"/>
                  </a:moveTo>
                  <a:cubicBezTo>
                    <a:pt x="867787" y="0"/>
                    <a:pt x="1193208" y="0"/>
                    <a:pt x="1315240" y="0"/>
                  </a:cubicBezTo>
                  <a:lnTo>
                    <a:pt x="1318554" y="0"/>
                  </a:lnTo>
                  <a:lnTo>
                    <a:pt x="1366765" y="0"/>
                  </a:lnTo>
                  <a:lnTo>
                    <a:pt x="1388460" y="0"/>
                  </a:lnTo>
                  <a:lnTo>
                    <a:pt x="1838367" y="0"/>
                  </a:lnTo>
                  <a:lnTo>
                    <a:pt x="1838367" y="364057"/>
                  </a:lnTo>
                  <a:lnTo>
                    <a:pt x="1386713" y="364057"/>
                  </a:lnTo>
                  <a:lnTo>
                    <a:pt x="1318554" y="364057"/>
                  </a:lnTo>
                  <a:lnTo>
                    <a:pt x="1007967" y="364057"/>
                  </a:lnTo>
                  <a:cubicBezTo>
                    <a:pt x="239269" y="364057"/>
                    <a:pt x="239269" y="364057"/>
                    <a:pt x="239269" y="36405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5B195DCD-9388-2CCC-13C2-A21940096716}"/>
                </a:ext>
              </a:extLst>
            </p:cNvPr>
            <p:cNvGrpSpPr/>
            <p:nvPr/>
          </p:nvGrpSpPr>
          <p:grpSpPr>
            <a:xfrm>
              <a:off x="7820680" y="1390774"/>
              <a:ext cx="792765" cy="1288778"/>
              <a:chOff x="7570515" y="1422150"/>
              <a:chExt cx="792765" cy="1288778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7570515" y="1422150"/>
                <a:ext cx="792765" cy="1288778"/>
                <a:chOff x="21835325" y="5079720"/>
                <a:chExt cx="1805773" cy="2935610"/>
              </a:xfrm>
              <a:solidFill>
                <a:schemeClr val="accent5"/>
              </a:solidFill>
            </p:grpSpPr>
            <p:sp>
              <p:nvSpPr>
                <p:cNvPr id="19" name="Freeform 18"/>
                <p:cNvSpPr>
                  <a:spLocks/>
                </p:cNvSpPr>
                <p:nvPr/>
              </p:nvSpPr>
              <p:spPr bwMode="auto">
                <a:xfrm>
                  <a:off x="22436595" y="7858135"/>
                  <a:ext cx="603234" cy="157195"/>
                </a:xfrm>
                <a:custGeom>
                  <a:avLst/>
                  <a:gdLst>
                    <a:gd name="T0" fmla="*/ 307 w 307"/>
                    <a:gd name="T1" fmla="*/ 80 h 80"/>
                    <a:gd name="T2" fmla="*/ 53 w 307"/>
                    <a:gd name="T3" fmla="*/ 80 h 80"/>
                    <a:gd name="T4" fmla="*/ 0 w 307"/>
                    <a:gd name="T5" fmla="*/ 0 h 80"/>
                    <a:gd name="T6" fmla="*/ 247 w 307"/>
                    <a:gd name="T7" fmla="*/ 0 h 80"/>
                    <a:gd name="T8" fmla="*/ 307 w 307"/>
                    <a:gd name="T9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7" h="80">
                      <a:moveTo>
                        <a:pt x="307" y="80"/>
                      </a:moveTo>
                      <a:lnTo>
                        <a:pt x="53" y="80"/>
                      </a:lnTo>
                      <a:lnTo>
                        <a:pt x="0" y="0"/>
                      </a:lnTo>
                      <a:lnTo>
                        <a:pt x="247" y="0"/>
                      </a:lnTo>
                      <a:lnTo>
                        <a:pt x="307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auto">
                <a:xfrm>
                  <a:off x="22725440" y="6612368"/>
                  <a:ext cx="25544" cy="1351874"/>
                </a:xfrm>
                <a:custGeom>
                  <a:avLst/>
                  <a:gdLst>
                    <a:gd name="T0" fmla="*/ 1 w 2"/>
                    <a:gd name="T1" fmla="*/ 103 h 103"/>
                    <a:gd name="T2" fmla="*/ 0 w 2"/>
                    <a:gd name="T3" fmla="*/ 102 h 103"/>
                    <a:gd name="T4" fmla="*/ 0 w 2"/>
                    <a:gd name="T5" fmla="*/ 1 h 103"/>
                    <a:gd name="T6" fmla="*/ 1 w 2"/>
                    <a:gd name="T7" fmla="*/ 0 h 103"/>
                    <a:gd name="T8" fmla="*/ 2 w 2"/>
                    <a:gd name="T9" fmla="*/ 1 h 103"/>
                    <a:gd name="T10" fmla="*/ 2 w 2"/>
                    <a:gd name="T11" fmla="*/ 102 h 103"/>
                    <a:gd name="T12" fmla="*/ 1 w 2"/>
                    <a:gd name="T13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03">
                      <a:moveTo>
                        <a:pt x="1" y="103"/>
                      </a:moveTo>
                      <a:cubicBezTo>
                        <a:pt x="0" y="103"/>
                        <a:pt x="0" y="103"/>
                        <a:pt x="0" y="102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2" y="0"/>
                        <a:pt x="2" y="0"/>
                        <a:pt x="2" y="1"/>
                      </a:cubicBez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3"/>
                        <a:pt x="2" y="103"/>
                        <a:pt x="1" y="10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21" name="Oval 20"/>
                <p:cNvSpPr>
                  <a:spLocks noChangeArrowheads="1"/>
                </p:cNvSpPr>
                <p:nvPr/>
              </p:nvSpPr>
              <p:spPr bwMode="auto">
                <a:xfrm>
                  <a:off x="21835325" y="5079720"/>
                  <a:ext cx="1805773" cy="1795949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0881" tIns="15440" rIns="30881" bIns="1544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17644"/>
                  <a:endParaRPr lang="en-US" sz="1216">
                    <a:solidFill>
                      <a:srgbClr val="FFFFFF"/>
                    </a:solidFill>
                    <a:latin typeface="Lato" panose="020F0502020204030203" pitchFamily="34" charset="0"/>
                  </a:endParaRPr>
                </a:p>
              </p:txBody>
            </p:sp>
          </p:grpSp>
          <p:pic>
            <p:nvPicPr>
              <p:cNvPr id="81" name="Graphic 80" descr="Target Audience with solid fill">
                <a:extLst>
                  <a:ext uri="{FF2B5EF4-FFF2-40B4-BE49-F238E27FC236}">
                    <a16:creationId xmlns:a16="http://schemas.microsoft.com/office/drawing/2014/main" id="{DA7E71FB-77A7-F430-250C-695EF7112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7731565" y="1554550"/>
                <a:ext cx="536595" cy="536595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B91BC1-6C96-4F30-C36C-F5CEDA0A70D2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424068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2400" y="873127"/>
            <a:ext cx="7715250" cy="947775"/>
          </a:xfrm>
        </p:spPr>
        <p:txBody>
          <a:bodyPr vert="horz"/>
          <a:lstStyle/>
          <a:p>
            <a:r>
              <a:rPr lang="en-US" sz="5400"/>
              <a:t>APPENDIX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734400" y="1820902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51A1A5-2B80-40F1-D3D8-D4F77F2ED0A3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0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619757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B6CFC-2874-D4D0-E87D-E3930555D6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DA10081-6D68-6477-9564-5DAA424AB1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A10081-6D68-6477-9564-5DAA424AB1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DB515EBE-D31E-0CE7-96EF-BD5391322A88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FV Distribution Histogra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6BB7DF-4065-2DB1-76C3-8F9AC09CDFF8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1</a:t>
            </a:fld>
            <a:endParaRPr lang="e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D8C27D-7073-1C67-784D-C06C641730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264" y="864675"/>
            <a:ext cx="2364581" cy="1953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917524-C081-093B-C51F-2D882D63B7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7664" y="864675"/>
            <a:ext cx="2364581" cy="1953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2F02A0-0E31-3C28-5076-08B7E93CD4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9709" y="2906537"/>
            <a:ext cx="2364581" cy="1953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Google Shape;1635;p44">
            <a:extLst>
              <a:ext uri="{FF2B5EF4-FFF2-40B4-BE49-F238E27FC236}">
                <a16:creationId xmlns:a16="http://schemas.microsoft.com/office/drawing/2014/main" id="{FD83CF00-6BCC-0000-77BC-FF89916B02EA}"/>
              </a:ext>
            </a:extLst>
          </p:cNvPr>
          <p:cNvSpPr txBox="1"/>
          <p:nvPr/>
        </p:nvSpPr>
        <p:spPr>
          <a:xfrm flipH="1">
            <a:off x="623263" y="2919314"/>
            <a:ext cx="2364581" cy="3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dk1"/>
                </a:solidFill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Year 1 CFV</a:t>
            </a:r>
          </a:p>
        </p:txBody>
      </p:sp>
      <p:sp>
        <p:nvSpPr>
          <p:cNvPr id="3" name="Google Shape;1635;p44">
            <a:extLst>
              <a:ext uri="{FF2B5EF4-FFF2-40B4-BE49-F238E27FC236}">
                <a16:creationId xmlns:a16="http://schemas.microsoft.com/office/drawing/2014/main" id="{996729B9-9128-B829-FCB7-DDF9F9F4112E}"/>
              </a:ext>
            </a:extLst>
          </p:cNvPr>
          <p:cNvSpPr txBox="1"/>
          <p:nvPr/>
        </p:nvSpPr>
        <p:spPr>
          <a:xfrm flipH="1">
            <a:off x="6008040" y="2815618"/>
            <a:ext cx="2423827" cy="3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dk1"/>
                </a:solidFill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Year 2 CFV</a:t>
            </a:r>
          </a:p>
        </p:txBody>
      </p:sp>
      <p:sp>
        <p:nvSpPr>
          <p:cNvPr id="4" name="Google Shape;1635;p44">
            <a:extLst>
              <a:ext uri="{FF2B5EF4-FFF2-40B4-BE49-F238E27FC236}">
                <a16:creationId xmlns:a16="http://schemas.microsoft.com/office/drawing/2014/main" id="{32E23401-7E90-DE4A-6DFB-B30E5487AC66}"/>
              </a:ext>
            </a:extLst>
          </p:cNvPr>
          <p:cNvSpPr txBox="1"/>
          <p:nvPr/>
        </p:nvSpPr>
        <p:spPr>
          <a:xfrm flipH="1">
            <a:off x="3360085" y="2520808"/>
            <a:ext cx="2423827" cy="3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dk1"/>
                </a:solidFill>
                <a:latin typeface="Montserrat" panose="00000500000000000000" pitchFamily="2" charset="0"/>
                <a:ea typeface="Poppins Medium"/>
                <a:cs typeface="Poppins Medium"/>
                <a:sym typeface="Poppins Medium"/>
              </a:rPr>
              <a:t>Year 3 CFV</a:t>
            </a:r>
          </a:p>
        </p:txBody>
      </p:sp>
    </p:spTree>
    <p:extLst>
      <p:ext uri="{BB962C8B-B14F-4D97-AF65-F5344CB8AC3E}">
        <p14:creationId xmlns:p14="http://schemas.microsoft.com/office/powerpoint/2010/main" val="1645309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B1B42C-22DE-56A0-7888-09BAF7BEC3D8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2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5A53B42F-D278-0B50-8407-BF9EFA75D07E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Hyperparameters – Margin Model and Churn Mod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8B7051-7581-66AE-C12E-E942AF4E82FE}"/>
              </a:ext>
            </a:extLst>
          </p:cNvPr>
          <p:cNvSpPr txBox="1"/>
          <p:nvPr/>
        </p:nvSpPr>
        <p:spPr>
          <a:xfrm>
            <a:off x="547200" y="1123200"/>
            <a:ext cx="2325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Montserrat" pitchFamily="2" charset="77"/>
              </a:rPr>
              <a:t>Margin Model</a:t>
            </a:r>
            <a:br>
              <a:rPr lang="en-US">
                <a:latin typeface="Montserrat" pitchFamily="2" charset="77"/>
              </a:rPr>
            </a:br>
            <a:endParaRPr lang="en-US">
              <a:latin typeface="Montserrat" pitchFamily="2" charset="77"/>
            </a:endParaRPr>
          </a:p>
          <a:p>
            <a:r>
              <a:rPr lang="en-US" u="sng">
                <a:latin typeface="Montserrat" pitchFamily="2" charset="77"/>
              </a:rPr>
              <a:t>1. Random Forest </a:t>
            </a:r>
          </a:p>
          <a:p>
            <a:r>
              <a:rPr lang="en-US" err="1">
                <a:latin typeface="Montserrat" pitchFamily="2" charset="77"/>
              </a:rPr>
              <a:t>n_estimators</a:t>
            </a:r>
            <a:r>
              <a:rPr lang="en-US">
                <a:latin typeface="Montserrat" pitchFamily="2" charset="77"/>
              </a:rPr>
              <a:t>: 120, </a:t>
            </a:r>
          </a:p>
          <a:p>
            <a:r>
              <a:rPr lang="en-US" err="1">
                <a:latin typeface="Montserrat" pitchFamily="2" charset="77"/>
              </a:rPr>
              <a:t>min_samples_split</a:t>
            </a:r>
            <a:r>
              <a:rPr lang="en-US">
                <a:latin typeface="Montserrat" pitchFamily="2" charset="77"/>
              </a:rPr>
              <a:t>: 6, </a:t>
            </a:r>
          </a:p>
          <a:p>
            <a:r>
              <a:rPr lang="en-US" err="1">
                <a:latin typeface="Montserrat" pitchFamily="2" charset="77"/>
              </a:rPr>
              <a:t>min_samples_leaf</a:t>
            </a:r>
            <a:r>
              <a:rPr lang="en-US">
                <a:latin typeface="Montserrat" pitchFamily="2" charset="77"/>
              </a:rPr>
              <a:t>: 2,</a:t>
            </a:r>
          </a:p>
          <a:p>
            <a:r>
              <a:rPr lang="en-US" err="1">
                <a:latin typeface="Montserrat" pitchFamily="2" charset="77"/>
              </a:rPr>
              <a:t>max_features</a:t>
            </a:r>
            <a:r>
              <a:rPr lang="en-US">
                <a:latin typeface="Montserrat" pitchFamily="2" charset="77"/>
              </a:rPr>
              <a:t>: 'sqrt',</a:t>
            </a:r>
          </a:p>
          <a:p>
            <a:r>
              <a:rPr lang="en-US" err="1">
                <a:latin typeface="Montserrat" pitchFamily="2" charset="77"/>
              </a:rPr>
              <a:t>max_samples</a:t>
            </a:r>
            <a:r>
              <a:rPr lang="en-US">
                <a:latin typeface="Montserrat" pitchFamily="2" charset="77"/>
              </a:rPr>
              <a:t>: 0.5, </a:t>
            </a:r>
          </a:p>
          <a:p>
            <a:r>
              <a:rPr lang="en-US" err="1">
                <a:latin typeface="Montserrat" pitchFamily="2" charset="77"/>
              </a:rPr>
              <a:t>max_depth</a:t>
            </a:r>
            <a:r>
              <a:rPr lang="en-US">
                <a:latin typeface="Montserrat" pitchFamily="2" charset="77"/>
              </a:rPr>
              <a:t>: 40</a:t>
            </a:r>
          </a:p>
          <a:p>
            <a:endParaRPr lang="en-US">
              <a:latin typeface="Montserrat" pitchFamily="2" charset="77"/>
            </a:endParaRPr>
          </a:p>
          <a:p>
            <a:r>
              <a:rPr lang="en-US" u="sng">
                <a:latin typeface="Montserrat" pitchFamily="2" charset="77"/>
              </a:rPr>
              <a:t>2. Gradient Boosted DT</a:t>
            </a:r>
          </a:p>
          <a:p>
            <a:r>
              <a:rPr lang="en-US" err="1">
                <a:latin typeface="Montserrat" pitchFamily="2" charset="77"/>
              </a:rPr>
              <a:t>n_estimators</a:t>
            </a:r>
            <a:r>
              <a:rPr lang="en-US">
                <a:latin typeface="Montserrat" pitchFamily="2" charset="77"/>
              </a:rPr>
              <a:t>: 70, </a:t>
            </a:r>
          </a:p>
          <a:p>
            <a:r>
              <a:rPr lang="en-US" err="1">
                <a:latin typeface="Montserrat" pitchFamily="2" charset="77"/>
              </a:rPr>
              <a:t>min_samples_split</a:t>
            </a:r>
            <a:r>
              <a:rPr lang="en-US">
                <a:latin typeface="Montserrat" pitchFamily="2" charset="77"/>
              </a:rPr>
              <a:t>: 2,  </a:t>
            </a:r>
          </a:p>
          <a:p>
            <a:r>
              <a:rPr lang="en-US" err="1">
                <a:latin typeface="Montserrat" pitchFamily="2" charset="77"/>
              </a:rPr>
              <a:t>max_depth</a:t>
            </a:r>
            <a:r>
              <a:rPr lang="en-US">
                <a:latin typeface="Montserrat" pitchFamily="2" charset="77"/>
              </a:rPr>
              <a:t>: 5, </a:t>
            </a:r>
          </a:p>
          <a:p>
            <a:r>
              <a:rPr lang="en-US" err="1">
                <a:latin typeface="Montserrat" pitchFamily="2" charset="77"/>
              </a:rPr>
              <a:t>learning_rate</a:t>
            </a:r>
            <a:r>
              <a:rPr lang="en-US">
                <a:latin typeface="Montserrat" pitchFamily="2" charset="77"/>
              </a:rPr>
              <a:t>: 0.01, </a:t>
            </a:r>
          </a:p>
          <a:p>
            <a:r>
              <a:rPr lang="en-US">
                <a:latin typeface="Montserrat" pitchFamily="2" charset="77"/>
              </a:rPr>
              <a:t>loss: </a:t>
            </a:r>
            <a:r>
              <a:rPr lang="en-US" err="1">
                <a:latin typeface="Montserrat" pitchFamily="2" charset="77"/>
              </a:rPr>
              <a:t>squared_error</a:t>
            </a:r>
            <a:r>
              <a:rPr lang="en-US">
                <a:latin typeface="Montserrat" pitchFamily="2" charset="77"/>
              </a:rPr>
              <a:t>}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929659-6908-394A-7DD3-5EFFC8DE666D}"/>
              </a:ext>
            </a:extLst>
          </p:cNvPr>
          <p:cNvSpPr/>
          <p:nvPr/>
        </p:nvSpPr>
        <p:spPr>
          <a:xfrm>
            <a:off x="468000" y="1029600"/>
            <a:ext cx="2196000" cy="3736800"/>
          </a:xfrm>
          <a:prstGeom prst="rect">
            <a:avLst/>
          </a:prstGeom>
          <a:noFill/>
          <a:ln w="19050"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6474E0-F00F-C7E4-414B-E37EBA84992E}"/>
              </a:ext>
            </a:extLst>
          </p:cNvPr>
          <p:cNvSpPr/>
          <p:nvPr/>
        </p:nvSpPr>
        <p:spPr>
          <a:xfrm>
            <a:off x="3199100" y="1029600"/>
            <a:ext cx="2196000" cy="3736800"/>
          </a:xfrm>
          <a:prstGeom prst="rect">
            <a:avLst/>
          </a:prstGeom>
          <a:noFill/>
          <a:ln w="19050">
            <a:solidFill>
              <a:srgbClr val="0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0E93EF-0F13-32D8-6384-6ED64AA8631E}"/>
              </a:ext>
            </a:extLst>
          </p:cNvPr>
          <p:cNvSpPr txBox="1"/>
          <p:nvPr/>
        </p:nvSpPr>
        <p:spPr>
          <a:xfrm>
            <a:off x="3199100" y="1561343"/>
            <a:ext cx="219600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>
                <a:latin typeface="Montserrat" pitchFamily="2" charset="77"/>
              </a:rPr>
              <a:t>1. Gradient Boosting</a:t>
            </a:r>
          </a:p>
          <a:p>
            <a:r>
              <a:rPr lang="en-US" err="1">
                <a:latin typeface="Montserrat" pitchFamily="2" charset="77"/>
              </a:rPr>
              <a:t>n_estimators</a:t>
            </a:r>
            <a:r>
              <a:rPr lang="en-US">
                <a:latin typeface="Montserrat" pitchFamily="2" charset="77"/>
              </a:rPr>
              <a:t>: 200, </a:t>
            </a:r>
          </a:p>
          <a:p>
            <a:r>
              <a:rPr lang="en-US" err="1">
                <a:latin typeface="Montserrat" pitchFamily="2" charset="77"/>
              </a:rPr>
              <a:t>min_samples_split</a:t>
            </a:r>
            <a:r>
              <a:rPr lang="en-US">
                <a:latin typeface="Montserrat" pitchFamily="2" charset="77"/>
              </a:rPr>
              <a:t>: 2, </a:t>
            </a:r>
          </a:p>
          <a:p>
            <a:r>
              <a:rPr lang="en-US" err="1">
                <a:latin typeface="Montserrat" pitchFamily="2" charset="77"/>
              </a:rPr>
              <a:t>max_depth</a:t>
            </a:r>
            <a:r>
              <a:rPr lang="en-US">
                <a:latin typeface="Montserrat" pitchFamily="2" charset="77"/>
              </a:rPr>
              <a:t>: 5,</a:t>
            </a:r>
          </a:p>
          <a:p>
            <a:r>
              <a:rPr lang="en-US" err="1">
                <a:latin typeface="Montserrat" pitchFamily="2" charset="77"/>
              </a:rPr>
              <a:t>Learning_rate</a:t>
            </a:r>
            <a:r>
              <a:rPr lang="en-US">
                <a:latin typeface="Montserrat" pitchFamily="2" charset="77"/>
              </a:rPr>
              <a:t>: 0.0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92A283-C7EA-86F9-2F20-AAA49F7D87F9}"/>
              </a:ext>
            </a:extLst>
          </p:cNvPr>
          <p:cNvSpPr txBox="1"/>
          <p:nvPr/>
        </p:nvSpPr>
        <p:spPr>
          <a:xfrm>
            <a:off x="3297343" y="1128285"/>
            <a:ext cx="19555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>
                <a:latin typeface="Montserrat" pitchFamily="2" charset="77"/>
              </a:rPr>
              <a:t>Churn Model</a:t>
            </a:r>
          </a:p>
        </p:txBody>
      </p:sp>
    </p:spTree>
    <p:extLst>
      <p:ext uri="{BB962C8B-B14F-4D97-AF65-F5344CB8AC3E}">
        <p14:creationId xmlns:p14="http://schemas.microsoft.com/office/powerpoint/2010/main" val="4813311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1A0DDE-8DBC-CA9B-ED2D-84B713D5E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86E1CB-26C2-F14A-AE44-E9DF0C4A331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3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1B074C98-C0C4-0FCF-9A0B-4F2FC0099442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Segmentation Profiling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1A8BFB8-3D6F-1C4B-E6AE-E4228DBD43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430507"/>
              </p:ext>
            </p:extLst>
          </p:nvPr>
        </p:nvGraphicFramePr>
        <p:xfrm>
          <a:off x="505523" y="1175099"/>
          <a:ext cx="8460057" cy="3560452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1376652">
                  <a:extLst>
                    <a:ext uri="{9D8B030D-6E8A-4147-A177-3AD203B41FA5}">
                      <a16:colId xmlns:a16="http://schemas.microsoft.com/office/drawing/2014/main" val="2003956365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4255457016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300653981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2224004126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1031202536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80155702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2633521114"/>
                    </a:ext>
                  </a:extLst>
                </a:gridCol>
                <a:gridCol w="1011915">
                  <a:extLst>
                    <a:ext uri="{9D8B030D-6E8A-4147-A177-3AD203B41FA5}">
                      <a16:colId xmlns:a16="http://schemas.microsoft.com/office/drawing/2014/main" val="1177099377"/>
                    </a:ext>
                  </a:extLst>
                </a:gridCol>
              </a:tblGrid>
              <a:tr h="15915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Clust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Proportion of Clien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1" u="none" strike="noStrike">
                          <a:effectLst/>
                          <a:latin typeface="Montserrat" panose="00000500000000000000" pitchFamily="2" charset="0"/>
                        </a:rPr>
                        <a:t>Average Margin</a:t>
                      </a:r>
                      <a:endParaRPr lang="es-E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verage Churn Rat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</a:rPr>
                        <a:t>Average 3-Year CFV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Average Purchase Interval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Average Purchase Amount in 36 Month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Average Months Since Last Transaction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0170033"/>
                  </a:ext>
                </a:extLst>
              </a:tr>
              <a:tr h="3601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Loyal Big Spend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21.5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984.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2,209.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.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3,030.6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.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1571059"/>
                  </a:ext>
                </a:extLst>
              </a:tr>
              <a:tr h="7123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Disengaged Low Value Custom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22.7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31.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7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47.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2.7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418.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7.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67164524"/>
                  </a:ext>
                </a:extLst>
              </a:tr>
              <a:tr h="5362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Unhappy High Value Custom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0.2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573.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3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1,136.6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30.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1,492.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3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41081370"/>
                  </a:ext>
                </a:extLst>
              </a:tr>
              <a:tr h="3601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Loyal Low Spend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45.4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207.4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453.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.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$478.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  <a:latin typeface="Montserrat" panose="00000500000000000000" pitchFamily="2" charset="0"/>
                        </a:rPr>
                        <a:t>1.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307174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4726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13100-593B-F04D-0AC0-539E0FE598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A88139-1796-D69C-D5EC-6E7C1A241B6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4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1E45D6CB-C22E-88B9-75D2-73D50CC741EC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Segmentation Profiling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0D92C9D-2428-2998-9606-34022F689F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054828"/>
              </p:ext>
            </p:extLst>
          </p:nvPr>
        </p:nvGraphicFramePr>
        <p:xfrm>
          <a:off x="512896" y="1398989"/>
          <a:ext cx="8008879" cy="2554258"/>
        </p:xfrm>
        <a:graphic>
          <a:graphicData uri="http://schemas.openxmlformats.org/drawingml/2006/table">
            <a:tbl>
              <a:tblPr>
                <a:tableStyleId>{3C5361E7-DA70-4391-9E19-CDB0772468EE}</a:tableStyleId>
              </a:tblPr>
              <a:tblGrid>
                <a:gridCol w="1114426">
                  <a:extLst>
                    <a:ext uri="{9D8B030D-6E8A-4147-A177-3AD203B41FA5}">
                      <a16:colId xmlns:a16="http://schemas.microsoft.com/office/drawing/2014/main" val="3650445218"/>
                    </a:ext>
                  </a:extLst>
                </a:gridCol>
                <a:gridCol w="1820416">
                  <a:extLst>
                    <a:ext uri="{9D8B030D-6E8A-4147-A177-3AD203B41FA5}">
                      <a16:colId xmlns:a16="http://schemas.microsoft.com/office/drawing/2014/main" val="2841360295"/>
                    </a:ext>
                  </a:extLst>
                </a:gridCol>
                <a:gridCol w="2508432">
                  <a:extLst>
                    <a:ext uri="{9D8B030D-6E8A-4147-A177-3AD203B41FA5}">
                      <a16:colId xmlns:a16="http://schemas.microsoft.com/office/drawing/2014/main" val="4016476404"/>
                    </a:ext>
                  </a:extLst>
                </a:gridCol>
                <a:gridCol w="2565605">
                  <a:extLst>
                    <a:ext uri="{9D8B030D-6E8A-4147-A177-3AD203B41FA5}">
                      <a16:colId xmlns:a16="http://schemas.microsoft.com/office/drawing/2014/main" val="4192992802"/>
                    </a:ext>
                  </a:extLst>
                </a:gridCol>
              </a:tblGrid>
              <a:tr h="300501"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emog Inc Crs (group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emog Inc Crs (group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Demog Inc Crs (group)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531258264"/>
                  </a:ext>
                </a:extLst>
              </a:tr>
              <a:tr h="546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Cluste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$  15000 - $  29999, $  30000 - $  39999, Less than $150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$  40000 - $  49999, $  50000 - $  74999, $  75000 - $  999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$ 100000 - $149999, $ 150000 - $199999, $ 200000 or mor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2565735097"/>
                  </a:ext>
                </a:extLst>
              </a:tr>
              <a:tr h="300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Loyal Big Spend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6.1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42.9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10.93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2080445378"/>
                  </a:ext>
                </a:extLst>
              </a:tr>
              <a:tr h="300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Disengaged Low Value Custom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5.6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.9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.3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2670102908"/>
                  </a:ext>
                </a:extLst>
              </a:tr>
              <a:tr h="300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Unhappy High Value Custom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5.0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6.4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8.5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3740191683"/>
                  </a:ext>
                </a:extLst>
              </a:tr>
              <a:tr h="300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>
                          <a:effectLst/>
                          <a:latin typeface="Montserrat" panose="00000500000000000000" pitchFamily="2" charset="0"/>
                        </a:rPr>
                        <a:t>Loyal Low Spende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54.1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38.5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</a:rPr>
                        <a:t>7.3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89" marR="6889" marT="6889" marB="0" anchor="ctr"/>
                </a:tc>
                <a:extLst>
                  <a:ext uri="{0D108BD9-81ED-4DB2-BD59-A6C34878D82A}">
                    <a16:rowId xmlns:a16="http://schemas.microsoft.com/office/drawing/2014/main" val="3828217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21640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14D0B-FE18-0854-DDF7-101E27192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E3ED21-1C9F-2465-D6A7-EF069CAFF0F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5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240DFA62-F68F-1F51-8B8C-DE13B717BEC6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hurn Model: Sample Untransformed vs Transformed Variab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15D9EC-5EDD-9561-7C73-0A76E5C76A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1257" y="2997310"/>
            <a:ext cx="4694327" cy="1798476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383090-405D-8FC3-75EF-EC9D832A4F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7925" y="955063"/>
            <a:ext cx="4658327" cy="1714649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AA3B50A-820F-A19B-8A3E-CAE06DD32B5B}"/>
              </a:ext>
            </a:extLst>
          </p:cNvPr>
          <p:cNvSpPr txBox="1"/>
          <p:nvPr/>
        </p:nvSpPr>
        <p:spPr>
          <a:xfrm>
            <a:off x="1544683" y="1379431"/>
            <a:ext cx="17732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Montserrat" pitchFamily="2" charset="77"/>
              </a:rPr>
              <a:t>Original Variables</a:t>
            </a:r>
            <a:br>
              <a:rPr lang="en-US">
                <a:latin typeface="Montserrat" pitchFamily="2" charset="77"/>
              </a:rPr>
            </a:br>
            <a:r>
              <a:rPr lang="en-US">
                <a:latin typeface="Montserrat" pitchFamily="2" charset="77"/>
              </a:rPr>
              <a:t>(Untransformed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F273B0-3D50-40B1-DB38-AF792E749464}"/>
              </a:ext>
            </a:extLst>
          </p:cNvPr>
          <p:cNvSpPr txBox="1"/>
          <p:nvPr/>
        </p:nvSpPr>
        <p:spPr>
          <a:xfrm>
            <a:off x="6767209" y="3060512"/>
            <a:ext cx="1717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latin typeface="Montserrat" pitchFamily="2" charset="77"/>
              </a:rPr>
              <a:t>Transformed Targ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203774-19BD-77CE-8BFB-3B21B764EFD5}"/>
              </a:ext>
            </a:extLst>
          </p:cNvPr>
          <p:cNvSpPr txBox="1"/>
          <p:nvPr/>
        </p:nvSpPr>
        <p:spPr>
          <a:xfrm>
            <a:off x="110818" y="3783715"/>
            <a:ext cx="20938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Montserrat" pitchFamily="2" charset="77"/>
              </a:rPr>
              <a:t>Transformed Independent </a:t>
            </a:r>
            <a:br>
              <a:rPr lang="en-US" sz="1100">
                <a:latin typeface="Montserrat" pitchFamily="2" charset="77"/>
              </a:rPr>
            </a:br>
            <a:r>
              <a:rPr lang="en-US" sz="1100">
                <a:latin typeface="Montserrat" pitchFamily="2" charset="77"/>
              </a:rPr>
              <a:t>Variables (Prior Year)</a:t>
            </a:r>
          </a:p>
        </p:txBody>
      </p:sp>
    </p:spTree>
    <p:extLst>
      <p:ext uri="{BB962C8B-B14F-4D97-AF65-F5344CB8AC3E}">
        <p14:creationId xmlns:p14="http://schemas.microsoft.com/office/powerpoint/2010/main" val="42776323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6AAF67-4DCA-1FDE-886D-7EA904ABE6B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" smtClean="0"/>
              <a:pPr algn="r"/>
              <a:t>36</a:t>
            </a:fld>
            <a:endParaRPr lang="en"/>
          </a:p>
        </p:txBody>
      </p:sp>
      <p:sp>
        <p:nvSpPr>
          <p:cNvPr id="3" name="Google Shape;407;p34">
            <a:extLst>
              <a:ext uri="{FF2B5EF4-FFF2-40B4-BE49-F238E27FC236}">
                <a16:creationId xmlns:a16="http://schemas.microsoft.com/office/drawing/2014/main" id="{DBACBD9F-9C18-5798-E457-3EDCD9F25AF8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Margin Model: Sample Untransformed vs Transformed Variab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E2AEE-A99A-03AB-E011-357720AC95F0}"/>
              </a:ext>
            </a:extLst>
          </p:cNvPr>
          <p:cNvSpPr txBox="1"/>
          <p:nvPr/>
        </p:nvSpPr>
        <p:spPr>
          <a:xfrm>
            <a:off x="1656000" y="1408207"/>
            <a:ext cx="17732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latin typeface="Montserrat" pitchFamily="2" charset="77"/>
              </a:rPr>
              <a:t>Original Variables</a:t>
            </a:r>
            <a:br>
              <a:rPr lang="en-US">
                <a:latin typeface="Montserrat" pitchFamily="2" charset="77"/>
              </a:rPr>
            </a:br>
            <a:r>
              <a:rPr lang="en-US">
                <a:latin typeface="Montserrat" pitchFamily="2" charset="77"/>
              </a:rPr>
              <a:t>(Untransformed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54DC53-2977-9B52-C8CF-881DFB4131DA}"/>
              </a:ext>
            </a:extLst>
          </p:cNvPr>
          <p:cNvSpPr txBox="1"/>
          <p:nvPr/>
        </p:nvSpPr>
        <p:spPr>
          <a:xfrm>
            <a:off x="1578175" y="3737019"/>
            <a:ext cx="19223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latin typeface="Montserrat" pitchFamily="2" charset="77"/>
              </a:rPr>
              <a:t>Transformed Variab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6A5CBD0-0BFE-DDF3-A64E-C1F7CE47B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5202" y="951906"/>
            <a:ext cx="2581783" cy="19590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2054BA6-2B81-16AE-AFF3-FFDA8E2C9F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7878" y="3033078"/>
            <a:ext cx="2656430" cy="19618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241137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390804-B80F-118C-B01B-E7655315E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1B6264F-C39A-8F3D-AC09-68E1204AB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B6264F-C39A-8F3D-AC09-68E1204AB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59AD72FD-D34B-7F51-B7AA-5F0F7829EB37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Approach for Estimating Churn/Retention R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F57E69-2C05-1B08-5E79-09651E4474F7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7</a:t>
            </a:fld>
            <a:endParaRPr lang="en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90F3778-9459-E04D-2D2E-08332BDCEE65}"/>
              </a:ext>
            </a:extLst>
          </p:cNvPr>
          <p:cNvGrpSpPr/>
          <p:nvPr/>
        </p:nvGrpSpPr>
        <p:grpSpPr>
          <a:xfrm>
            <a:off x="418094" y="996486"/>
            <a:ext cx="7982364" cy="3161389"/>
            <a:chOff x="418094" y="996486"/>
            <a:chExt cx="7982364" cy="316138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84A2248-A5C3-C6EF-5DD4-E6F3A3C98570}"/>
                </a:ext>
              </a:extLst>
            </p:cNvPr>
            <p:cNvGrpSpPr/>
            <p:nvPr/>
          </p:nvGrpSpPr>
          <p:grpSpPr>
            <a:xfrm>
              <a:off x="418094" y="1629573"/>
              <a:ext cx="7982364" cy="2528302"/>
              <a:chOff x="1053996" y="2683975"/>
              <a:chExt cx="7398828" cy="2828385"/>
            </a:xfrm>
          </p:grpSpPr>
          <p:sp>
            <p:nvSpPr>
              <p:cNvPr id="4" name="Google Shape;1631;p44">
                <a:extLst>
                  <a:ext uri="{FF2B5EF4-FFF2-40B4-BE49-F238E27FC236}">
                    <a16:creationId xmlns:a16="http://schemas.microsoft.com/office/drawing/2014/main" id="{EE6B6ED8-19CA-2636-D1D1-8C7BC8EAB6E2}"/>
                  </a:ext>
                </a:extLst>
              </p:cNvPr>
              <p:cNvSpPr/>
              <p:nvPr/>
            </p:nvSpPr>
            <p:spPr>
              <a:xfrm>
                <a:off x="1655795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>
                  <a:solidFill>
                    <a:srgbClr val="FF5097"/>
                  </a:solidFill>
                </a:endParaRPr>
              </a:p>
            </p:txBody>
          </p:sp>
          <p:sp>
            <p:nvSpPr>
              <p:cNvPr id="5" name="Google Shape;1632;p44">
                <a:extLst>
                  <a:ext uri="{FF2B5EF4-FFF2-40B4-BE49-F238E27FC236}">
                    <a16:creationId xmlns:a16="http://schemas.microsoft.com/office/drawing/2014/main" id="{365F9796-0A6A-F398-0F0F-8DE06566717E}"/>
                  </a:ext>
                </a:extLst>
              </p:cNvPr>
              <p:cNvSpPr/>
              <p:nvPr/>
            </p:nvSpPr>
            <p:spPr>
              <a:xfrm>
                <a:off x="3162146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" name="Google Shape;1633;p44">
                <a:extLst>
                  <a:ext uri="{FF2B5EF4-FFF2-40B4-BE49-F238E27FC236}">
                    <a16:creationId xmlns:a16="http://schemas.microsoft.com/office/drawing/2014/main" id="{1727C5D5-4000-173D-F43E-2F64ECA4B698}"/>
                  </a:ext>
                </a:extLst>
              </p:cNvPr>
              <p:cNvSpPr/>
              <p:nvPr/>
            </p:nvSpPr>
            <p:spPr>
              <a:xfrm>
                <a:off x="4668497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1634;p44">
                <a:extLst>
                  <a:ext uri="{FF2B5EF4-FFF2-40B4-BE49-F238E27FC236}">
                    <a16:creationId xmlns:a16="http://schemas.microsoft.com/office/drawing/2014/main" id="{C3BFF164-F2C3-D592-AC99-8DE4BD2A3824}"/>
                  </a:ext>
                </a:extLst>
              </p:cNvPr>
              <p:cNvSpPr/>
              <p:nvPr/>
            </p:nvSpPr>
            <p:spPr>
              <a:xfrm>
                <a:off x="6174848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1635;p44">
                <a:extLst>
                  <a:ext uri="{FF2B5EF4-FFF2-40B4-BE49-F238E27FC236}">
                    <a16:creationId xmlns:a16="http://schemas.microsoft.com/office/drawing/2014/main" id="{13CA3662-39F2-0CA3-1512-ACE951AB801C}"/>
                  </a:ext>
                </a:extLst>
              </p:cNvPr>
              <p:cNvSpPr txBox="1"/>
              <p:nvPr/>
            </p:nvSpPr>
            <p:spPr>
              <a:xfrm flipH="1">
                <a:off x="1053996" y="3510866"/>
                <a:ext cx="1371600" cy="9803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Data Cleaning</a:t>
                </a:r>
              </a:p>
            </p:txBody>
          </p:sp>
          <p:sp>
            <p:nvSpPr>
              <p:cNvPr id="10" name="Google Shape;1636;p44">
                <a:extLst>
                  <a:ext uri="{FF2B5EF4-FFF2-40B4-BE49-F238E27FC236}">
                    <a16:creationId xmlns:a16="http://schemas.microsoft.com/office/drawing/2014/main" id="{80D7F7B9-F198-CB2A-F448-8C48C450BB78}"/>
                  </a:ext>
                </a:extLst>
              </p:cNvPr>
              <p:cNvSpPr txBox="1"/>
              <p:nvPr/>
            </p:nvSpPr>
            <p:spPr>
              <a:xfrm flipH="1">
                <a:off x="1069085" y="4132657"/>
                <a:ext cx="1341421" cy="12975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emove Duplicate Account IDs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emove high cardinality variables</a:t>
                </a:r>
              </a:p>
            </p:txBody>
          </p:sp>
          <p:sp>
            <p:nvSpPr>
              <p:cNvPr id="11" name="Google Shape;1637;p44">
                <a:extLst>
                  <a:ext uri="{FF2B5EF4-FFF2-40B4-BE49-F238E27FC236}">
                    <a16:creationId xmlns:a16="http://schemas.microsoft.com/office/drawing/2014/main" id="{751E858B-C299-FCAD-7D9F-0227309B2371}"/>
                  </a:ext>
                </a:extLst>
              </p:cNvPr>
              <p:cNvSpPr txBox="1"/>
              <p:nvPr/>
            </p:nvSpPr>
            <p:spPr>
              <a:xfrm flipH="1">
                <a:off x="2441003" y="3510866"/>
                <a:ext cx="16832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Feature Engineering</a:t>
                </a:r>
              </a:p>
            </p:txBody>
          </p:sp>
          <p:sp>
            <p:nvSpPr>
              <p:cNvPr id="12" name="Google Shape;1640;p44">
                <a:extLst>
                  <a:ext uri="{FF2B5EF4-FFF2-40B4-BE49-F238E27FC236}">
                    <a16:creationId xmlns:a16="http://schemas.microsoft.com/office/drawing/2014/main" id="{211CA363-6170-8B02-1062-0D5A58CC74AC}"/>
                  </a:ext>
                </a:extLst>
              </p:cNvPr>
              <p:cNvSpPr txBox="1"/>
              <p:nvPr/>
            </p:nvSpPr>
            <p:spPr>
              <a:xfrm flipH="1">
                <a:off x="4210186" y="4140744"/>
                <a:ext cx="1193291" cy="13716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30% Holdout Set</a:t>
                </a:r>
              </a:p>
            </p:txBody>
          </p:sp>
          <p:sp>
            <p:nvSpPr>
              <p:cNvPr id="13" name="Google Shape;1641;p44">
                <a:extLst>
                  <a:ext uri="{FF2B5EF4-FFF2-40B4-BE49-F238E27FC236}">
                    <a16:creationId xmlns:a16="http://schemas.microsoft.com/office/drawing/2014/main" id="{2DF4BA04-3572-618F-E080-7F023FF586A5}"/>
                  </a:ext>
                </a:extLst>
              </p:cNvPr>
              <p:cNvSpPr txBox="1"/>
              <p:nvPr/>
            </p:nvSpPr>
            <p:spPr>
              <a:xfrm flipH="1">
                <a:off x="5489461" y="3510866"/>
                <a:ext cx="1552644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Feature Selection</a:t>
                </a:r>
              </a:p>
            </p:txBody>
          </p:sp>
          <p:sp>
            <p:nvSpPr>
              <p:cNvPr id="15" name="Google Shape;1642;p44">
                <a:extLst>
                  <a:ext uri="{FF2B5EF4-FFF2-40B4-BE49-F238E27FC236}">
                    <a16:creationId xmlns:a16="http://schemas.microsoft.com/office/drawing/2014/main" id="{51DACBF4-0EAF-A40B-F8A6-64CB2AD30240}"/>
                  </a:ext>
                </a:extLst>
              </p:cNvPr>
              <p:cNvSpPr txBox="1"/>
              <p:nvPr/>
            </p:nvSpPr>
            <p:spPr>
              <a:xfrm flipH="1">
                <a:off x="5525221" y="4125477"/>
                <a:ext cx="1487320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Logistic Regression with L1 Regulariza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VIF Feature Reduc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cxnSp>
            <p:nvCxnSpPr>
              <p:cNvPr id="16" name="Google Shape;1643;p44">
                <a:extLst>
                  <a:ext uri="{FF2B5EF4-FFF2-40B4-BE49-F238E27FC236}">
                    <a16:creationId xmlns:a16="http://schemas.microsoft.com/office/drawing/2014/main" id="{C82D54D3-BBCD-3591-2A60-7335D212CBBF}"/>
                  </a:ext>
                </a:extLst>
              </p:cNvPr>
              <p:cNvCxnSpPr>
                <a:cxnSpLocks/>
                <a:stCxn id="4" idx="3"/>
                <a:endCxn id="22" idx="1"/>
              </p:cNvCxnSpPr>
              <p:nvPr/>
            </p:nvCxnSpPr>
            <p:spPr>
              <a:xfrm flipV="1">
                <a:off x="1832195" y="2772175"/>
                <a:ext cx="5849004" cy="20429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dash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7" name="Google Shape;1646;p44">
                <a:extLst>
                  <a:ext uri="{FF2B5EF4-FFF2-40B4-BE49-F238E27FC236}">
                    <a16:creationId xmlns:a16="http://schemas.microsoft.com/office/drawing/2014/main" id="{E16D4D8E-21C7-0066-7286-449250A3C794}"/>
                  </a:ext>
                </a:extLst>
              </p:cNvPr>
              <p:cNvCxnSpPr>
                <a:cxnSpLocks/>
                <a:stCxn id="4" idx="2"/>
              </p:cNvCxnSpPr>
              <p:nvPr/>
            </p:nvCxnSpPr>
            <p:spPr>
              <a:xfrm flipH="1">
                <a:off x="1743968" y="2880804"/>
                <a:ext cx="27" cy="620804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18" name="Google Shape;1639;p44">
                <a:extLst>
                  <a:ext uri="{FF2B5EF4-FFF2-40B4-BE49-F238E27FC236}">
                    <a16:creationId xmlns:a16="http://schemas.microsoft.com/office/drawing/2014/main" id="{9BFF3405-2518-24F5-B746-F6A3F9B5CB33}"/>
                  </a:ext>
                </a:extLst>
              </p:cNvPr>
              <p:cNvSpPr txBox="1"/>
              <p:nvPr/>
            </p:nvSpPr>
            <p:spPr>
              <a:xfrm flipH="1">
                <a:off x="3983112" y="3501608"/>
                <a:ext cx="1552643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Train-Test Split</a:t>
                </a:r>
              </a:p>
            </p:txBody>
          </p:sp>
          <p:sp>
            <p:nvSpPr>
              <p:cNvPr id="19" name="Google Shape;1641;p44">
                <a:extLst>
                  <a:ext uri="{FF2B5EF4-FFF2-40B4-BE49-F238E27FC236}">
                    <a16:creationId xmlns:a16="http://schemas.microsoft.com/office/drawing/2014/main" id="{8F774983-2287-F592-0164-93768D484ECB}"/>
                  </a:ext>
                </a:extLst>
              </p:cNvPr>
              <p:cNvSpPr txBox="1"/>
              <p:nvPr/>
            </p:nvSpPr>
            <p:spPr>
              <a:xfrm flipH="1">
                <a:off x="7081224" y="3501608"/>
                <a:ext cx="13716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Classification Modeling</a:t>
                </a:r>
                <a:endParaRPr sz="1200" b="1">
                  <a:solidFill>
                    <a:schemeClr val="dk1"/>
                  </a:solidFill>
                  <a:latin typeface="Montserrat" panose="00000500000000000000" pitchFamily="2" charset="0"/>
                  <a:ea typeface="Poppins Medium"/>
                  <a:cs typeface="Poppins Medium"/>
                  <a:sym typeface="Poppins Medium"/>
                </a:endParaRPr>
              </a:p>
            </p:txBody>
          </p:sp>
          <p:sp>
            <p:nvSpPr>
              <p:cNvPr id="20" name="Google Shape;1642;p44">
                <a:extLst>
                  <a:ext uri="{FF2B5EF4-FFF2-40B4-BE49-F238E27FC236}">
                    <a16:creationId xmlns:a16="http://schemas.microsoft.com/office/drawing/2014/main" id="{73D4E10A-9849-28E2-106F-728AC10B55BB}"/>
                  </a:ext>
                </a:extLst>
              </p:cNvPr>
              <p:cNvSpPr txBox="1"/>
              <p:nvPr/>
            </p:nvSpPr>
            <p:spPr>
              <a:xfrm flipH="1">
                <a:off x="7048302" y="4132657"/>
                <a:ext cx="1371598" cy="1069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Logistic Regress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Gradient Boosting</a:t>
                </a:r>
              </a:p>
            </p:txBody>
          </p:sp>
          <p:sp>
            <p:nvSpPr>
              <p:cNvPr id="21" name="Google Shape;1636;p44">
                <a:extLst>
                  <a:ext uri="{FF2B5EF4-FFF2-40B4-BE49-F238E27FC236}">
                    <a16:creationId xmlns:a16="http://schemas.microsoft.com/office/drawing/2014/main" id="{C0422C23-F02C-6ED7-B9C5-1EB764406FB8}"/>
                  </a:ext>
                </a:extLst>
              </p:cNvPr>
              <p:cNvSpPr txBox="1"/>
              <p:nvPr/>
            </p:nvSpPr>
            <p:spPr>
              <a:xfrm flipH="1">
                <a:off x="2541923" y="4117560"/>
                <a:ext cx="1425782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educe cardinality (Recategorization)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Power Transforma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Standardiza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sp>
            <p:nvSpPr>
              <p:cNvPr id="22" name="Google Shape;1634;p44">
                <a:extLst>
                  <a:ext uri="{FF2B5EF4-FFF2-40B4-BE49-F238E27FC236}">
                    <a16:creationId xmlns:a16="http://schemas.microsoft.com/office/drawing/2014/main" id="{1CF5794E-85F2-A7E5-FAAC-6FB83C3F5CCD}"/>
                  </a:ext>
                </a:extLst>
              </p:cNvPr>
              <p:cNvSpPr/>
              <p:nvPr/>
            </p:nvSpPr>
            <p:spPr>
              <a:xfrm>
                <a:off x="7681199" y="2683975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23" name="Google Shape;1646;p44">
                <a:extLst>
                  <a:ext uri="{FF2B5EF4-FFF2-40B4-BE49-F238E27FC236}">
                    <a16:creationId xmlns:a16="http://schemas.microsoft.com/office/drawing/2014/main" id="{E19FDFBF-E525-56A4-221F-F38C97A211EA}"/>
                  </a:ext>
                </a:extLst>
              </p:cNvPr>
              <p:cNvCxnSpPr>
                <a:cxnSpLocks/>
                <a:stCxn id="6" idx="2"/>
              </p:cNvCxnSpPr>
              <p:nvPr/>
            </p:nvCxnSpPr>
            <p:spPr>
              <a:xfrm>
                <a:off x="4756697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4" name="Google Shape;1646;p44">
                <a:extLst>
                  <a:ext uri="{FF2B5EF4-FFF2-40B4-BE49-F238E27FC236}">
                    <a16:creationId xmlns:a16="http://schemas.microsoft.com/office/drawing/2014/main" id="{D9CCB549-0F88-1D89-A4A7-20ABB58A21FD}"/>
                  </a:ext>
                </a:extLst>
              </p:cNvPr>
              <p:cNvCxnSpPr>
                <a:cxnSpLocks/>
                <a:stCxn id="8" idx="2"/>
              </p:cNvCxnSpPr>
              <p:nvPr/>
            </p:nvCxnSpPr>
            <p:spPr>
              <a:xfrm>
                <a:off x="6263048" y="2880803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5" name="Google Shape;1646;p44">
                <a:extLst>
                  <a:ext uri="{FF2B5EF4-FFF2-40B4-BE49-F238E27FC236}">
                    <a16:creationId xmlns:a16="http://schemas.microsoft.com/office/drawing/2014/main" id="{E2F46FE2-B2F6-AA79-F5AA-463015D26313}"/>
                  </a:ext>
                </a:extLst>
              </p:cNvPr>
              <p:cNvCxnSpPr>
                <a:cxnSpLocks/>
                <a:stCxn id="22" idx="2"/>
              </p:cNvCxnSpPr>
              <p:nvPr/>
            </p:nvCxnSpPr>
            <p:spPr>
              <a:xfrm>
                <a:off x="7769399" y="2860375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6" name="Google Shape;1646;p44">
                <a:extLst>
                  <a:ext uri="{FF2B5EF4-FFF2-40B4-BE49-F238E27FC236}">
                    <a16:creationId xmlns:a16="http://schemas.microsoft.com/office/drawing/2014/main" id="{213D6113-5BDA-7AF8-CD9B-C00D580B6413}"/>
                  </a:ext>
                </a:extLst>
              </p:cNvPr>
              <p:cNvCxnSpPr>
                <a:cxnSpLocks/>
                <a:stCxn id="5" idx="2"/>
              </p:cNvCxnSpPr>
              <p:nvPr/>
            </p:nvCxnSpPr>
            <p:spPr>
              <a:xfrm>
                <a:off x="3250346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pic>
          <p:nvPicPr>
            <p:cNvPr id="27" name="Graphic 26" descr="Badge 1 outline">
              <a:extLst>
                <a:ext uri="{FF2B5EF4-FFF2-40B4-BE49-F238E27FC236}">
                  <a16:creationId xmlns:a16="http://schemas.microsoft.com/office/drawing/2014/main" id="{658543FF-2418-9CE6-41B1-51810768F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8121" y="1015086"/>
              <a:ext cx="653908" cy="653908"/>
            </a:xfrm>
            <a:prstGeom prst="rect">
              <a:avLst/>
            </a:prstGeom>
          </p:spPr>
        </p:pic>
        <p:pic>
          <p:nvPicPr>
            <p:cNvPr id="28" name="Graphic 27" descr="Badge outline">
              <a:extLst>
                <a:ext uri="{FF2B5EF4-FFF2-40B4-BE49-F238E27FC236}">
                  <a16:creationId xmlns:a16="http://schemas.microsoft.com/office/drawing/2014/main" id="{A976BBF5-3140-0FF8-0CA4-DC3BCBB624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56182" y="1015086"/>
              <a:ext cx="653908" cy="653908"/>
            </a:xfrm>
            <a:prstGeom prst="rect">
              <a:avLst/>
            </a:prstGeom>
          </p:spPr>
        </p:pic>
        <p:pic>
          <p:nvPicPr>
            <p:cNvPr id="29" name="Graphic 28" descr="Badge 3 outline">
              <a:extLst>
                <a:ext uri="{FF2B5EF4-FFF2-40B4-BE49-F238E27FC236}">
                  <a16:creationId xmlns:a16="http://schemas.microsoft.com/office/drawing/2014/main" id="{1EAC8EF4-637B-57AC-EC06-6E3C834071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078501" y="1015086"/>
              <a:ext cx="653908" cy="653908"/>
            </a:xfrm>
            <a:prstGeom prst="rect">
              <a:avLst/>
            </a:prstGeom>
          </p:spPr>
        </p:pic>
        <p:pic>
          <p:nvPicPr>
            <p:cNvPr id="30" name="Graphic 29" descr="Badge 4 outline">
              <a:extLst>
                <a:ext uri="{FF2B5EF4-FFF2-40B4-BE49-F238E27FC236}">
                  <a16:creationId xmlns:a16="http://schemas.microsoft.com/office/drawing/2014/main" id="{70A5BFE6-DD85-061B-8317-DD864A442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15554" y="1015086"/>
              <a:ext cx="653908" cy="653908"/>
            </a:xfrm>
            <a:prstGeom prst="rect">
              <a:avLst/>
            </a:prstGeom>
          </p:spPr>
        </p:pic>
        <p:pic>
          <p:nvPicPr>
            <p:cNvPr id="31" name="Graphic 30" descr="Badge 5 outline">
              <a:extLst>
                <a:ext uri="{FF2B5EF4-FFF2-40B4-BE49-F238E27FC236}">
                  <a16:creationId xmlns:a16="http://schemas.microsoft.com/office/drawing/2014/main" id="{766BE44B-61AB-4C8C-286D-31CCC4DC3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33615" y="996486"/>
              <a:ext cx="653908" cy="6539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54901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5BF826-427E-146A-FC16-51C81BCAE8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C50015D-C41B-F95C-3EFD-F7728006A6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50015D-C41B-F95C-3EFD-F7728006A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2F8D8723-DE48-A069-76DA-140C2E6FF6BC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Approach for Estimating Margi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186A1B-6D7A-194D-A553-1780C6AF406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8</a:t>
            </a:fld>
            <a:endParaRPr lang="en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2C2395-A3B9-4D38-56D8-3F7157959CE4}"/>
              </a:ext>
            </a:extLst>
          </p:cNvPr>
          <p:cNvGrpSpPr/>
          <p:nvPr/>
        </p:nvGrpSpPr>
        <p:grpSpPr>
          <a:xfrm>
            <a:off x="490094" y="1033045"/>
            <a:ext cx="7982364" cy="3161389"/>
            <a:chOff x="418094" y="996486"/>
            <a:chExt cx="7982364" cy="316138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D0A8957-3582-82FF-823A-A8DF1921685A}"/>
                </a:ext>
              </a:extLst>
            </p:cNvPr>
            <p:cNvGrpSpPr/>
            <p:nvPr/>
          </p:nvGrpSpPr>
          <p:grpSpPr>
            <a:xfrm>
              <a:off x="418094" y="1629573"/>
              <a:ext cx="7982364" cy="2528302"/>
              <a:chOff x="1053996" y="2683975"/>
              <a:chExt cx="7398828" cy="2828385"/>
            </a:xfrm>
          </p:grpSpPr>
          <p:sp>
            <p:nvSpPr>
              <p:cNvPr id="4" name="Google Shape;1631;p44">
                <a:extLst>
                  <a:ext uri="{FF2B5EF4-FFF2-40B4-BE49-F238E27FC236}">
                    <a16:creationId xmlns:a16="http://schemas.microsoft.com/office/drawing/2014/main" id="{720DEEEC-0E9D-4EA8-421E-7EC969D081A8}"/>
                  </a:ext>
                </a:extLst>
              </p:cNvPr>
              <p:cNvSpPr/>
              <p:nvPr/>
            </p:nvSpPr>
            <p:spPr>
              <a:xfrm>
                <a:off x="1655795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>
                  <a:solidFill>
                    <a:srgbClr val="FF5097"/>
                  </a:solidFill>
                </a:endParaRPr>
              </a:p>
            </p:txBody>
          </p:sp>
          <p:sp>
            <p:nvSpPr>
              <p:cNvPr id="5" name="Google Shape;1632;p44">
                <a:extLst>
                  <a:ext uri="{FF2B5EF4-FFF2-40B4-BE49-F238E27FC236}">
                    <a16:creationId xmlns:a16="http://schemas.microsoft.com/office/drawing/2014/main" id="{5DBDEEA4-F2EF-B183-F39B-51C8B127633A}"/>
                  </a:ext>
                </a:extLst>
              </p:cNvPr>
              <p:cNvSpPr/>
              <p:nvPr/>
            </p:nvSpPr>
            <p:spPr>
              <a:xfrm>
                <a:off x="3162146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" name="Google Shape;1633;p44">
                <a:extLst>
                  <a:ext uri="{FF2B5EF4-FFF2-40B4-BE49-F238E27FC236}">
                    <a16:creationId xmlns:a16="http://schemas.microsoft.com/office/drawing/2014/main" id="{DE940231-56BC-208F-41CF-3CD6F614E869}"/>
                  </a:ext>
                </a:extLst>
              </p:cNvPr>
              <p:cNvSpPr/>
              <p:nvPr/>
            </p:nvSpPr>
            <p:spPr>
              <a:xfrm>
                <a:off x="4668497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1634;p44">
                <a:extLst>
                  <a:ext uri="{FF2B5EF4-FFF2-40B4-BE49-F238E27FC236}">
                    <a16:creationId xmlns:a16="http://schemas.microsoft.com/office/drawing/2014/main" id="{5A510149-BBBC-0A62-E0BE-C1A559889578}"/>
                  </a:ext>
                </a:extLst>
              </p:cNvPr>
              <p:cNvSpPr/>
              <p:nvPr/>
            </p:nvSpPr>
            <p:spPr>
              <a:xfrm>
                <a:off x="6174848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1635;p44">
                <a:extLst>
                  <a:ext uri="{FF2B5EF4-FFF2-40B4-BE49-F238E27FC236}">
                    <a16:creationId xmlns:a16="http://schemas.microsoft.com/office/drawing/2014/main" id="{8F3B8633-3A92-0CA5-F12A-7B3DC07B539B}"/>
                  </a:ext>
                </a:extLst>
              </p:cNvPr>
              <p:cNvSpPr txBox="1"/>
              <p:nvPr/>
            </p:nvSpPr>
            <p:spPr>
              <a:xfrm flipH="1">
                <a:off x="1053996" y="3510866"/>
                <a:ext cx="1371600" cy="9803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Data Cleaning</a:t>
                </a:r>
              </a:p>
            </p:txBody>
          </p:sp>
          <p:sp>
            <p:nvSpPr>
              <p:cNvPr id="10" name="Google Shape;1636;p44">
                <a:extLst>
                  <a:ext uri="{FF2B5EF4-FFF2-40B4-BE49-F238E27FC236}">
                    <a16:creationId xmlns:a16="http://schemas.microsoft.com/office/drawing/2014/main" id="{872E584D-B5E7-738D-34E1-778010F190F0}"/>
                  </a:ext>
                </a:extLst>
              </p:cNvPr>
              <p:cNvSpPr txBox="1"/>
              <p:nvPr/>
            </p:nvSpPr>
            <p:spPr>
              <a:xfrm flipH="1">
                <a:off x="1069085" y="4132657"/>
                <a:ext cx="1341421" cy="12975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emove Duplicate Account IDs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algn="ctr"/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emove high cardinality variables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sp>
            <p:nvSpPr>
              <p:cNvPr id="11" name="Google Shape;1637;p44">
                <a:extLst>
                  <a:ext uri="{FF2B5EF4-FFF2-40B4-BE49-F238E27FC236}">
                    <a16:creationId xmlns:a16="http://schemas.microsoft.com/office/drawing/2014/main" id="{4F2DB941-3700-7E0D-7D14-2CFBEE5FA494}"/>
                  </a:ext>
                </a:extLst>
              </p:cNvPr>
              <p:cNvSpPr txBox="1"/>
              <p:nvPr/>
            </p:nvSpPr>
            <p:spPr>
              <a:xfrm flipH="1">
                <a:off x="2441003" y="3510866"/>
                <a:ext cx="16832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Feature Engineering</a:t>
                </a:r>
              </a:p>
            </p:txBody>
          </p:sp>
          <p:sp>
            <p:nvSpPr>
              <p:cNvPr id="12" name="Google Shape;1640;p44">
                <a:extLst>
                  <a:ext uri="{FF2B5EF4-FFF2-40B4-BE49-F238E27FC236}">
                    <a16:creationId xmlns:a16="http://schemas.microsoft.com/office/drawing/2014/main" id="{DC725AB0-1BAD-694C-239F-B32D56E4D0A0}"/>
                  </a:ext>
                </a:extLst>
              </p:cNvPr>
              <p:cNvSpPr txBox="1"/>
              <p:nvPr/>
            </p:nvSpPr>
            <p:spPr>
              <a:xfrm flipH="1">
                <a:off x="4210186" y="4140744"/>
                <a:ext cx="1193291" cy="13716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30% Holdout Set</a:t>
                </a:r>
              </a:p>
            </p:txBody>
          </p:sp>
          <p:sp>
            <p:nvSpPr>
              <p:cNvPr id="13" name="Google Shape;1641;p44">
                <a:extLst>
                  <a:ext uri="{FF2B5EF4-FFF2-40B4-BE49-F238E27FC236}">
                    <a16:creationId xmlns:a16="http://schemas.microsoft.com/office/drawing/2014/main" id="{E78C17ED-64F0-2360-E42F-843ABCB086F7}"/>
                  </a:ext>
                </a:extLst>
              </p:cNvPr>
              <p:cNvSpPr txBox="1"/>
              <p:nvPr/>
            </p:nvSpPr>
            <p:spPr>
              <a:xfrm flipH="1">
                <a:off x="5489461" y="3510866"/>
                <a:ext cx="1552644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Feature Selection</a:t>
                </a:r>
              </a:p>
            </p:txBody>
          </p:sp>
          <p:sp>
            <p:nvSpPr>
              <p:cNvPr id="15" name="Google Shape;1642;p44">
                <a:extLst>
                  <a:ext uri="{FF2B5EF4-FFF2-40B4-BE49-F238E27FC236}">
                    <a16:creationId xmlns:a16="http://schemas.microsoft.com/office/drawing/2014/main" id="{7139C6B7-85CC-66D4-B5AC-59A2BE27B4B4}"/>
                  </a:ext>
                </a:extLst>
              </p:cNvPr>
              <p:cNvSpPr txBox="1"/>
              <p:nvPr/>
            </p:nvSpPr>
            <p:spPr>
              <a:xfrm flipH="1">
                <a:off x="5525221" y="4125477"/>
                <a:ext cx="1487320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VIF Feature Reduc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cxnSp>
            <p:nvCxnSpPr>
              <p:cNvPr id="16" name="Google Shape;1643;p44">
                <a:extLst>
                  <a:ext uri="{FF2B5EF4-FFF2-40B4-BE49-F238E27FC236}">
                    <a16:creationId xmlns:a16="http://schemas.microsoft.com/office/drawing/2014/main" id="{96E3C3C3-4C09-D003-945C-A1B8850D04FC}"/>
                  </a:ext>
                </a:extLst>
              </p:cNvPr>
              <p:cNvCxnSpPr>
                <a:cxnSpLocks/>
                <a:stCxn id="4" idx="3"/>
                <a:endCxn id="22" idx="1"/>
              </p:cNvCxnSpPr>
              <p:nvPr/>
            </p:nvCxnSpPr>
            <p:spPr>
              <a:xfrm flipV="1">
                <a:off x="1832195" y="2772175"/>
                <a:ext cx="5849004" cy="20429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dash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7" name="Google Shape;1646;p44">
                <a:extLst>
                  <a:ext uri="{FF2B5EF4-FFF2-40B4-BE49-F238E27FC236}">
                    <a16:creationId xmlns:a16="http://schemas.microsoft.com/office/drawing/2014/main" id="{9BFD8AC5-056F-CBD3-57C4-09E576AC90A7}"/>
                  </a:ext>
                </a:extLst>
              </p:cNvPr>
              <p:cNvCxnSpPr>
                <a:cxnSpLocks/>
                <a:stCxn id="4" idx="2"/>
              </p:cNvCxnSpPr>
              <p:nvPr/>
            </p:nvCxnSpPr>
            <p:spPr>
              <a:xfrm flipH="1">
                <a:off x="1743968" y="2880804"/>
                <a:ext cx="27" cy="620804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18" name="Google Shape;1639;p44">
                <a:extLst>
                  <a:ext uri="{FF2B5EF4-FFF2-40B4-BE49-F238E27FC236}">
                    <a16:creationId xmlns:a16="http://schemas.microsoft.com/office/drawing/2014/main" id="{364E1D72-5F18-A1B7-D157-3DF8F20C14EF}"/>
                  </a:ext>
                </a:extLst>
              </p:cNvPr>
              <p:cNvSpPr txBox="1"/>
              <p:nvPr/>
            </p:nvSpPr>
            <p:spPr>
              <a:xfrm flipH="1">
                <a:off x="3983112" y="3501608"/>
                <a:ext cx="1552643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Train-Test Split</a:t>
                </a:r>
              </a:p>
            </p:txBody>
          </p:sp>
          <p:sp>
            <p:nvSpPr>
              <p:cNvPr id="19" name="Google Shape;1641;p44">
                <a:extLst>
                  <a:ext uri="{FF2B5EF4-FFF2-40B4-BE49-F238E27FC236}">
                    <a16:creationId xmlns:a16="http://schemas.microsoft.com/office/drawing/2014/main" id="{37945EFB-C30F-1E66-DADA-A74473725629}"/>
                  </a:ext>
                </a:extLst>
              </p:cNvPr>
              <p:cNvSpPr txBox="1"/>
              <p:nvPr/>
            </p:nvSpPr>
            <p:spPr>
              <a:xfrm flipH="1">
                <a:off x="7081224" y="3501608"/>
                <a:ext cx="13716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Regression Modeling</a:t>
                </a:r>
                <a:endParaRPr sz="1200" b="1">
                  <a:solidFill>
                    <a:schemeClr val="dk1"/>
                  </a:solidFill>
                  <a:latin typeface="Montserrat" panose="00000500000000000000" pitchFamily="2" charset="0"/>
                  <a:ea typeface="Poppins Medium"/>
                  <a:cs typeface="Poppins Medium"/>
                  <a:sym typeface="Poppins Medium"/>
                </a:endParaRPr>
              </a:p>
            </p:txBody>
          </p:sp>
          <p:sp>
            <p:nvSpPr>
              <p:cNvPr id="20" name="Google Shape;1642;p44">
                <a:extLst>
                  <a:ext uri="{FF2B5EF4-FFF2-40B4-BE49-F238E27FC236}">
                    <a16:creationId xmlns:a16="http://schemas.microsoft.com/office/drawing/2014/main" id="{B93246D8-8CF3-3A51-A041-308D9BC5111A}"/>
                  </a:ext>
                </a:extLst>
              </p:cNvPr>
              <p:cNvSpPr txBox="1"/>
              <p:nvPr/>
            </p:nvSpPr>
            <p:spPr>
              <a:xfrm flipH="1">
                <a:off x="7048302" y="4132657"/>
                <a:ext cx="1371598" cy="1069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Linear Regress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Random Forest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Gradient Boosting</a:t>
                </a:r>
              </a:p>
            </p:txBody>
          </p:sp>
          <p:sp>
            <p:nvSpPr>
              <p:cNvPr id="21" name="Google Shape;1636;p44">
                <a:extLst>
                  <a:ext uri="{FF2B5EF4-FFF2-40B4-BE49-F238E27FC236}">
                    <a16:creationId xmlns:a16="http://schemas.microsoft.com/office/drawing/2014/main" id="{9667384A-3D7B-DBA3-9028-381A6AC3A16F}"/>
                  </a:ext>
                </a:extLst>
              </p:cNvPr>
              <p:cNvSpPr txBox="1"/>
              <p:nvPr/>
            </p:nvSpPr>
            <p:spPr>
              <a:xfrm flipH="1">
                <a:off x="2541923" y="4117560"/>
                <a:ext cx="1425782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Margin Calcula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Average Rolling Margins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Power Transformation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sp>
            <p:nvSpPr>
              <p:cNvPr id="22" name="Google Shape;1634;p44">
                <a:extLst>
                  <a:ext uri="{FF2B5EF4-FFF2-40B4-BE49-F238E27FC236}">
                    <a16:creationId xmlns:a16="http://schemas.microsoft.com/office/drawing/2014/main" id="{E65B2D5B-AE04-815A-FA53-8F5AF729B368}"/>
                  </a:ext>
                </a:extLst>
              </p:cNvPr>
              <p:cNvSpPr/>
              <p:nvPr/>
            </p:nvSpPr>
            <p:spPr>
              <a:xfrm>
                <a:off x="7681199" y="2683975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23" name="Google Shape;1646;p44">
                <a:extLst>
                  <a:ext uri="{FF2B5EF4-FFF2-40B4-BE49-F238E27FC236}">
                    <a16:creationId xmlns:a16="http://schemas.microsoft.com/office/drawing/2014/main" id="{6F3272D0-3772-A499-7231-5FF0D30E3B89}"/>
                  </a:ext>
                </a:extLst>
              </p:cNvPr>
              <p:cNvCxnSpPr>
                <a:cxnSpLocks/>
                <a:stCxn id="6" idx="2"/>
              </p:cNvCxnSpPr>
              <p:nvPr/>
            </p:nvCxnSpPr>
            <p:spPr>
              <a:xfrm>
                <a:off x="4756697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4" name="Google Shape;1646;p44">
                <a:extLst>
                  <a:ext uri="{FF2B5EF4-FFF2-40B4-BE49-F238E27FC236}">
                    <a16:creationId xmlns:a16="http://schemas.microsoft.com/office/drawing/2014/main" id="{EF77B6B2-F6B2-DFDB-DD2F-6B3B1AECBC2C}"/>
                  </a:ext>
                </a:extLst>
              </p:cNvPr>
              <p:cNvCxnSpPr>
                <a:cxnSpLocks/>
                <a:stCxn id="8" idx="2"/>
              </p:cNvCxnSpPr>
              <p:nvPr/>
            </p:nvCxnSpPr>
            <p:spPr>
              <a:xfrm>
                <a:off x="6263048" y="2880803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5" name="Google Shape;1646;p44">
                <a:extLst>
                  <a:ext uri="{FF2B5EF4-FFF2-40B4-BE49-F238E27FC236}">
                    <a16:creationId xmlns:a16="http://schemas.microsoft.com/office/drawing/2014/main" id="{35A44A83-2E7D-E914-32DD-F3276DD852B9}"/>
                  </a:ext>
                </a:extLst>
              </p:cNvPr>
              <p:cNvCxnSpPr>
                <a:cxnSpLocks/>
                <a:stCxn id="22" idx="2"/>
              </p:cNvCxnSpPr>
              <p:nvPr/>
            </p:nvCxnSpPr>
            <p:spPr>
              <a:xfrm>
                <a:off x="7769399" y="2860375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6" name="Google Shape;1646;p44">
                <a:extLst>
                  <a:ext uri="{FF2B5EF4-FFF2-40B4-BE49-F238E27FC236}">
                    <a16:creationId xmlns:a16="http://schemas.microsoft.com/office/drawing/2014/main" id="{63CF3EAE-DB23-8A27-7B86-3BEB7164031F}"/>
                  </a:ext>
                </a:extLst>
              </p:cNvPr>
              <p:cNvCxnSpPr>
                <a:cxnSpLocks/>
                <a:stCxn id="5" idx="2"/>
              </p:cNvCxnSpPr>
              <p:nvPr/>
            </p:nvCxnSpPr>
            <p:spPr>
              <a:xfrm>
                <a:off x="3250346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pic>
          <p:nvPicPr>
            <p:cNvPr id="27" name="Graphic 26" descr="Badge 1 outline">
              <a:extLst>
                <a:ext uri="{FF2B5EF4-FFF2-40B4-BE49-F238E27FC236}">
                  <a16:creationId xmlns:a16="http://schemas.microsoft.com/office/drawing/2014/main" id="{485A7CB1-8CA0-1BF3-B1FC-C9841AC1F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8121" y="1015086"/>
              <a:ext cx="653908" cy="653908"/>
            </a:xfrm>
            <a:prstGeom prst="rect">
              <a:avLst/>
            </a:prstGeom>
          </p:spPr>
        </p:pic>
        <p:pic>
          <p:nvPicPr>
            <p:cNvPr id="28" name="Graphic 27" descr="Badge outline">
              <a:extLst>
                <a:ext uri="{FF2B5EF4-FFF2-40B4-BE49-F238E27FC236}">
                  <a16:creationId xmlns:a16="http://schemas.microsoft.com/office/drawing/2014/main" id="{8FD17671-0692-C3F1-F6A7-F3CAB2E8A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56182" y="1015086"/>
              <a:ext cx="653908" cy="653908"/>
            </a:xfrm>
            <a:prstGeom prst="rect">
              <a:avLst/>
            </a:prstGeom>
          </p:spPr>
        </p:pic>
        <p:pic>
          <p:nvPicPr>
            <p:cNvPr id="29" name="Graphic 28" descr="Badge 3 outline">
              <a:extLst>
                <a:ext uri="{FF2B5EF4-FFF2-40B4-BE49-F238E27FC236}">
                  <a16:creationId xmlns:a16="http://schemas.microsoft.com/office/drawing/2014/main" id="{DDD9CB8B-6E26-1099-FF8A-75FCEE814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078501" y="1015086"/>
              <a:ext cx="653908" cy="653908"/>
            </a:xfrm>
            <a:prstGeom prst="rect">
              <a:avLst/>
            </a:prstGeom>
          </p:spPr>
        </p:pic>
        <p:pic>
          <p:nvPicPr>
            <p:cNvPr id="30" name="Graphic 29" descr="Badge 4 outline">
              <a:extLst>
                <a:ext uri="{FF2B5EF4-FFF2-40B4-BE49-F238E27FC236}">
                  <a16:creationId xmlns:a16="http://schemas.microsoft.com/office/drawing/2014/main" id="{4B599045-9E3D-D335-DBC5-A73B0CCD7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15554" y="1015086"/>
              <a:ext cx="653908" cy="653908"/>
            </a:xfrm>
            <a:prstGeom prst="rect">
              <a:avLst/>
            </a:prstGeom>
          </p:spPr>
        </p:pic>
        <p:pic>
          <p:nvPicPr>
            <p:cNvPr id="31" name="Graphic 30" descr="Badge 5 outline">
              <a:extLst>
                <a:ext uri="{FF2B5EF4-FFF2-40B4-BE49-F238E27FC236}">
                  <a16:creationId xmlns:a16="http://schemas.microsoft.com/office/drawing/2014/main" id="{99F2C3DD-60E8-2572-207F-26CD85BB37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33615" y="996486"/>
              <a:ext cx="653908" cy="6539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721561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23FA98-5810-0376-B400-00D3C9A9E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9907023-6BB0-A152-6850-CDC3455DD8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907023-6BB0-A152-6850-CDC3455DD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50104CD8-7945-47DF-A632-64DD0BE4D005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Approach for segmenting customers into actionable group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23439A-918C-4BB7-F757-FE20165F5A7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39</a:t>
            </a:fld>
            <a:endParaRPr lang="en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5E56224-1AAE-29A8-DE50-9323A6D863B5}"/>
              </a:ext>
            </a:extLst>
          </p:cNvPr>
          <p:cNvGrpSpPr/>
          <p:nvPr/>
        </p:nvGrpSpPr>
        <p:grpSpPr>
          <a:xfrm>
            <a:off x="490094" y="1033045"/>
            <a:ext cx="7982364" cy="3161389"/>
            <a:chOff x="418094" y="996486"/>
            <a:chExt cx="7982364" cy="316138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DD4F663-81CC-70C3-048E-D5449FE95EA8}"/>
                </a:ext>
              </a:extLst>
            </p:cNvPr>
            <p:cNvGrpSpPr/>
            <p:nvPr/>
          </p:nvGrpSpPr>
          <p:grpSpPr>
            <a:xfrm>
              <a:off x="418094" y="1629573"/>
              <a:ext cx="7982364" cy="2528302"/>
              <a:chOff x="1053996" y="2683975"/>
              <a:chExt cx="7398828" cy="2828385"/>
            </a:xfrm>
          </p:grpSpPr>
          <p:sp>
            <p:nvSpPr>
              <p:cNvPr id="4" name="Google Shape;1631;p44">
                <a:extLst>
                  <a:ext uri="{FF2B5EF4-FFF2-40B4-BE49-F238E27FC236}">
                    <a16:creationId xmlns:a16="http://schemas.microsoft.com/office/drawing/2014/main" id="{025ADF0C-49BC-474D-DAF2-1C123ECDC351}"/>
                  </a:ext>
                </a:extLst>
              </p:cNvPr>
              <p:cNvSpPr/>
              <p:nvPr/>
            </p:nvSpPr>
            <p:spPr>
              <a:xfrm>
                <a:off x="1655795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>
                  <a:solidFill>
                    <a:srgbClr val="FF5097"/>
                  </a:solidFill>
                </a:endParaRPr>
              </a:p>
            </p:txBody>
          </p:sp>
          <p:sp>
            <p:nvSpPr>
              <p:cNvPr id="5" name="Google Shape;1632;p44">
                <a:extLst>
                  <a:ext uri="{FF2B5EF4-FFF2-40B4-BE49-F238E27FC236}">
                    <a16:creationId xmlns:a16="http://schemas.microsoft.com/office/drawing/2014/main" id="{E5AA04D2-6421-7EE6-E4E7-6920BD3CDCE9}"/>
                  </a:ext>
                </a:extLst>
              </p:cNvPr>
              <p:cNvSpPr/>
              <p:nvPr/>
            </p:nvSpPr>
            <p:spPr>
              <a:xfrm>
                <a:off x="3162146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" name="Google Shape;1633;p44">
                <a:extLst>
                  <a:ext uri="{FF2B5EF4-FFF2-40B4-BE49-F238E27FC236}">
                    <a16:creationId xmlns:a16="http://schemas.microsoft.com/office/drawing/2014/main" id="{710D0934-5643-E754-DA86-18E9D2CD7228}"/>
                  </a:ext>
                </a:extLst>
              </p:cNvPr>
              <p:cNvSpPr/>
              <p:nvPr/>
            </p:nvSpPr>
            <p:spPr>
              <a:xfrm>
                <a:off x="4668497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" name="Google Shape;1634;p44">
                <a:extLst>
                  <a:ext uri="{FF2B5EF4-FFF2-40B4-BE49-F238E27FC236}">
                    <a16:creationId xmlns:a16="http://schemas.microsoft.com/office/drawing/2014/main" id="{6757E5A7-8E2C-5892-B235-9F2C7483EB1F}"/>
                  </a:ext>
                </a:extLst>
              </p:cNvPr>
              <p:cNvSpPr/>
              <p:nvPr/>
            </p:nvSpPr>
            <p:spPr>
              <a:xfrm>
                <a:off x="6174848" y="2704404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1635;p44">
                <a:extLst>
                  <a:ext uri="{FF2B5EF4-FFF2-40B4-BE49-F238E27FC236}">
                    <a16:creationId xmlns:a16="http://schemas.microsoft.com/office/drawing/2014/main" id="{88A72936-7012-E86B-F8D6-19C70E9CA3CE}"/>
                  </a:ext>
                </a:extLst>
              </p:cNvPr>
              <p:cNvSpPr txBox="1"/>
              <p:nvPr/>
            </p:nvSpPr>
            <p:spPr>
              <a:xfrm flipH="1">
                <a:off x="1053996" y="3510866"/>
                <a:ext cx="1371600" cy="9803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Churn Risk</a:t>
                </a:r>
              </a:p>
            </p:txBody>
          </p:sp>
          <p:sp>
            <p:nvSpPr>
              <p:cNvPr id="10" name="Google Shape;1636;p44">
                <a:extLst>
                  <a:ext uri="{FF2B5EF4-FFF2-40B4-BE49-F238E27FC236}">
                    <a16:creationId xmlns:a16="http://schemas.microsoft.com/office/drawing/2014/main" id="{18D3ABEC-9E49-E1B3-BE91-CAA58FB25074}"/>
                  </a:ext>
                </a:extLst>
              </p:cNvPr>
              <p:cNvSpPr txBox="1"/>
              <p:nvPr/>
            </p:nvSpPr>
            <p:spPr>
              <a:xfrm flipH="1">
                <a:off x="1069085" y="4132657"/>
                <a:ext cx="1341421" cy="12975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Estimate Churn Risk using Churn Classification Model</a:t>
                </a:r>
              </a:p>
            </p:txBody>
          </p:sp>
          <p:sp>
            <p:nvSpPr>
              <p:cNvPr id="11" name="Google Shape;1637;p44">
                <a:extLst>
                  <a:ext uri="{FF2B5EF4-FFF2-40B4-BE49-F238E27FC236}">
                    <a16:creationId xmlns:a16="http://schemas.microsoft.com/office/drawing/2014/main" id="{806FDF07-2174-7628-2EE5-D4F96915F7C0}"/>
                  </a:ext>
                </a:extLst>
              </p:cNvPr>
              <p:cNvSpPr txBox="1"/>
              <p:nvPr/>
            </p:nvSpPr>
            <p:spPr>
              <a:xfrm flipH="1">
                <a:off x="2441003" y="3510866"/>
                <a:ext cx="16832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Margin Value</a:t>
                </a:r>
              </a:p>
            </p:txBody>
          </p:sp>
          <p:sp>
            <p:nvSpPr>
              <p:cNvPr id="12" name="Google Shape;1640;p44">
                <a:extLst>
                  <a:ext uri="{FF2B5EF4-FFF2-40B4-BE49-F238E27FC236}">
                    <a16:creationId xmlns:a16="http://schemas.microsoft.com/office/drawing/2014/main" id="{3C2437D5-5450-291E-B035-3A2ABB927B00}"/>
                  </a:ext>
                </a:extLst>
              </p:cNvPr>
              <p:cNvSpPr txBox="1"/>
              <p:nvPr/>
            </p:nvSpPr>
            <p:spPr>
              <a:xfrm flipH="1">
                <a:off x="4210186" y="4140744"/>
                <a:ext cx="1193291" cy="137161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Calculate Customer Lifetime Value</a:t>
                </a:r>
                <a:b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</a:b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(CFV)</a:t>
                </a:r>
              </a:p>
            </p:txBody>
          </p:sp>
          <p:sp>
            <p:nvSpPr>
              <p:cNvPr id="13" name="Google Shape;1641;p44">
                <a:extLst>
                  <a:ext uri="{FF2B5EF4-FFF2-40B4-BE49-F238E27FC236}">
                    <a16:creationId xmlns:a16="http://schemas.microsoft.com/office/drawing/2014/main" id="{0EF88E3F-4417-46B6-3842-EE4BE158FB2F}"/>
                  </a:ext>
                </a:extLst>
              </p:cNvPr>
              <p:cNvSpPr txBox="1"/>
              <p:nvPr/>
            </p:nvSpPr>
            <p:spPr>
              <a:xfrm flipH="1">
                <a:off x="5489461" y="3510866"/>
                <a:ext cx="1552644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Segmentation</a:t>
                </a:r>
              </a:p>
            </p:txBody>
          </p:sp>
          <p:sp>
            <p:nvSpPr>
              <p:cNvPr id="15" name="Google Shape;1642;p44">
                <a:extLst>
                  <a:ext uri="{FF2B5EF4-FFF2-40B4-BE49-F238E27FC236}">
                    <a16:creationId xmlns:a16="http://schemas.microsoft.com/office/drawing/2014/main" id="{F02CBD86-65E7-A525-2D2D-4CF5AAF268F7}"/>
                  </a:ext>
                </a:extLst>
              </p:cNvPr>
              <p:cNvSpPr txBox="1"/>
              <p:nvPr/>
            </p:nvSpPr>
            <p:spPr>
              <a:xfrm flipH="1">
                <a:off x="5525221" y="4125477"/>
                <a:ext cx="1487320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K</a:t>
                </a: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-Means clustering based on Churn Risk, Estimated Margin, and CFV Value</a:t>
                </a:r>
              </a:p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" sz="1000">
                  <a:solidFill>
                    <a:schemeClr val="bg2">
                      <a:lumMod val="50000"/>
                    </a:schemeClr>
                  </a:solidFill>
                  <a:latin typeface="Montserrat" panose="00000500000000000000" pitchFamily="2" charset="0"/>
                  <a:ea typeface="Source Sans Pro"/>
                  <a:cs typeface="Source Sans Pro"/>
                  <a:sym typeface="Source Sans Pro"/>
                </a:endParaRPr>
              </a:p>
            </p:txBody>
          </p:sp>
          <p:cxnSp>
            <p:nvCxnSpPr>
              <p:cNvPr id="16" name="Google Shape;1643;p44">
                <a:extLst>
                  <a:ext uri="{FF2B5EF4-FFF2-40B4-BE49-F238E27FC236}">
                    <a16:creationId xmlns:a16="http://schemas.microsoft.com/office/drawing/2014/main" id="{65176A68-2CFD-C430-4125-9B30D77BF7EB}"/>
                  </a:ext>
                </a:extLst>
              </p:cNvPr>
              <p:cNvCxnSpPr>
                <a:cxnSpLocks/>
                <a:stCxn id="4" idx="3"/>
                <a:endCxn id="22" idx="1"/>
              </p:cNvCxnSpPr>
              <p:nvPr/>
            </p:nvCxnSpPr>
            <p:spPr>
              <a:xfrm flipV="1">
                <a:off x="1832195" y="2772175"/>
                <a:ext cx="5849004" cy="20429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dash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7" name="Google Shape;1646;p44">
                <a:extLst>
                  <a:ext uri="{FF2B5EF4-FFF2-40B4-BE49-F238E27FC236}">
                    <a16:creationId xmlns:a16="http://schemas.microsoft.com/office/drawing/2014/main" id="{3F05096E-1799-1793-EEF0-5F0DE2F188BE}"/>
                  </a:ext>
                </a:extLst>
              </p:cNvPr>
              <p:cNvCxnSpPr>
                <a:cxnSpLocks/>
                <a:stCxn id="4" idx="2"/>
              </p:cNvCxnSpPr>
              <p:nvPr/>
            </p:nvCxnSpPr>
            <p:spPr>
              <a:xfrm flipH="1">
                <a:off x="1743968" y="2880804"/>
                <a:ext cx="27" cy="620804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18" name="Google Shape;1639;p44">
                <a:extLst>
                  <a:ext uri="{FF2B5EF4-FFF2-40B4-BE49-F238E27FC236}">
                    <a16:creationId xmlns:a16="http://schemas.microsoft.com/office/drawing/2014/main" id="{1ABE0BE5-9D92-8102-0483-4DF09BB88A3B}"/>
                  </a:ext>
                </a:extLst>
              </p:cNvPr>
              <p:cNvSpPr txBox="1"/>
              <p:nvPr/>
            </p:nvSpPr>
            <p:spPr>
              <a:xfrm flipH="1">
                <a:off x="3983112" y="3501608"/>
                <a:ext cx="1552643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Lifetime Value</a:t>
                </a:r>
              </a:p>
            </p:txBody>
          </p:sp>
          <p:sp>
            <p:nvSpPr>
              <p:cNvPr id="19" name="Google Shape;1641;p44">
                <a:extLst>
                  <a:ext uri="{FF2B5EF4-FFF2-40B4-BE49-F238E27FC236}">
                    <a16:creationId xmlns:a16="http://schemas.microsoft.com/office/drawing/2014/main" id="{5BC044EA-6599-FA4D-CA3E-9D422C1287C3}"/>
                  </a:ext>
                </a:extLst>
              </p:cNvPr>
              <p:cNvSpPr txBox="1"/>
              <p:nvPr/>
            </p:nvSpPr>
            <p:spPr>
              <a:xfrm flipH="1">
                <a:off x="7081224" y="3501608"/>
                <a:ext cx="1371600" cy="7315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200" b="1">
                    <a:solidFill>
                      <a:schemeClr val="dk1"/>
                    </a:solidFill>
                    <a:latin typeface="Montserrat" panose="00000500000000000000" pitchFamily="2" charset="0"/>
                    <a:ea typeface="Poppins Medium"/>
                    <a:cs typeface="Poppins Medium"/>
                    <a:sym typeface="Poppins Medium"/>
                  </a:rPr>
                  <a:t>Profiling</a:t>
                </a:r>
                <a:endParaRPr sz="1200" b="1">
                  <a:solidFill>
                    <a:schemeClr val="dk1"/>
                  </a:solidFill>
                  <a:latin typeface="Montserrat" panose="00000500000000000000" pitchFamily="2" charset="0"/>
                  <a:ea typeface="Poppins Medium"/>
                  <a:cs typeface="Poppins Medium"/>
                  <a:sym typeface="Poppins Medium"/>
                </a:endParaRPr>
              </a:p>
            </p:txBody>
          </p:sp>
          <p:sp>
            <p:nvSpPr>
              <p:cNvPr id="20" name="Google Shape;1642;p44">
                <a:extLst>
                  <a:ext uri="{FF2B5EF4-FFF2-40B4-BE49-F238E27FC236}">
                    <a16:creationId xmlns:a16="http://schemas.microsoft.com/office/drawing/2014/main" id="{8E02AAED-9A37-04AC-3C5A-9F1FC2809577}"/>
                  </a:ext>
                </a:extLst>
              </p:cNvPr>
              <p:cNvSpPr txBox="1"/>
              <p:nvPr/>
            </p:nvSpPr>
            <p:spPr>
              <a:xfrm flipH="1">
                <a:off x="7048302" y="4132657"/>
                <a:ext cx="1371598" cy="10697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Profile using sales and demographic metrics</a:t>
                </a:r>
              </a:p>
            </p:txBody>
          </p:sp>
          <p:sp>
            <p:nvSpPr>
              <p:cNvPr id="21" name="Google Shape;1636;p44">
                <a:extLst>
                  <a:ext uri="{FF2B5EF4-FFF2-40B4-BE49-F238E27FC236}">
                    <a16:creationId xmlns:a16="http://schemas.microsoft.com/office/drawing/2014/main" id="{4A1C5826-6AAD-F53A-6C4C-88410F16997C}"/>
                  </a:ext>
                </a:extLst>
              </p:cNvPr>
              <p:cNvSpPr txBox="1"/>
              <p:nvPr/>
            </p:nvSpPr>
            <p:spPr>
              <a:xfrm flipH="1">
                <a:off x="2541923" y="4117560"/>
                <a:ext cx="1425782" cy="12895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bg2">
                        <a:lumMod val="50000"/>
                      </a:schemeClr>
                    </a:solidFill>
                    <a:latin typeface="Montserrat" panose="00000500000000000000" pitchFamily="2" charset="0"/>
                    <a:ea typeface="Source Sans Pro"/>
                    <a:cs typeface="Source Sans Pro"/>
                    <a:sym typeface="Source Sans Pro"/>
                  </a:rPr>
                  <a:t>Estimate Future Margin Value using Margin Regression Model</a:t>
                </a:r>
              </a:p>
            </p:txBody>
          </p:sp>
          <p:sp>
            <p:nvSpPr>
              <p:cNvPr id="22" name="Google Shape;1634;p44">
                <a:extLst>
                  <a:ext uri="{FF2B5EF4-FFF2-40B4-BE49-F238E27FC236}">
                    <a16:creationId xmlns:a16="http://schemas.microsoft.com/office/drawing/2014/main" id="{DD5884E5-5B5D-2D77-BACF-E5AF81CFBFF9}"/>
                  </a:ext>
                </a:extLst>
              </p:cNvPr>
              <p:cNvSpPr/>
              <p:nvPr/>
            </p:nvSpPr>
            <p:spPr>
              <a:xfrm>
                <a:off x="7681199" y="2683975"/>
                <a:ext cx="176400" cy="176400"/>
              </a:xfrm>
              <a:prstGeom prst="rect">
                <a:avLst/>
              </a:prstGeom>
              <a:solidFill>
                <a:srgbClr val="032A0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23" name="Google Shape;1646;p44">
                <a:extLst>
                  <a:ext uri="{FF2B5EF4-FFF2-40B4-BE49-F238E27FC236}">
                    <a16:creationId xmlns:a16="http://schemas.microsoft.com/office/drawing/2014/main" id="{92B6A653-779B-4F45-7846-4EFC1C5BF600}"/>
                  </a:ext>
                </a:extLst>
              </p:cNvPr>
              <p:cNvCxnSpPr>
                <a:cxnSpLocks/>
                <a:stCxn id="6" idx="2"/>
              </p:cNvCxnSpPr>
              <p:nvPr/>
            </p:nvCxnSpPr>
            <p:spPr>
              <a:xfrm>
                <a:off x="4756697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4" name="Google Shape;1646;p44">
                <a:extLst>
                  <a:ext uri="{FF2B5EF4-FFF2-40B4-BE49-F238E27FC236}">
                    <a16:creationId xmlns:a16="http://schemas.microsoft.com/office/drawing/2014/main" id="{3E4296E2-1ACC-0261-26BE-822B878F3873}"/>
                  </a:ext>
                </a:extLst>
              </p:cNvPr>
              <p:cNvCxnSpPr>
                <a:cxnSpLocks/>
                <a:stCxn id="8" idx="2"/>
              </p:cNvCxnSpPr>
              <p:nvPr/>
            </p:nvCxnSpPr>
            <p:spPr>
              <a:xfrm>
                <a:off x="6263048" y="2880803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5" name="Google Shape;1646;p44">
                <a:extLst>
                  <a:ext uri="{FF2B5EF4-FFF2-40B4-BE49-F238E27FC236}">
                    <a16:creationId xmlns:a16="http://schemas.microsoft.com/office/drawing/2014/main" id="{9023D449-69CB-7F20-F24C-3D6C94C9FD67}"/>
                  </a:ext>
                </a:extLst>
              </p:cNvPr>
              <p:cNvCxnSpPr>
                <a:cxnSpLocks/>
                <a:stCxn id="22" idx="2"/>
              </p:cNvCxnSpPr>
              <p:nvPr/>
            </p:nvCxnSpPr>
            <p:spPr>
              <a:xfrm>
                <a:off x="7769399" y="2860375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26" name="Google Shape;1646;p44">
                <a:extLst>
                  <a:ext uri="{FF2B5EF4-FFF2-40B4-BE49-F238E27FC236}">
                    <a16:creationId xmlns:a16="http://schemas.microsoft.com/office/drawing/2014/main" id="{F1ADA31C-B292-3077-FF1F-ED058FC1D71E}"/>
                  </a:ext>
                </a:extLst>
              </p:cNvPr>
              <p:cNvCxnSpPr>
                <a:cxnSpLocks/>
                <a:stCxn id="5" idx="2"/>
              </p:cNvCxnSpPr>
              <p:nvPr/>
            </p:nvCxnSpPr>
            <p:spPr>
              <a:xfrm>
                <a:off x="3250346" y="2880804"/>
                <a:ext cx="0" cy="621792"/>
              </a:xfrm>
              <a:prstGeom prst="straightConnector1">
                <a:avLst/>
              </a:prstGeom>
              <a:noFill/>
              <a:ln w="19050" cap="flat" cmpd="sng">
                <a:solidFill>
                  <a:srgbClr val="032A0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pic>
          <p:nvPicPr>
            <p:cNvPr id="27" name="Graphic 26" descr="Badge 1 outline">
              <a:extLst>
                <a:ext uri="{FF2B5EF4-FFF2-40B4-BE49-F238E27FC236}">
                  <a16:creationId xmlns:a16="http://schemas.microsoft.com/office/drawing/2014/main" id="{AFACEFBB-7889-C9BA-A99A-942B7B8A0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8121" y="1015086"/>
              <a:ext cx="653908" cy="653908"/>
            </a:xfrm>
            <a:prstGeom prst="rect">
              <a:avLst/>
            </a:prstGeom>
          </p:spPr>
        </p:pic>
        <p:pic>
          <p:nvPicPr>
            <p:cNvPr id="28" name="Graphic 27" descr="Badge outline">
              <a:extLst>
                <a:ext uri="{FF2B5EF4-FFF2-40B4-BE49-F238E27FC236}">
                  <a16:creationId xmlns:a16="http://schemas.microsoft.com/office/drawing/2014/main" id="{FB13A74A-5389-E598-A1F4-78402B7D1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456182" y="1015086"/>
              <a:ext cx="653908" cy="653908"/>
            </a:xfrm>
            <a:prstGeom prst="rect">
              <a:avLst/>
            </a:prstGeom>
          </p:spPr>
        </p:pic>
        <p:pic>
          <p:nvPicPr>
            <p:cNvPr id="29" name="Graphic 28" descr="Badge 3 outline">
              <a:extLst>
                <a:ext uri="{FF2B5EF4-FFF2-40B4-BE49-F238E27FC236}">
                  <a16:creationId xmlns:a16="http://schemas.microsoft.com/office/drawing/2014/main" id="{A18C82D6-A43F-61A7-5BE8-A1C1728EA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078501" y="1015086"/>
              <a:ext cx="653908" cy="653908"/>
            </a:xfrm>
            <a:prstGeom prst="rect">
              <a:avLst/>
            </a:prstGeom>
          </p:spPr>
        </p:pic>
        <p:pic>
          <p:nvPicPr>
            <p:cNvPr id="30" name="Graphic 29" descr="Badge 4 outline">
              <a:extLst>
                <a:ext uri="{FF2B5EF4-FFF2-40B4-BE49-F238E27FC236}">
                  <a16:creationId xmlns:a16="http://schemas.microsoft.com/office/drawing/2014/main" id="{FDC653F2-BB1E-20AE-3336-BC95B04FD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15554" y="1015086"/>
              <a:ext cx="653908" cy="653908"/>
            </a:xfrm>
            <a:prstGeom prst="rect">
              <a:avLst/>
            </a:prstGeom>
          </p:spPr>
        </p:pic>
        <p:pic>
          <p:nvPicPr>
            <p:cNvPr id="31" name="Graphic 30" descr="Badge 5 outline">
              <a:extLst>
                <a:ext uri="{FF2B5EF4-FFF2-40B4-BE49-F238E27FC236}">
                  <a16:creationId xmlns:a16="http://schemas.microsoft.com/office/drawing/2014/main" id="{E2326535-B1E2-577D-1679-EDC5A67CB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333615" y="996486"/>
              <a:ext cx="653908" cy="6539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0697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D821E07-0C78-9EAC-03E8-B886F2159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32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821E07-0C78-9EAC-03E8-B886F2159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7" name="Google Shape;407;p34"/>
          <p:cNvSpPr txBox="1">
            <a:spLocks noGrp="1"/>
          </p:cNvSpPr>
          <p:nvPr>
            <p:ph type="title" idx="4294967295"/>
          </p:nvPr>
        </p:nvSpPr>
        <p:spPr>
          <a:xfrm>
            <a:off x="600316" y="130047"/>
            <a:ext cx="7883525" cy="46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accent2">
                    <a:lumMod val="10000"/>
                  </a:schemeClr>
                </a:solidFill>
              </a:rPr>
              <a:t>Executive Summary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6CAA7BF-D41C-EE43-F04E-0ED5D57A1F32}"/>
              </a:ext>
            </a:extLst>
          </p:cNvPr>
          <p:cNvGrpSpPr/>
          <p:nvPr/>
        </p:nvGrpSpPr>
        <p:grpSpPr>
          <a:xfrm>
            <a:off x="681700" y="3423509"/>
            <a:ext cx="7666659" cy="896492"/>
            <a:chOff x="252296" y="830177"/>
            <a:chExt cx="7666659" cy="1221900"/>
          </a:xfrm>
          <a:solidFill>
            <a:schemeClr val="accent4">
              <a:lumMod val="20000"/>
              <a:lumOff val="80000"/>
            </a:schemeClr>
          </a:solidFill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23BA198-C356-CA0F-8BF2-E753522DA669}"/>
                </a:ext>
              </a:extLst>
            </p:cNvPr>
            <p:cNvGrpSpPr/>
            <p:nvPr/>
          </p:nvGrpSpPr>
          <p:grpSpPr>
            <a:xfrm>
              <a:off x="306388" y="884657"/>
              <a:ext cx="7612567" cy="1167420"/>
              <a:chOff x="306388" y="884657"/>
              <a:chExt cx="7612567" cy="1167420"/>
            </a:xfrm>
            <a:grpFill/>
          </p:grpSpPr>
          <p:sp>
            <p:nvSpPr>
              <p:cNvPr id="47" name="Rectangle 37">
                <a:extLst>
                  <a:ext uri="{FF2B5EF4-FFF2-40B4-BE49-F238E27FC236}">
                    <a16:creationId xmlns:a16="http://schemas.microsoft.com/office/drawing/2014/main" id="{86498A5D-9013-3335-FCBC-BE1B2686ED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06388" y="884657"/>
                <a:ext cx="7612567" cy="1167420"/>
              </a:xfrm>
              <a:prstGeom prst="rect">
                <a:avLst/>
              </a:prstGeom>
              <a:grpFill/>
              <a:ln w="12700">
                <a:solidFill>
                  <a:schemeClr val="tx1">
                    <a:lumMod val="75000"/>
                  </a:schemeClr>
                </a:solidFill>
              </a:ln>
            </p:spPr>
            <p:txBody>
              <a:bodyPr vert="horz" wrap="square" lIns="60008" tIns="30004" rIns="60008" bIns="30004" numCol="1" anchor="t" anchorCtr="0" compatLnSpc="1">
                <a:prstTxWarp prst="textNoShape">
                  <a:avLst/>
                </a:prstTxWarp>
              </a:bodyPr>
              <a:lstStyle/>
              <a:p>
                <a:pPr defTabSz="1200241"/>
                <a:endParaRPr lang="en-US" sz="2363">
                  <a:solidFill>
                    <a:prstClr val="black"/>
                  </a:solidFill>
                  <a:latin typeface="Lato" panose="020F0502020204030203" pitchFamily="34" charset="0"/>
                </a:endParaRPr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1C158D5-6440-7E9B-D847-9307BA3E7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5504" y="884658"/>
                <a:ext cx="0" cy="1167419"/>
              </a:xfrm>
              <a:prstGeom prst="line">
                <a:avLst/>
              </a:prstGeom>
              <a:grpFill/>
              <a:ln w="12700">
                <a:solidFill>
                  <a:schemeClr val="tx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4DAA71A-304D-69D7-70A0-426DD0423008}"/>
                </a:ext>
              </a:extLst>
            </p:cNvPr>
            <p:cNvSpPr txBox="1"/>
            <p:nvPr/>
          </p:nvSpPr>
          <p:spPr>
            <a:xfrm>
              <a:off x="1778572" y="830177"/>
              <a:ext cx="6138956" cy="11250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>
                  <a:latin typeface="Montserrat" panose="00000500000000000000" pitchFamily="2" charset="0"/>
                </a:rPr>
                <a:t>Immediate focus required for disengaged customers. 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>
                  <a:latin typeface="Montserrat" panose="00000500000000000000" pitchFamily="2" charset="0"/>
                </a:rPr>
                <a:t>Tailored loyalty campaigns for high-value customer groups – long term value.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sz="1100">
                  <a:latin typeface="Montserrat" panose="00000500000000000000" pitchFamily="2" charset="0"/>
                </a:rPr>
                <a:t>Higher Tier offerings need revamping to offer better value for money.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63A64D0-B07C-CD02-6CDA-FB5E08CB0B51}"/>
                </a:ext>
              </a:extLst>
            </p:cNvPr>
            <p:cNvSpPr txBox="1"/>
            <p:nvPr/>
          </p:nvSpPr>
          <p:spPr>
            <a:xfrm>
              <a:off x="252296" y="1628027"/>
              <a:ext cx="1587643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latin typeface="Montserrat" panose="00000500000000000000" pitchFamily="2" charset="0"/>
                </a:rPr>
                <a:t>Recommendation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F92DC02-5138-5406-814F-6CC5B3F1CBFD}"/>
              </a:ext>
            </a:extLst>
          </p:cNvPr>
          <p:cNvGrpSpPr/>
          <p:nvPr/>
        </p:nvGrpSpPr>
        <p:grpSpPr>
          <a:xfrm>
            <a:off x="735795" y="937647"/>
            <a:ext cx="7612567" cy="836388"/>
            <a:chOff x="312232" y="1833183"/>
            <a:chExt cx="7612567" cy="70940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97C5CC4-5623-0991-A1A2-09107AE78CAD}"/>
                </a:ext>
              </a:extLst>
            </p:cNvPr>
            <p:cNvGrpSpPr/>
            <p:nvPr/>
          </p:nvGrpSpPr>
          <p:grpSpPr>
            <a:xfrm>
              <a:off x="312232" y="1833183"/>
              <a:ext cx="7612567" cy="709403"/>
              <a:chOff x="312232" y="1025444"/>
              <a:chExt cx="7612567" cy="709403"/>
            </a:xfrm>
            <a:solidFill>
              <a:schemeClr val="accent4">
                <a:lumMod val="20000"/>
                <a:lumOff val="80000"/>
              </a:schemeClr>
            </a:solidFill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59E44EAF-88BC-6A26-F841-DCE75B7A19B6}"/>
                  </a:ext>
                </a:extLst>
              </p:cNvPr>
              <p:cNvGrpSpPr/>
              <p:nvPr/>
            </p:nvGrpSpPr>
            <p:grpSpPr>
              <a:xfrm>
                <a:off x="312232" y="1034746"/>
                <a:ext cx="7612567" cy="700101"/>
                <a:chOff x="312232" y="1034746"/>
                <a:chExt cx="7612567" cy="700101"/>
              </a:xfrm>
              <a:grpFill/>
            </p:grpSpPr>
            <p:sp>
              <p:nvSpPr>
                <p:cNvPr id="33" name="Rectangle 37">
                  <a:extLst>
                    <a:ext uri="{FF2B5EF4-FFF2-40B4-BE49-F238E27FC236}">
                      <a16:creationId xmlns:a16="http://schemas.microsoft.com/office/drawing/2014/main" id="{F5A08578-670F-D68C-67AF-28F1E856DD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0800000">
                  <a:off x="312232" y="1034746"/>
                  <a:ext cx="7612567" cy="700101"/>
                </a:xfrm>
                <a:prstGeom prst="rect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txBody>
                <a:bodyPr vert="horz" wrap="square" lIns="60008" tIns="30004" rIns="60008" bIns="30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00241"/>
                  <a:endParaRPr lang="en-US" sz="2363">
                    <a:solidFill>
                      <a:prstClr val="black"/>
                    </a:solidFill>
                    <a:latin typeface="Lato" panose="020F0502020204030203" pitchFamily="34" charset="0"/>
                  </a:endParaRP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4D709CDA-414B-5507-AD80-780546E7E9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24722" y="1034749"/>
                  <a:ext cx="0" cy="700098"/>
                </a:xfrm>
                <a:prstGeom prst="line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93477CE-2EF3-37A5-7F8D-B548FB966A6C}"/>
                  </a:ext>
                </a:extLst>
              </p:cNvPr>
              <p:cNvSpPr txBox="1"/>
              <p:nvPr/>
            </p:nvSpPr>
            <p:spPr>
              <a:xfrm>
                <a:off x="1784413" y="1025444"/>
                <a:ext cx="6128442" cy="7000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>
                    <a:latin typeface="Montserrat" panose="00000500000000000000" pitchFamily="2" charset="0"/>
                  </a:rPr>
                  <a:t>Retail customer engagement is multifaceted &amp; exhibit diverse behaviors - influencing their loyalty and spending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>
                    <a:latin typeface="Montserrat" panose="00000500000000000000" pitchFamily="2" charset="0"/>
                  </a:rPr>
                  <a:t>Retaining customers is crucial for creating long term engagement &amp; value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1DE3A33-A3D8-3DD7-FFF9-E2E64178C66D}"/>
                  </a:ext>
                </a:extLst>
              </p:cNvPr>
              <p:cNvSpPr txBox="1"/>
              <p:nvPr/>
            </p:nvSpPr>
            <p:spPr>
              <a:xfrm>
                <a:off x="384020" y="1365629"/>
                <a:ext cx="145238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>
                    <a:latin typeface="Montserrat" panose="00000500000000000000" pitchFamily="2" charset="0"/>
                  </a:rPr>
                  <a:t>Complication</a:t>
                </a:r>
              </a:p>
            </p:txBody>
          </p:sp>
        </p:grpSp>
        <p:pic>
          <p:nvPicPr>
            <p:cNvPr id="54" name="Graphic 53" descr="Warning outline">
              <a:extLst>
                <a:ext uri="{FF2B5EF4-FFF2-40B4-BE49-F238E27FC236}">
                  <a16:creationId xmlns:a16="http://schemas.microsoft.com/office/drawing/2014/main" id="{95E632D9-03B6-6617-6D1B-009AA411B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3336" y="1862358"/>
              <a:ext cx="344988" cy="344988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3B3E554-BABF-B432-F988-AF0ADA4D4D78}"/>
              </a:ext>
            </a:extLst>
          </p:cNvPr>
          <p:cNvGrpSpPr/>
          <p:nvPr/>
        </p:nvGrpSpPr>
        <p:grpSpPr>
          <a:xfrm>
            <a:off x="735796" y="2210123"/>
            <a:ext cx="7612567" cy="845313"/>
            <a:chOff x="299976" y="2633648"/>
            <a:chExt cx="7576646" cy="910097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C252AE1-338F-8620-5FEC-F11B9A1E0C0A}"/>
                </a:ext>
              </a:extLst>
            </p:cNvPr>
            <p:cNvGrpSpPr/>
            <p:nvPr/>
          </p:nvGrpSpPr>
          <p:grpSpPr>
            <a:xfrm>
              <a:off x="299976" y="2633648"/>
              <a:ext cx="7576646" cy="910097"/>
              <a:chOff x="299976" y="2526754"/>
              <a:chExt cx="7576646" cy="1052999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DD327FC0-4A8B-ED28-4FE6-2502092F375F}"/>
                  </a:ext>
                </a:extLst>
              </p:cNvPr>
              <p:cNvGrpSpPr/>
              <p:nvPr/>
            </p:nvGrpSpPr>
            <p:grpSpPr>
              <a:xfrm>
                <a:off x="312232" y="2571749"/>
                <a:ext cx="7564390" cy="1008004"/>
                <a:chOff x="312232" y="1034747"/>
                <a:chExt cx="7564390" cy="1277383"/>
              </a:xfrm>
              <a:solidFill>
                <a:schemeClr val="accent4">
                  <a:lumMod val="20000"/>
                  <a:lumOff val="80000"/>
                </a:schemeClr>
              </a:solidFill>
            </p:grpSpPr>
            <p:sp>
              <p:nvSpPr>
                <p:cNvPr id="39" name="Rectangle 37">
                  <a:extLst>
                    <a:ext uri="{FF2B5EF4-FFF2-40B4-BE49-F238E27FC236}">
                      <a16:creationId xmlns:a16="http://schemas.microsoft.com/office/drawing/2014/main" id="{E155505F-2FA3-E458-A59F-70D11671E7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0800000">
                  <a:off x="312232" y="1034747"/>
                  <a:ext cx="7564390" cy="1277380"/>
                </a:xfrm>
                <a:prstGeom prst="rect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txBody>
                <a:bodyPr vert="horz" wrap="square" lIns="60008" tIns="30004" rIns="60008" bIns="30004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00241"/>
                  <a:endParaRPr lang="en-US" sz="2363">
                    <a:solidFill>
                      <a:prstClr val="black"/>
                    </a:solidFill>
                    <a:latin typeface="Lato" panose="020F0502020204030203" pitchFamily="34" charset="0"/>
                  </a:endParaRPr>
                </a:p>
              </p:txBody>
            </p: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5806C1FE-E4EB-4B81-1E36-698E24AA9A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24722" y="1034750"/>
                  <a:ext cx="0" cy="1277380"/>
                </a:xfrm>
                <a:prstGeom prst="line">
                  <a:avLst/>
                </a:prstGeom>
                <a:grpFill/>
                <a:ln w="12700">
                  <a:solidFill>
                    <a:schemeClr val="tx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39FC097-85EB-CA53-776E-44365FB5FB91}"/>
                  </a:ext>
                </a:extLst>
              </p:cNvPr>
              <p:cNvSpPr txBox="1"/>
              <p:nvPr/>
            </p:nvSpPr>
            <p:spPr>
              <a:xfrm>
                <a:off x="1780004" y="2526754"/>
                <a:ext cx="6084730" cy="1028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>
                    <a:latin typeface="Montserrat" panose="00000500000000000000" pitchFamily="2" charset="0"/>
                  </a:rPr>
                  <a:t>Customers are concentrated in the lower tiers and have highest rates of churn.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>
                    <a:latin typeface="Montserrat" panose="00000500000000000000" pitchFamily="2" charset="0"/>
                  </a:rPr>
                  <a:t>Different demographic groups have varying preferences and rate of churn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1100">
                    <a:latin typeface="Montserrat" panose="00000500000000000000" pitchFamily="2" charset="0"/>
                  </a:rPr>
                  <a:t>Segmenting customers into groups can help design targeted strategie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D3F139A7-C931-B759-B404-820140C6773D}"/>
                  </a:ext>
                </a:extLst>
              </p:cNvPr>
              <p:cNvSpPr txBox="1"/>
              <p:nvPr/>
            </p:nvSpPr>
            <p:spPr>
              <a:xfrm>
                <a:off x="299976" y="3180429"/>
                <a:ext cx="145238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>
                    <a:latin typeface="Montserrat" panose="00000500000000000000" pitchFamily="2" charset="0"/>
                  </a:rPr>
                  <a:t>Varying Problems</a:t>
                </a:r>
              </a:p>
            </p:txBody>
          </p:sp>
        </p:grpSp>
        <p:pic>
          <p:nvPicPr>
            <p:cNvPr id="58" name="Graphic 57" descr="Customer review outline">
              <a:extLst>
                <a:ext uri="{FF2B5EF4-FFF2-40B4-BE49-F238E27FC236}">
                  <a16:creationId xmlns:a16="http://schemas.microsoft.com/office/drawing/2014/main" id="{F0B00FCC-DF0E-61A6-8C36-1D7239AAB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1394" y="2762045"/>
              <a:ext cx="500067" cy="500071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60" name="Graphic 59" descr="Good Idea outline">
            <a:extLst>
              <a:ext uri="{FF2B5EF4-FFF2-40B4-BE49-F238E27FC236}">
                <a16:creationId xmlns:a16="http://schemas.microsoft.com/office/drawing/2014/main" id="{4566E9E7-D007-29EC-AA8B-798CF2520E1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62051" y="3655279"/>
            <a:ext cx="469511" cy="46951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00269-70E4-6E46-EBC3-067276CD0933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30399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E92B82-86F3-9DAE-CCB0-A8B46E3F36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27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E92B82-86F3-9DAE-CCB0-A8B46E3F3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2E3E6EA-111F-56AA-553A-86DC364360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8289" y="1795463"/>
            <a:ext cx="9021158" cy="1552573"/>
          </a:xfrm>
        </p:spPr>
        <p:txBody>
          <a:bodyPr vert="horz"/>
          <a:lstStyle/>
          <a:p>
            <a:r>
              <a:rPr lang="en-US" sz="4600"/>
              <a:t>EXPLORATORY DATA ANALYSI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720BBE8-E596-B9A7-45B8-8DA2E0F1DD2F}"/>
              </a:ext>
            </a:extLst>
          </p:cNvPr>
          <p:cNvCxnSpPr>
            <a:cxnSpLocks/>
          </p:cNvCxnSpPr>
          <p:nvPr/>
        </p:nvCxnSpPr>
        <p:spPr>
          <a:xfrm>
            <a:off x="734400" y="2571750"/>
            <a:ext cx="7675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DF4F40-E799-C5C9-9D0B-EC9115FD43EC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8472458" y="4663217"/>
            <a:ext cx="548700" cy="3936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5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42642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0D3A0-9B40-3B51-223C-56F055956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BA8E26D-2897-9A56-50E5-63D1F6218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81" imgH="281" progId="TCLayout.ActiveDocument.1">
                  <p:embed/>
                </p:oleObj>
              </mc:Choice>
              <mc:Fallback>
                <p:oleObj name="think-cell Slide" r:id="rId21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8E26D-2897-9A56-50E5-63D1F6218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83916FF5-C794-3F1D-7425-ABA94AF9060F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Year 1 Churn Rate – A look across the different subscription tie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0936D2-78B3-4F9A-E24E-9B90A0990350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6</a:t>
            </a:fld>
            <a:endParaRPr lang="en"/>
          </a:p>
        </p:txBody>
      </p:sp>
      <p:graphicFrame>
        <p:nvGraphicFramePr>
          <p:cNvPr id="251" name="Chart 250">
            <a:extLst>
              <a:ext uri="{FF2B5EF4-FFF2-40B4-BE49-F238E27FC236}">
                <a16:creationId xmlns:a16="http://schemas.microsoft.com/office/drawing/2014/main" id="{8C9B43C5-3950-CEF3-DA81-ABF0F880D20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154512"/>
              </p:ext>
            </p:extLst>
          </p:nvPr>
        </p:nvGraphicFramePr>
        <p:xfrm>
          <a:off x="657225" y="1643063"/>
          <a:ext cx="1822450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3" name="Google Shape;7;p1">
            <a:extLst>
              <a:ext uri="{FF2B5EF4-FFF2-40B4-BE49-F238E27FC236}">
                <a16:creationId xmlns:a16="http://schemas.microsoft.com/office/drawing/2014/main" id="{723B7A64-8822-A266-AD85-62EBF45D2581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06463" y="3963988"/>
            <a:ext cx="49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DA5E36-0D0E-4D03-849A-02C4744D6864}" type="datetime'''''''''Ch''''''u''r''''''''''''''''''n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Google Shape;7;p1">
            <a:extLst>
              <a:ext uri="{FF2B5EF4-FFF2-40B4-BE49-F238E27FC236}">
                <a16:creationId xmlns:a16="http://schemas.microsoft.com/office/drawing/2014/main" id="{0CA2796F-7507-C206-6B1E-01D1E0AB57C4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73213" y="3963988"/>
            <a:ext cx="82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CAA8B5-715B-42F7-A11B-6A0E107514F9}" type="datetime'''''''''N''ot'''' ''Ch''''u''''''''''''''''''''rn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t 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Google Shape;7;p1">
            <a:extLst>
              <a:ext uri="{FF2B5EF4-FFF2-40B4-BE49-F238E27FC236}">
                <a16:creationId xmlns:a16="http://schemas.microsoft.com/office/drawing/2014/main" id="{0CC65E44-9534-EA01-4FFF-B743ECBE8E92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77888" y="2906713"/>
            <a:ext cx="554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67BD2D3-3BB9-437E-B4A3-7F78981FD776}" type="datetime'''''''''2''''''''''6''''''''''''''''.''''4''%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.4%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Google Shape;7;p1">
            <a:extLst>
              <a:ext uri="{FF2B5EF4-FFF2-40B4-BE49-F238E27FC236}">
                <a16:creationId xmlns:a16="http://schemas.microsoft.com/office/drawing/2014/main" id="{3908AAB8-584D-B031-849F-8C900A2C8FCC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06563" y="1508125"/>
            <a:ext cx="554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9D6FB8-E1AE-4945-A316-E0CCA1325D1D}" type="datetime'''''''''''''''''''''''73''''.''6%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.6%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49" name="Chart 248">
            <a:extLst>
              <a:ext uri="{FF2B5EF4-FFF2-40B4-BE49-F238E27FC236}">
                <a16:creationId xmlns:a16="http://schemas.microsoft.com/office/drawing/2014/main" id="{C310EAA2-99B8-5892-CF21-C5E1FD1B34FE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4824012"/>
              </p:ext>
            </p:extLst>
          </p:nvPr>
        </p:nvGraphicFramePr>
        <p:xfrm>
          <a:off x="3687763" y="1419225"/>
          <a:ext cx="4749800" cy="279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552C93BE-EC21-8B94-40BB-E3CBCF6707E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8202613" y="1725613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Google Shape;7;p1">
            <a:extLst>
              <a:ext uri="{FF2B5EF4-FFF2-40B4-BE49-F238E27FC236}">
                <a16:creationId xmlns:a16="http://schemas.microsoft.com/office/drawing/2014/main" id="{276F5396-C52A-E6AC-C7AB-D1EEE92C835E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41763" y="3963988"/>
            <a:ext cx="574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DE0138-BFCD-4002-930D-6E14019940A7}" type="datetime'''''''''''''B''r''''o''''''n''''''''z''''''''e''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onze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6" name="Google Shape;7;p1">
            <a:extLst>
              <a:ext uri="{FF2B5EF4-FFF2-40B4-BE49-F238E27FC236}">
                <a16:creationId xmlns:a16="http://schemas.microsoft.com/office/drawing/2014/main" id="{95E9B8A4-60CC-F2F9-3FBB-8D4E9603E3B8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916488" y="3963988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CF6C7AD-7110-4C30-B271-87F9FB028668}" type="datetime'''''S''''''''''i''''''''''''''''''l''''v''''''e''''''''''r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ilver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Google Shape;7;p1">
            <a:extLst>
              <a:ext uri="{FF2B5EF4-FFF2-40B4-BE49-F238E27FC236}">
                <a16:creationId xmlns:a16="http://schemas.microsoft.com/office/drawing/2014/main" id="{3E36FC66-98C4-EB36-EAC3-B01DE7704560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68988" y="3963988"/>
            <a:ext cx="387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19BBEE-A169-4132-9AE2-031FE83513A4}" type="datetime'''''''''''''''''''''''G''''''o''''''''l''d''''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old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8" name="Google Shape;7;p1">
            <a:extLst>
              <a:ext uri="{FF2B5EF4-FFF2-40B4-BE49-F238E27FC236}">
                <a16:creationId xmlns:a16="http://schemas.microsoft.com/office/drawing/2014/main" id="{46E039E3-32F1-FF6E-79B5-3F024BC4357C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27813" y="3963988"/>
            <a:ext cx="703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786625-D2CE-4F3A-B1EF-E261BFB91CFF}" type="datetime'''''''''''P''''''''''''l''''''''''''''''a''''ti''''num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latinum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9" name="Google Shape;7;p1">
            <a:extLst>
              <a:ext uri="{FF2B5EF4-FFF2-40B4-BE49-F238E27FC236}">
                <a16:creationId xmlns:a16="http://schemas.microsoft.com/office/drawing/2014/main" id="{C13D4A1B-62CE-365A-7A65-59B180393B8F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535863" y="3963988"/>
            <a:ext cx="722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54E021-5846-4E00-892D-8C2BE00A82AD}" type="datetime'''''''''''''''Di''''''''''''amo''''''''''n''''''''''d''''''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iamond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4" name="Google Shape;7;p1">
            <a:extLst>
              <a:ext uri="{FF2B5EF4-FFF2-40B4-BE49-F238E27FC236}">
                <a16:creationId xmlns:a16="http://schemas.microsoft.com/office/drawing/2014/main" id="{82E3010E-1F9B-C04B-2835-A296ACB887D0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56613" y="1635125"/>
            <a:ext cx="387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83E4068-F252-491C-81D6-D4450B3B67B6}" type="datetime'''''1''00''''''''''''''''''''%'''''''''''''''">
              <a:rPr lang="en-US" altLang="en-US" sz="120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FFFDDA57-FACA-ED93-511A-CCD4C835DF8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061075" y="1319213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688D5F9-73FB-C50C-46B0-4166343FFBB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946900" y="1319213"/>
            <a:ext cx="250825" cy="18732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Google Shape;7;p1">
            <a:extLst>
              <a:ext uri="{FF2B5EF4-FFF2-40B4-BE49-F238E27FC236}">
                <a16:creationId xmlns:a16="http://schemas.microsoft.com/office/drawing/2014/main" id="{5249E503-E607-B2F9-2DC9-3003A0B56B41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62700" y="1314450"/>
            <a:ext cx="482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0D862E8-AC8B-4D94-83A1-E508251984C5}" type="datetime'''''''''''''''''C''''''''''''''h''''''''ur''''n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" name="Google Shape;7;p1">
            <a:extLst>
              <a:ext uri="{FF2B5EF4-FFF2-40B4-BE49-F238E27FC236}">
                <a16:creationId xmlns:a16="http://schemas.microsoft.com/office/drawing/2014/main" id="{E65A4E40-5C75-B733-7630-22FA07F68E6C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248525" y="1314450"/>
            <a:ext cx="808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00B11A0-0EBA-4214-8BEE-35979D1FE90A}" type="datetime'No''t ''''C''''''''h''u''''''''''''r''''''''''''n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Not 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5" name="Google Shape;1636;p44">
            <a:extLst>
              <a:ext uri="{FF2B5EF4-FFF2-40B4-BE49-F238E27FC236}">
                <a16:creationId xmlns:a16="http://schemas.microsoft.com/office/drawing/2014/main" id="{D9C55A56-76E5-14CF-E611-71E1501F1365}"/>
              </a:ext>
            </a:extLst>
          </p:cNvPr>
          <p:cNvSpPr txBox="1"/>
          <p:nvPr/>
        </p:nvSpPr>
        <p:spPr>
          <a:xfrm flipH="1">
            <a:off x="982980" y="803405"/>
            <a:ext cx="6807120" cy="387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Customers from lower subscription tiers are at a much higher risk of churning. Customers are concentrated in these tiers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3961EA44-4607-0E63-6C70-B9C5C69E2173}"/>
              </a:ext>
            </a:extLst>
          </p:cNvPr>
          <p:cNvSpPr/>
          <p:nvPr/>
        </p:nvSpPr>
        <p:spPr>
          <a:xfrm>
            <a:off x="3527426" y="1419225"/>
            <a:ext cx="2162175" cy="2792413"/>
          </a:xfrm>
          <a:prstGeom prst="rect">
            <a:avLst/>
          </a:prstGeom>
          <a:noFill/>
          <a:ln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52" name="Table 251">
            <a:extLst>
              <a:ext uri="{FF2B5EF4-FFF2-40B4-BE49-F238E27FC236}">
                <a16:creationId xmlns:a16="http://schemas.microsoft.com/office/drawing/2014/main" id="{E7C0C3AE-5238-B117-543A-E6ED31784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969119"/>
              </p:ext>
            </p:extLst>
          </p:nvPr>
        </p:nvGraphicFramePr>
        <p:xfrm>
          <a:off x="2849879" y="4220654"/>
          <a:ext cx="5517834" cy="396240"/>
        </p:xfrm>
        <a:graphic>
          <a:graphicData uri="http://schemas.openxmlformats.org/drawingml/2006/table">
            <a:tbl>
              <a:tblPr firstRow="1" bandRow="1">
                <a:tableStyleId>{3C5361E7-DA70-4391-9E19-CDB0772468EE}</a:tableStyleId>
              </a:tblPr>
              <a:tblGrid>
                <a:gridCol w="919639">
                  <a:extLst>
                    <a:ext uri="{9D8B030D-6E8A-4147-A177-3AD203B41FA5}">
                      <a16:colId xmlns:a16="http://schemas.microsoft.com/office/drawing/2014/main" val="3767770553"/>
                    </a:ext>
                  </a:extLst>
                </a:gridCol>
                <a:gridCol w="919639">
                  <a:extLst>
                    <a:ext uri="{9D8B030D-6E8A-4147-A177-3AD203B41FA5}">
                      <a16:colId xmlns:a16="http://schemas.microsoft.com/office/drawing/2014/main" val="1601578778"/>
                    </a:ext>
                  </a:extLst>
                </a:gridCol>
                <a:gridCol w="919639">
                  <a:extLst>
                    <a:ext uri="{9D8B030D-6E8A-4147-A177-3AD203B41FA5}">
                      <a16:colId xmlns:a16="http://schemas.microsoft.com/office/drawing/2014/main" val="3580154519"/>
                    </a:ext>
                  </a:extLst>
                </a:gridCol>
                <a:gridCol w="919639">
                  <a:extLst>
                    <a:ext uri="{9D8B030D-6E8A-4147-A177-3AD203B41FA5}">
                      <a16:colId xmlns:a16="http://schemas.microsoft.com/office/drawing/2014/main" val="3307139084"/>
                    </a:ext>
                  </a:extLst>
                </a:gridCol>
                <a:gridCol w="919639">
                  <a:extLst>
                    <a:ext uri="{9D8B030D-6E8A-4147-A177-3AD203B41FA5}">
                      <a16:colId xmlns:a16="http://schemas.microsoft.com/office/drawing/2014/main" val="4226884835"/>
                    </a:ext>
                  </a:extLst>
                </a:gridCol>
                <a:gridCol w="919639">
                  <a:extLst>
                    <a:ext uri="{9D8B030D-6E8A-4147-A177-3AD203B41FA5}">
                      <a16:colId xmlns:a16="http://schemas.microsoft.com/office/drawing/2014/main" val="4874308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Montserrat" panose="00000500000000000000" pitchFamily="2" charset="0"/>
                        </a:rPr>
                        <a:t>% Customers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latin typeface="Montserrat" panose="00000500000000000000" pitchFamily="2" charset="0"/>
                        </a:rPr>
                        <a:t>64.2%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latin typeface="Montserrat" panose="00000500000000000000" pitchFamily="2" charset="0"/>
                        </a:rPr>
                        <a:t>20.2%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Montserrat" panose="00000500000000000000" pitchFamily="2" charset="0"/>
                        </a:rPr>
                        <a:t>11.3%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Montserrat" panose="00000500000000000000" pitchFamily="2" charset="0"/>
                        </a:rPr>
                        <a:t>2.3%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Montserrat" panose="00000500000000000000" pitchFamily="2" charset="0"/>
                        </a:rPr>
                        <a:t>2.0%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1582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847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F9C3F7-FE3C-13F9-2B00-9E81D8BE9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2391E31-9A6C-6210-8BEF-7CDC84AA2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46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81" imgH="281" progId="TCLayout.ActiveDocument.1">
                  <p:embed/>
                </p:oleObj>
              </mc:Choice>
              <mc:Fallback>
                <p:oleObj name="think-cell Slide" r:id="rId25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391E31-9A6C-6210-8BEF-7CDC84AA2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BF61D701-20A6-8BBE-CCAE-B1C12B6F5BFD}"/>
              </a:ext>
            </a:extLst>
          </p:cNvPr>
          <p:cNvSpPr txBox="1">
            <a:spLocks/>
          </p:cNvSpPr>
          <p:nvPr/>
        </p:nvSpPr>
        <p:spPr>
          <a:xfrm>
            <a:off x="740076" y="97538"/>
            <a:ext cx="77817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Retained customers generate up to 2.5 times more revenue across 3 yea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B40960-B3F4-ABE8-4434-B2FDFF22DF08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7</a:t>
            </a:fld>
            <a:endParaRPr lang="en"/>
          </a:p>
        </p:txBody>
      </p: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3BBAA461-9BCC-2B90-DC15-5B5B596D9CC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30964"/>
              </p:ext>
            </p:extLst>
          </p:nvPr>
        </p:nvGraphicFramePr>
        <p:xfrm>
          <a:off x="149225" y="1547813"/>
          <a:ext cx="2952750" cy="291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EE02EF8-24D7-1EC9-1710-31527C72EE1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431925" y="3309938"/>
            <a:ext cx="1246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CBBD9C9-37A6-E32E-7E6D-3548EFC4B05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317750" y="1981200"/>
            <a:ext cx="3603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1B7151B-D9B7-E50A-9471-54CC2E174A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635250" y="1978025"/>
            <a:ext cx="0" cy="13350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Google Shape;7;p1">
            <a:extLst>
              <a:ext uri="{FF2B5EF4-FFF2-40B4-BE49-F238E27FC236}">
                <a16:creationId xmlns:a16="http://schemas.microsoft.com/office/drawing/2014/main" id="{D17F9698-26EA-7D41-4110-F462896EB8D6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5038" y="4219575"/>
            <a:ext cx="49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13E377-33D3-433C-99B3-0E64FDCED5BF}" type="datetime'''''''''C''''h''''''''''''u''r''''''''''''''''''n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Google Shape;7;p1">
            <a:extLst>
              <a:ext uri="{FF2B5EF4-FFF2-40B4-BE49-F238E27FC236}">
                <a16:creationId xmlns:a16="http://schemas.microsoft.com/office/drawing/2014/main" id="{DAD6EA0A-5D16-CCBC-C446-F49D63E62D97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660525" y="4219575"/>
            <a:ext cx="82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162FC4-F667-49A9-AA12-800F7F0F0BDD}" type="datetime'''''''N''''o''''t ''''Ch''u''''''''''''''''''r''n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t 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4" name="Google Shape;7;p1">
            <a:extLst>
              <a:ext uri="{FF2B5EF4-FFF2-40B4-BE49-F238E27FC236}">
                <a16:creationId xmlns:a16="http://schemas.microsoft.com/office/drawing/2014/main" id="{696905F0-17F8-B8FF-1ADF-FD1468009B30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92363" y="2536825"/>
            <a:ext cx="487363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5x</a:t>
            </a:r>
            <a:endParaRPr lang="en-US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16" name="Chart 115">
            <a:extLst>
              <a:ext uri="{FF2B5EF4-FFF2-40B4-BE49-F238E27FC236}">
                <a16:creationId xmlns:a16="http://schemas.microsoft.com/office/drawing/2014/main" id="{8094E439-7A0D-54E2-BE5E-07D5D7A6DD1E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59257564"/>
              </p:ext>
            </p:extLst>
          </p:nvPr>
        </p:nvGraphicFramePr>
        <p:xfrm>
          <a:off x="3632200" y="1547813"/>
          <a:ext cx="1987550" cy="291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0B29E440-567F-1686-BEA8-249888B2617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424363" y="1981200"/>
            <a:ext cx="1155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7A277DA-238F-8BC5-8B49-ABEE882018A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335588" y="2732088"/>
            <a:ext cx="244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57D30142-0276-4EBE-8E54-DCF91CDA2A6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537200" y="1978025"/>
            <a:ext cx="0" cy="7572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Google Shape;7;p1">
            <a:extLst>
              <a:ext uri="{FF2B5EF4-FFF2-40B4-BE49-F238E27FC236}">
                <a16:creationId xmlns:a16="http://schemas.microsoft.com/office/drawing/2014/main" id="{A3C43E77-B999-F264-3E36-6BD87C2BF814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21125" y="4219575"/>
            <a:ext cx="49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4F76B3-24B7-4DB7-A802-C45B55D77E6E}" type="datetime'C''''''''h''''u''''''''''''''''''''''''r''n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Google Shape;7;p1">
            <a:extLst>
              <a:ext uri="{FF2B5EF4-FFF2-40B4-BE49-F238E27FC236}">
                <a16:creationId xmlns:a16="http://schemas.microsoft.com/office/drawing/2014/main" id="{5FEF275B-2D10-D02C-3518-30C793C0CB45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70425" y="4219575"/>
            <a:ext cx="82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2E7CD1-C151-4743-92EC-7C5720777EDE}" type="datetime'N''o''t'' ''''''''C''h''''''''''u''''''''''r''n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t 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8" name="Google Shape;7;p1">
            <a:extLst>
              <a:ext uri="{FF2B5EF4-FFF2-40B4-BE49-F238E27FC236}">
                <a16:creationId xmlns:a16="http://schemas.microsoft.com/office/drawing/2014/main" id="{3773757E-8F39-A711-F644-FEF604C1369A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40325" y="2162175"/>
            <a:ext cx="795338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5D1F1C-92DC-4836-B1F1-B73A502B33F6}" type="datetime'-''''''3''''''4''''.''''5''''%'''''''''''''''''''''''''''">
              <a:rPr lang="en-US" altLang="en-US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4.5%</a:t>
            </a:fld>
            <a:endParaRPr lang="en-US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3222E45-18F8-0E11-AF49-AE24DD4B24F0}"/>
              </a:ext>
            </a:extLst>
          </p:cNvPr>
          <p:cNvSpPr txBox="1"/>
          <p:nvPr/>
        </p:nvSpPr>
        <p:spPr>
          <a:xfrm>
            <a:off x="501651" y="4444116"/>
            <a:ext cx="22478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latin typeface="Montserrat" panose="00000500000000000000" pitchFamily="2" charset="0"/>
              </a:rPr>
              <a:t>Average Purchase Amount – 3 Year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4E016F3-4A58-3C19-7633-731BF5C4D637}"/>
              </a:ext>
            </a:extLst>
          </p:cNvPr>
          <p:cNvSpPr txBox="1"/>
          <p:nvPr/>
        </p:nvSpPr>
        <p:spPr>
          <a:xfrm>
            <a:off x="3466784" y="4445772"/>
            <a:ext cx="2334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latin typeface="Montserrat" panose="00000500000000000000" pitchFamily="2" charset="0"/>
              </a:rPr>
              <a:t>Average Interval B/W Purchases</a:t>
            </a:r>
          </a:p>
        </p:txBody>
      </p:sp>
      <p:sp>
        <p:nvSpPr>
          <p:cNvPr id="117" name="Google Shape;1636;p44">
            <a:extLst>
              <a:ext uri="{FF2B5EF4-FFF2-40B4-BE49-F238E27FC236}">
                <a16:creationId xmlns:a16="http://schemas.microsoft.com/office/drawing/2014/main" id="{568F1A26-E2AE-2585-59E3-811D916422AD}"/>
              </a:ext>
            </a:extLst>
          </p:cNvPr>
          <p:cNvSpPr txBox="1"/>
          <p:nvPr/>
        </p:nvSpPr>
        <p:spPr>
          <a:xfrm flipH="1">
            <a:off x="935038" y="916620"/>
            <a:ext cx="7424102" cy="387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spcAft>
                <a:spcPts val="0"/>
              </a:spcAft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RFM Metrics will be crucial in determining Churn Risk. Significantly different b/c Churn and Not Churn</a:t>
            </a:r>
          </a:p>
        </p:txBody>
      </p:sp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id="{1EA5688A-3116-5A7E-91A4-AEC261E85610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71433102"/>
              </p:ext>
            </p:extLst>
          </p:nvPr>
        </p:nvGraphicFramePr>
        <p:xfrm>
          <a:off x="6567488" y="1547813"/>
          <a:ext cx="1987550" cy="291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E7CCC02-9B87-F71F-2A27-C199C117B35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359650" y="1981200"/>
            <a:ext cx="11557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2BCE66D-2336-4861-643D-59046C3D8AF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270875" y="3527425"/>
            <a:ext cx="244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D1BB89D8-80A4-F595-FE22-A4EA80AB0C3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472488" y="1978025"/>
            <a:ext cx="0" cy="15525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2" name="Google Shape;7;p1">
            <a:extLst>
              <a:ext uri="{FF2B5EF4-FFF2-40B4-BE49-F238E27FC236}">
                <a16:creationId xmlns:a16="http://schemas.microsoft.com/office/drawing/2014/main" id="{90AC9565-1E56-A369-C6EE-F20D677B09EB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56413" y="4219575"/>
            <a:ext cx="49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81F05F-1831-49C1-A096-6F4661FBDCCB}" type="datetime'''''''''C''''h''''''''''''''u''r''''''''''''''''''n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3" name="Google Shape;7;p1">
            <a:extLst>
              <a:ext uri="{FF2B5EF4-FFF2-40B4-BE49-F238E27FC236}">
                <a16:creationId xmlns:a16="http://schemas.microsoft.com/office/drawing/2014/main" id="{C17B73AC-E75C-3ED1-4A19-E2D3A27D3EF3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05713" y="4219575"/>
            <a:ext cx="82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201EAB-6009-4AC4-88F7-A4F9A67987EC}" type="datetime'''''''''''N''''''o''''t ''''''C''h''''''u''''rn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t Churn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4" name="Google Shape;7;p1">
            <a:extLst>
              <a:ext uri="{FF2B5EF4-FFF2-40B4-BE49-F238E27FC236}">
                <a16:creationId xmlns:a16="http://schemas.microsoft.com/office/drawing/2014/main" id="{1EE51175-42AF-0A32-36EC-1B5A4A2B4274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75613" y="2560638"/>
            <a:ext cx="795338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6B669D-C733-460D-9163-BD524C830C4E}" type="datetime'''''''-''''''''''''''''7''''''''''1.''''''0''''%'''''''''''">
              <a:rPr lang="en-US" altLang="en-US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71.0%</a:t>
            </a:fld>
            <a:endParaRPr lang="en-US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44CFE5A-91D0-A2B9-F815-528FFBAC943B}"/>
              </a:ext>
            </a:extLst>
          </p:cNvPr>
          <p:cNvSpPr txBox="1"/>
          <p:nvPr/>
        </p:nvSpPr>
        <p:spPr>
          <a:xfrm>
            <a:off x="6438416" y="4447429"/>
            <a:ext cx="2334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latin typeface="Montserrat" panose="00000500000000000000" pitchFamily="2" charset="0"/>
              </a:rPr>
              <a:t>Average Recency Months</a:t>
            </a:r>
          </a:p>
        </p:txBody>
      </p:sp>
    </p:spTree>
    <p:extLst>
      <p:ext uri="{BB962C8B-B14F-4D97-AF65-F5344CB8AC3E}">
        <p14:creationId xmlns:p14="http://schemas.microsoft.com/office/powerpoint/2010/main" val="27526002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67DA78-A172-429E-4A85-9293E1B1D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D7DC90D-7EB5-D30D-BE69-A766F87A9D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119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81" imgH="281" progId="TCLayout.ActiveDocument.1">
                  <p:embed/>
                </p:oleObj>
              </mc:Choice>
              <mc:Fallback>
                <p:oleObj name="think-cell Slide" r:id="rId10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7DC90D-7EB5-D30D-BE69-A766F87A9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80D4D639-0174-8BF0-AD28-BA98F6AF33E0}"/>
              </a:ext>
            </a:extLst>
          </p:cNvPr>
          <p:cNvSpPr txBox="1">
            <a:spLocks/>
          </p:cNvSpPr>
          <p:nvPr/>
        </p:nvSpPr>
        <p:spPr>
          <a:xfrm>
            <a:off x="690758" y="8574"/>
            <a:ext cx="7781700" cy="556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Customers generate more value on average in the corresponding years of association compared to the first yea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5D9118-ABC0-49F7-4909-A5F0D1C68D79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8</a:t>
            </a:fld>
            <a:endParaRPr lang="en"/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680B9BCB-B1ED-9B7F-F457-849F3FEC2D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26473"/>
              </p:ext>
            </p:extLst>
          </p:nvPr>
        </p:nvGraphicFramePr>
        <p:xfrm>
          <a:off x="1004888" y="1443038"/>
          <a:ext cx="4887912" cy="291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266D75E-AE9D-BB86-3E57-88F4B4A45BF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874838" y="1516063"/>
            <a:ext cx="3148013" cy="5746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Google Shape;7;p1">
            <a:extLst>
              <a:ext uri="{FF2B5EF4-FFF2-40B4-BE49-F238E27FC236}">
                <a16:creationId xmlns:a16="http://schemas.microsoft.com/office/drawing/2014/main" id="{E2BA30E1-1AF7-66E4-8115-D142A8E8A49A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16075" y="4114800"/>
            <a:ext cx="519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75EE5F9-D55D-4E03-865D-909A8E1562C4}" type="datetime'''''''''''''''''''''''''Ye''''''''''a''r'' ''''1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Year 1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Google Shape;7;p1">
            <a:extLst>
              <a:ext uri="{FF2B5EF4-FFF2-40B4-BE49-F238E27FC236}">
                <a16:creationId xmlns:a16="http://schemas.microsoft.com/office/drawing/2014/main" id="{A8144D94-A9BF-5E3D-CE49-54186F61473E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89289" y="4114800"/>
            <a:ext cx="519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0E38E9-762F-4022-89C2-F642C5DCD491}" type="datetime'''''''''Y''''''''''''''e''''''''a''r'' 2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Year 2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1A82A72C-491C-6F93-77E7-118BF34735A1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764089" y="4114800"/>
            <a:ext cx="519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A7A563-F952-481C-8187-A22A0E2CC9B4}" type="datetime'''''''Y''''''e''''a''''r'''' ''''''''''''''''''''''3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Year 3</a:t>
            </a:fld>
            <a:endParaRPr lang="en-US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Google Shape;7;p1">
            <a:extLst>
              <a:ext uri="{FF2B5EF4-FFF2-40B4-BE49-F238E27FC236}">
                <a16:creationId xmlns:a16="http://schemas.microsoft.com/office/drawing/2014/main" id="{E477E644-8871-75FB-0791-8D0166BAB88A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24199" y="1652588"/>
            <a:ext cx="649288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0D5279-235A-4ECC-BB41-E7DD58270412}" type="datetime'''+''''''''''1''''''''''''7''''''''%'''''''''''''''''''''''">
              <a:rPr lang="en-US" altLang="en-US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7%</a:t>
            </a:fld>
            <a:endParaRPr lang="en-US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8AAB1E-EBF6-6E36-571A-64603B411728}"/>
              </a:ext>
            </a:extLst>
          </p:cNvPr>
          <p:cNvSpPr txBox="1"/>
          <p:nvPr/>
        </p:nvSpPr>
        <p:spPr>
          <a:xfrm>
            <a:off x="1315524" y="1129526"/>
            <a:ext cx="42666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latin typeface="Montserrat" panose="00000500000000000000" pitchFamily="2" charset="0"/>
              </a:rPr>
              <a:t>Average Margin ($) Generated Per Custom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858CE84-6E7F-19DF-5358-3D590BAA4AB9}"/>
              </a:ext>
            </a:extLst>
          </p:cNvPr>
          <p:cNvSpPr txBox="1"/>
          <p:nvPr/>
        </p:nvSpPr>
        <p:spPr>
          <a:xfrm>
            <a:off x="1392538" y="4387501"/>
            <a:ext cx="42666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latin typeface="Montserrat" panose="00000500000000000000" pitchFamily="2" charset="0"/>
              </a:rPr>
              <a:t>Year of Association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2F3C9B8-7BA4-88D4-7176-6E792B2C5026}"/>
              </a:ext>
            </a:extLst>
          </p:cNvPr>
          <p:cNvSpPr txBox="1"/>
          <p:nvPr/>
        </p:nvSpPr>
        <p:spPr>
          <a:xfrm>
            <a:off x="0" y="4872151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Note: Same set of customers were used across all three years for a fair comparison. Newly acquired customers in year 2 and year 3 were ignored.</a:t>
            </a:r>
          </a:p>
        </p:txBody>
      </p:sp>
      <p:sp>
        <p:nvSpPr>
          <p:cNvPr id="107" name="Google Shape;1636;p44">
            <a:extLst>
              <a:ext uri="{FF2B5EF4-FFF2-40B4-BE49-F238E27FC236}">
                <a16:creationId xmlns:a16="http://schemas.microsoft.com/office/drawing/2014/main" id="{9596D208-4915-1770-0963-019B05FA49E2}"/>
              </a:ext>
            </a:extLst>
          </p:cNvPr>
          <p:cNvSpPr txBox="1"/>
          <p:nvPr/>
        </p:nvSpPr>
        <p:spPr>
          <a:xfrm flipH="1">
            <a:off x="5908832" y="1842828"/>
            <a:ext cx="2762727" cy="2203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Average value increases across the years</a:t>
            </a:r>
          </a:p>
          <a:p>
            <a:pPr lvl="0" rtl="0">
              <a:spcBef>
                <a:spcPts val="0"/>
              </a:spcBef>
              <a:spcAft>
                <a:spcPts val="0"/>
              </a:spcAft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Creating loyal customers can generate 17% more margin in the long run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Loyalty and Retention Campaigns are crucial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4190046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B4B5FA-3016-B428-24E1-3A0125497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BA84A5-F64B-6187-ED2A-3EBD35682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841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81" imgH="281" progId="TCLayout.ActiveDocument.1">
                  <p:embed/>
                </p:oleObj>
              </mc:Choice>
              <mc:Fallback>
                <p:oleObj name="think-cell Slide" r:id="rId27" imgW="281" imgH="28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BA84A5-F64B-6187-ED2A-3EBD35682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407;p34">
            <a:extLst>
              <a:ext uri="{FF2B5EF4-FFF2-40B4-BE49-F238E27FC236}">
                <a16:creationId xmlns:a16="http://schemas.microsoft.com/office/drawing/2014/main" id="{C56872C6-0352-BE34-5368-A6E9DCCE835B}"/>
              </a:ext>
            </a:extLst>
          </p:cNvPr>
          <p:cNvSpPr txBox="1">
            <a:spLocks/>
          </p:cNvSpPr>
          <p:nvPr/>
        </p:nvSpPr>
        <p:spPr>
          <a:xfrm>
            <a:off x="690758" y="36566"/>
            <a:ext cx="7781700" cy="64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lata"/>
              <a:buNone/>
              <a:defRPr sz="2800" b="0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700">
                <a:solidFill>
                  <a:schemeClr val="accent2">
                    <a:lumMod val="10000"/>
                  </a:schemeClr>
                </a:solidFill>
              </a:rPr>
              <a:t>Older Age Groups: Higher Average Margin $ and Higher Retention Rates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FCECFA-84D1-15E5-1BA8-712E7B49463E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9</a:t>
            </a:fld>
            <a:endParaRPr lang="en"/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2E98A8FC-014B-AD27-4B89-84650AF8C6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449252"/>
              </p:ext>
            </p:extLst>
          </p:nvPr>
        </p:nvGraphicFramePr>
        <p:xfrm>
          <a:off x="446088" y="3400425"/>
          <a:ext cx="5595937" cy="1344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4" name="Google Shape;7;p1">
            <a:extLst>
              <a:ext uri="{FF2B5EF4-FFF2-40B4-BE49-F238E27FC236}">
                <a16:creationId xmlns:a16="http://schemas.microsoft.com/office/drawing/2014/main" id="{F24946F4-368A-5572-A4C9-3A9AE22EE1B3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54050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F98820-3BE2-4896-94F2-011AA3A058DD}" type="datetime'1''''''''''''''8''-2''4'''' ''y''ear''s o''''ld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-2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Google Shape;7;p1">
            <a:extLst>
              <a:ext uri="{FF2B5EF4-FFF2-40B4-BE49-F238E27FC236}">
                <a16:creationId xmlns:a16="http://schemas.microsoft.com/office/drawing/2014/main" id="{FD4064E8-AAAD-EE7E-E1B3-28ADCC1F22BA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30338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45A052-A4C1-49EE-ACA8-E23756F07271}" type="datetime'''25''''''''-''''''''''''''34 ye''''''''''a''rs o''''''''''ld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-3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7;p1">
            <a:extLst>
              <a:ext uri="{FF2B5EF4-FFF2-40B4-BE49-F238E27FC236}">
                <a16:creationId xmlns:a16="http://schemas.microsoft.com/office/drawing/2014/main" id="{36D62CDE-4BBC-7F96-B91B-BB07E7C7A0DB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05038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A90F13-9F77-43C4-8E60-6C5BBBAD4A96}" type="datetime'''35-''44'' ''ye''''''''a''''r''''''''''s ''''''o''''''l''d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-4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7;p1">
            <a:extLst>
              <a:ext uri="{FF2B5EF4-FFF2-40B4-BE49-F238E27FC236}">
                <a16:creationId xmlns:a16="http://schemas.microsoft.com/office/drawing/2014/main" id="{31B0952C-36CA-AE30-DD5A-4BA6E9018EBA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81325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C11C64-F084-4E95-A568-9F004A53A2D3}" type="datetime'45''-54'''''''''''''''''''' ''y''e''ars o''''ld''''''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5-5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Google Shape;7;p1">
            <a:extLst>
              <a:ext uri="{FF2B5EF4-FFF2-40B4-BE49-F238E27FC236}">
                <a16:creationId xmlns:a16="http://schemas.microsoft.com/office/drawing/2014/main" id="{9B06757B-7C72-97FF-5848-1B8CE7E89EF2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57613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52745E-44AD-4C3B-9074-0486A39A41E7}" type="datetime'''''''''55-6''4'''' y''''e''ar''s'' ''''''''o''l''''d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-6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Google Shape;7;p1">
            <a:extLst>
              <a:ext uri="{FF2B5EF4-FFF2-40B4-BE49-F238E27FC236}">
                <a16:creationId xmlns:a16="http://schemas.microsoft.com/office/drawing/2014/main" id="{5DFD86C7-6AB1-14BF-0980-A75DDC1F67B1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33900" y="4705350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E1E1F1-EB2B-4AAF-A0C5-0BF61DA04D6A}" type="datetime'''''''65''''''''''-7''4'' y''ear''''''''s'''' ol''''''''d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5-74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Google Shape;7;p1">
            <a:extLst>
              <a:ext uri="{FF2B5EF4-FFF2-40B4-BE49-F238E27FC236}">
                <a16:creationId xmlns:a16="http://schemas.microsoft.com/office/drawing/2014/main" id="{1C56E723-1DEA-A558-DFE2-A066A131CF01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83188" y="4705350"/>
            <a:ext cx="774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B506C6-03AB-48D3-B713-093B5EF65DFD}" type="datetime'7''''''5''+ ''''''''''y''''''ears'''' ol''''''''''d'''''''''''">
              <a:rPr lang="en-US" altLang="en-US" sz="10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+ years old</a:t>
            </a:fld>
            <a:endParaRPr lang="en-US" sz="1000" kern="120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Google Shape;7;p1">
            <a:extLst>
              <a:ext uri="{FF2B5EF4-FFF2-40B4-BE49-F238E27FC236}">
                <a16:creationId xmlns:a16="http://schemas.microsoft.com/office/drawing/2014/main" id="{AB90BEFE-8D2D-EB4E-89C6-4CFC39434286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0100" y="3348038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79D8AC-D125-46E4-861E-125781BFCB3A}" type="datetime'''''''4''''''2''''''''''''''''''''''%''''''''''''''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2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Google Shape;7;p1">
            <a:extLst>
              <a:ext uri="{FF2B5EF4-FFF2-40B4-BE49-F238E27FC236}">
                <a16:creationId xmlns:a16="http://schemas.microsoft.com/office/drawing/2014/main" id="{9B0B422B-1F77-F268-0F13-0B047D65A93E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576388" y="3405188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72445F-DFA7-41E1-A64F-7F5E9664BFC5}" type="datetime'''4''''''''''''''''''''''''0''''''%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Google Shape;7;p1">
            <a:extLst>
              <a:ext uri="{FF2B5EF4-FFF2-40B4-BE49-F238E27FC236}">
                <a16:creationId xmlns:a16="http://schemas.microsoft.com/office/drawing/2014/main" id="{FDEB4561-7794-A31E-EFD0-68D8B29A0A9A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51088" y="3559175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8079592-54F8-4660-A1D4-4AC00BB513E5}" type="datetime'3''''''''''''''4''''''''''''''''''''''%''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Google Shape;7;p1">
            <a:extLst>
              <a:ext uri="{FF2B5EF4-FFF2-40B4-BE49-F238E27FC236}">
                <a16:creationId xmlns:a16="http://schemas.microsoft.com/office/drawing/2014/main" id="{48F9D783-3E6B-5B5A-EF96-15EEFD0955BA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27375" y="3706813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B66EA0A-3770-414F-80C0-75214A87E5A8}" type="datetime'''''''2''9''''''''''''''''''''''''''''''''''''''%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Google Shape;7;p1">
            <a:extLst>
              <a:ext uri="{FF2B5EF4-FFF2-40B4-BE49-F238E27FC236}">
                <a16:creationId xmlns:a16="http://schemas.microsoft.com/office/drawing/2014/main" id="{AED9A74F-94C2-4C3C-3B22-7DEE7B7EC42F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03663" y="381000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5F5A73-1550-4FAA-8C5D-C1B1927C7CA2}" type="datetime'''''''''''''2''''''''''''''5''''''''''''''''''''%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Google Shape;7;p1">
            <a:extLst>
              <a:ext uri="{FF2B5EF4-FFF2-40B4-BE49-F238E27FC236}">
                <a16:creationId xmlns:a16="http://schemas.microsoft.com/office/drawing/2014/main" id="{41105866-DE37-9E94-2F1A-BB2887910742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79950" y="3943350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FE14876-4F60-45D9-B1BC-D13D718DFBCE}" type="datetime'2''''1''%''''''''''''''''''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Google Shape;7;p1">
            <a:extLst>
              <a:ext uri="{FF2B5EF4-FFF2-40B4-BE49-F238E27FC236}">
                <a16:creationId xmlns:a16="http://schemas.microsoft.com/office/drawing/2014/main" id="{4E96316A-2988-E574-05B2-3F330AE171EB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54650" y="4041775"/>
            <a:ext cx="233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4288" tIns="0" rIns="14288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288B65-29BC-45F9-906D-13E29FF9743A}" type="datetime'''''''''''''''''''1''''''7''''''''''''''''''''''''%'">
              <a:rPr lang="en-US" altLang="en-US" sz="800" b="1" kern="1200" smtClean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en-US" sz="800" b="1" kern="1200">
              <a:solidFill>
                <a:srgbClr val="808080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2" name="Chart 121">
            <a:extLst>
              <a:ext uri="{FF2B5EF4-FFF2-40B4-BE49-F238E27FC236}">
                <a16:creationId xmlns:a16="http://schemas.microsoft.com/office/drawing/2014/main" id="{F520FCBC-C93B-81FD-F239-76BE353A1D64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81931872"/>
              </p:ext>
            </p:extLst>
          </p:nvPr>
        </p:nvGraphicFramePr>
        <p:xfrm>
          <a:off x="444500" y="933450"/>
          <a:ext cx="5595938" cy="1589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91" name="Google Shape;7;p1">
            <a:extLst>
              <a:ext uri="{FF2B5EF4-FFF2-40B4-BE49-F238E27FC236}">
                <a16:creationId xmlns:a16="http://schemas.microsoft.com/office/drawing/2014/main" id="{F0F22441-08B1-23F7-D4F8-BAB536B2A076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2463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EF09C3-8D81-4424-A044-AE7BEDE70408}" type="datetime'1''''''8''''''-''''''24'' ''''ye''''''''''a''rs ''ol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-2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2" name="Google Shape;7;p1">
            <a:extLst>
              <a:ext uri="{FF2B5EF4-FFF2-40B4-BE49-F238E27FC236}">
                <a16:creationId xmlns:a16="http://schemas.microsoft.com/office/drawing/2014/main" id="{894961BB-FFAE-2A0B-B351-24AB59F1D843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28750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9DE8B3-4A5C-4D2B-A781-9796E4837615}" type="datetime'2''''''5-''34'''''''' ye''ars'''' ''''''o''''''''''l''''''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-3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3" name="Google Shape;7;p1">
            <a:extLst>
              <a:ext uri="{FF2B5EF4-FFF2-40B4-BE49-F238E27FC236}">
                <a16:creationId xmlns:a16="http://schemas.microsoft.com/office/drawing/2014/main" id="{3DFE0365-B2D7-DE25-C699-48315D1FE1B6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203450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F0EB30-3446-48AF-8D49-FE76B6CA7BEA}" type="datetime'''35-''''''4''4'''''''' ''ye''''''''a''''''r''s o''''l''d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5-4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4" name="Google Shape;7;p1">
            <a:extLst>
              <a:ext uri="{FF2B5EF4-FFF2-40B4-BE49-F238E27FC236}">
                <a16:creationId xmlns:a16="http://schemas.microsoft.com/office/drawing/2014/main" id="{6D66271B-8C8F-E454-F82A-805BB7AEED24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79738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809D38-9B39-47BC-8E78-7201B97FAE37}" type="datetime'4''''5''-54 ''''''y''''''''e''a''r''''''s'''' ''ol''''''''d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5-5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Google Shape;7;p1">
            <a:extLst>
              <a:ext uri="{FF2B5EF4-FFF2-40B4-BE49-F238E27FC236}">
                <a16:creationId xmlns:a16="http://schemas.microsoft.com/office/drawing/2014/main" id="{8345E771-3C69-BCD7-E9DE-90790FAF8A47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56025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90E168-91BB-43A3-BF6B-88EFE1DC33EE}" type="datetime'5''''''''5-''64'''''' ''''''''y''''''e''a''''rs ''o''''''''ld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5-6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6" name="Google Shape;7;p1">
            <a:extLst>
              <a:ext uri="{FF2B5EF4-FFF2-40B4-BE49-F238E27FC236}">
                <a16:creationId xmlns:a16="http://schemas.microsoft.com/office/drawing/2014/main" id="{A572C1F1-50B1-7190-AC69-8E7D175D99C6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532313" y="2379663"/>
            <a:ext cx="5254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37D758-AAE3-4CC8-958B-4A49976A5BE3}" type="datetime'''''''6''''5''-74'''' y''e''a''rs'''''''''''''' o''ld''''''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5-74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7" name="Google Shape;7;p1">
            <a:extLst>
              <a:ext uri="{FF2B5EF4-FFF2-40B4-BE49-F238E27FC236}">
                <a16:creationId xmlns:a16="http://schemas.microsoft.com/office/drawing/2014/main" id="{B8EF1295-9024-9CEF-2CFA-E4B52BD8DAB1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181600" y="2379663"/>
            <a:ext cx="774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A6A375-F1AA-425E-99D5-BE7B1BC23636}" type="datetime'7''5''''''+'''' ''''ye''''''a''r''''s'''''''' ''ol''''d'''''">
              <a:rPr lang="en-US" alt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+ years old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8D9764F-03DB-9A95-2E33-85E3906F53CA}"/>
              </a:ext>
            </a:extLst>
          </p:cNvPr>
          <p:cNvSpPr txBox="1"/>
          <p:nvPr/>
        </p:nvSpPr>
        <p:spPr>
          <a:xfrm>
            <a:off x="547052" y="864659"/>
            <a:ext cx="54092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latin typeface="Montserrat" panose="00000500000000000000" pitchFamily="2" charset="0"/>
              </a:rPr>
              <a:t>Average Margin $ Across Age Groups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8D206D7-DB89-9EAD-E3BC-0E744448A97E}"/>
              </a:ext>
            </a:extLst>
          </p:cNvPr>
          <p:cNvSpPr txBox="1"/>
          <p:nvPr/>
        </p:nvSpPr>
        <p:spPr>
          <a:xfrm>
            <a:off x="477203" y="3158420"/>
            <a:ext cx="54092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latin typeface="Montserrat" panose="00000500000000000000" pitchFamily="2" charset="0"/>
              </a:rPr>
              <a:t>Churn Rate Across Age Groups</a:t>
            </a:r>
          </a:p>
        </p:txBody>
      </p:sp>
      <p:sp>
        <p:nvSpPr>
          <p:cNvPr id="127" name="Google Shape;1636;p44">
            <a:extLst>
              <a:ext uri="{FF2B5EF4-FFF2-40B4-BE49-F238E27FC236}">
                <a16:creationId xmlns:a16="http://schemas.microsoft.com/office/drawing/2014/main" id="{BBD37B03-1A27-DD07-547E-BB32EA267434}"/>
              </a:ext>
            </a:extLst>
          </p:cNvPr>
          <p:cNvSpPr txBox="1"/>
          <p:nvPr/>
        </p:nvSpPr>
        <p:spPr>
          <a:xfrm flipH="1">
            <a:off x="6248400" y="1869339"/>
            <a:ext cx="2590799" cy="2203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Older aged customers are more satisfied with the services</a:t>
            </a:r>
          </a:p>
          <a:p>
            <a:pPr lvl="0" rtl="0">
              <a:spcBef>
                <a:spcPts val="0"/>
              </a:spcBef>
              <a:spcAft>
                <a:spcPts val="0"/>
              </a:spcAft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Crucial to understand why younger aged customers are leaving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Montserrat" panose="00000500000000000000" pitchFamily="2" charset="0"/>
                <a:ea typeface="Source Sans Pro"/>
                <a:cs typeface="Source Sans Pro"/>
                <a:sym typeface="Source Sans Pro"/>
              </a:rPr>
              <a:t>Customized service offerings fine-tuned towards different age buckets might be helpful</a:t>
            </a:r>
          </a:p>
          <a:p>
            <a:pPr marL="171450" lvl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100" b="1">
              <a:solidFill>
                <a:schemeClr val="bg2">
                  <a:lumMod val="50000"/>
                </a:schemeClr>
              </a:solidFill>
              <a:latin typeface="Montserrat" panose="00000500000000000000" pitchFamily="2" charset="0"/>
              <a:ea typeface="Source Sans Pro"/>
              <a:cs typeface="Source Sans Pro"/>
              <a:sym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841303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68559000000000036579E+00&quot;&gt;&lt;m_msothmcolidx val=&quot;0&quot;/&gt;&lt;m_rgb r=&quot;B9&quot; g=&quot;00&quot; b=&quot;4B&quot;/&gt;&lt;/elem&gt;&lt;elem m_fUsage=&quot;5.31441000000000163261E-01&quot;&gt;&lt;m_msothmcolidx val=&quot;0&quot;/&gt;&lt;m_rgb r=&quot;66&quot; g=&quot;66&quot; b=&quot;6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8rd77aHrTxdUjkiJv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qZns_2Kxgmfe6ZFrkn5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Cify2aFRh1W6QXy5v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OC2nM83jSfo94ewY3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2YJUFouewOQUTzlJ2M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5hfYYa0b1n43c5rh9u8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ApOrPjjyOjl8rm78QIK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syy4hj06KURfekxiDrQ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G1Ru4bbGJIY4chYZEu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HYAAySwWV4NtPh87fz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rOpWcEdc6POGwo.P1H4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EW2qo5uH1teVkNlXH67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pubWh3hwlbMuUbTWNJ4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Wwd1V_eTqhtTwFkC_l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x5BllvJNrz4yMLt2trx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iU5ybyBKBLUeoILOyZ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7vvEF7jMhywj4DWaP4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yfPsQvxJgHzzmKUrQS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KIWTBye7QxMqrKjs6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0cETTQd1.AKWrSFCRY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TUWu02XTHb4z0QA_OA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ek.U_1CSCaULmh2fUt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rj5LqTZ1AzKXbtvbf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BrnCMPf2Tm3I1vbviX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jVafLisSRnUZ8J2IIj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vcqM6Qi5oOLW9kpF5o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A6Q1jLMIwa0ieVcbAG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eRhI2KuZHX9uuy7Qkg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3PEfoT2clkmKXA9Qfq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DPlogrvH61eD9GO3_N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oMIb.M9xu_JT1v0eTI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mGp8jVGR4tL96e2g0O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vdI_WsWADdBFc7nei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0OAQN_hbmctcSjSx1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pUkfE0UqRuUieoxGiI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fgEW4obyCfWgbhpmgz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k3gefFE1Y_74eMjhsl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6gJnW2hB85ljticjm8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rOAYidA3ZP60q3_N_Y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OJ6zGZNFsbgzMzwcrr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_y4sxgPEnq6PalkRbY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070go_MVLhQYgsE4d_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uO1t3WAXPbCx08gIm2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E2H88CX_noOU4MWaGB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TACbYXYBrW0Vtq5cCs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KGPbSNYdLq3j2Adw0c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Lc.NIwhCdPO_XXEkvC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fHUnSeNjuA8ADXcopH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NQDda.3Q6UvcBy3juO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PgIG9Qc4H1xpYXrTGh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hG_vnb6dnDo92Ybc11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GLuBB0QtiLrneAu1mM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SQZV.prNeavkLE9nMt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Tddm5Bv9cRqyYaAgR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7k8deXbaFh8IcVVS6b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RDD_CQL3KxDKMd4iZV2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.SBiHGrpjMUJ8pFvd8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jbs1_XRReSsm.wfU12U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U0Dl3zN9MjmBZXa5tL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zz5CA1GWS.WEvtlVe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2tm3UrF7yZG0v1kcj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yI0ZbLfYrmpOqjIpMl2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JpvOD86iKztKEMYXAG3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y6YhNVYDTq5dMOdEb.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WikvQymD6pR851IVFF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XnVaShCKcAPr47fD72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SMKuAeIhr_L0MdZR1O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cZkCfHnw0odkU6rHc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wNW19R1QEg8CVKawk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Mtl68DlsysprUS9PIH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zMRwEl0auLAAFd84dD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2msihAlD7OPjXDRYdl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n4gnKpGEGGRIyQRuvq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yrlUNw7wgXvtIRB9cE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8rd77aHrTxdUjkiJv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qZns_2Kxgmfe6ZFrkn5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Cify2aFRh1W6QXy5vT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OC2nM83jSfo94ewY3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2YJUFouewOQUTzlJ2M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5hfYYa0b1n43c5rh9u8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ApOrPjjyOjl8rm78QI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syy4hj06KURfekxiDr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zz5CA1GWS.WEvtlVe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2tm3UrF7yZG0v1kcj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yI0ZbLfYrmpOqjIpMl2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JpvOD86iKztKEMYXAG3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y6YhNVYDTq5dMOdEb.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WikvQymD6pR851IVFFj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XnVaShCKcAPr47fD72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SMKuAeIhr_L0MdZR1O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cZkCfHnw0odkU6rHcZ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wNW19R1QEg8CVKawk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Mtl68DlsysprUS9PIH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zMRwEl0auLAAFd84dD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2msihAlD7OPjXDRYdl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n4gnKpGEGGRIyQRuvq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yrlUNw7wgXvtIRB9cEA"/>
</p:tagLst>
</file>

<file path=ppt/theme/theme1.xml><?xml version="1.0" encoding="utf-8"?>
<a:theme xmlns:a="http://schemas.openxmlformats.org/drawingml/2006/main" name="Healthcare Center Website by Slidesgo">
  <a:themeElements>
    <a:clrScheme name="Simple Light">
      <a:dk1>
        <a:srgbClr val="278A35"/>
      </a:dk1>
      <a:lt1>
        <a:srgbClr val="FFFFFF"/>
      </a:lt1>
      <a:dk2>
        <a:srgbClr val="666666"/>
      </a:dk2>
      <a:lt2>
        <a:srgbClr val="48B156"/>
      </a:lt2>
      <a:accent1>
        <a:srgbClr val="81DF85"/>
      </a:accent1>
      <a:accent2>
        <a:srgbClr val="C3FBC7"/>
      </a:accent2>
      <a:accent3>
        <a:srgbClr val="B2D190"/>
      </a:accent3>
      <a:accent4>
        <a:srgbClr val="C2DDAF"/>
      </a:accent4>
      <a:accent5>
        <a:srgbClr val="F8C4DA"/>
      </a:accent5>
      <a:accent6>
        <a:srgbClr val="FF72AB"/>
      </a:accent6>
      <a:hlink>
        <a:srgbClr val="278A35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39</Slides>
  <Notes>27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9</vt:i4>
      </vt:variant>
    </vt:vector>
  </HeadingPairs>
  <TitlesOfParts>
    <vt:vector size="44" baseType="lpstr">
      <vt:lpstr>Healthcare Center Website by Slidesgo</vt:lpstr>
      <vt:lpstr>3_Custom Design</vt:lpstr>
      <vt:lpstr>2_Custom Design</vt:lpstr>
      <vt:lpstr>1_Custom Design</vt:lpstr>
      <vt:lpstr>Custom Design</vt:lpstr>
      <vt:lpstr>Group Project 1  BAN 5763, Spring 2024</vt:lpstr>
      <vt:lpstr>PowerPoint Presentation</vt:lpstr>
      <vt:lpstr>PowerPoint Presentation</vt:lpstr>
      <vt:lpstr>Executive Summary</vt:lpstr>
      <vt:lpstr>EXPLORATORY DATA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EDICTING CHURN RATE</vt:lpstr>
      <vt:lpstr>PowerPoint Presentation</vt:lpstr>
      <vt:lpstr>PowerPoint Presentation</vt:lpstr>
      <vt:lpstr>PREDICTING MARGIN VALUE</vt:lpstr>
      <vt:lpstr>PowerPoint Presentation</vt:lpstr>
      <vt:lpstr>PowerPoint Presentation</vt:lpstr>
      <vt:lpstr>ESTIMATING FUTURE CLV</vt:lpstr>
      <vt:lpstr>PowerPoint Presentation</vt:lpstr>
      <vt:lpstr>PowerPoint Presentation</vt:lpstr>
      <vt:lpstr>CUSTOMER SEGM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COMMENDATIONS</vt:lpstr>
      <vt:lpstr>Recommended Actions – Estimated Immediate Impact vs. Implementation Effort</vt:lpstr>
      <vt:lpstr>PowerPoint Presentation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CARE CENTER WEBSITE</dc:title>
  <dc:creator>Frankle Muchahary</dc:creator>
  <cp:revision>1</cp:revision>
  <dcterms:modified xsi:type="dcterms:W3CDTF">2024-02-08T05:52:47Z</dcterms:modified>
</cp:coreProperties>
</file>